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72" r:id="rId2"/>
    <p:sldMasterId id="2147483682" r:id="rId3"/>
    <p:sldMasterId id="2147483660" r:id="rId4"/>
  </p:sldMasterIdLst>
  <p:notesMasterIdLst>
    <p:notesMasterId r:id="rId19"/>
  </p:notesMasterIdLst>
  <p:sldIdLst>
    <p:sldId id="315" r:id="rId5"/>
    <p:sldId id="318" r:id="rId6"/>
    <p:sldId id="319" r:id="rId7"/>
    <p:sldId id="325" r:id="rId8"/>
    <p:sldId id="321" r:id="rId9"/>
    <p:sldId id="322" r:id="rId10"/>
    <p:sldId id="297" r:id="rId11"/>
    <p:sldId id="308" r:id="rId12"/>
    <p:sldId id="298" r:id="rId13"/>
    <p:sldId id="323" r:id="rId14"/>
    <p:sldId id="300" r:id="rId15"/>
    <p:sldId id="324" r:id="rId16"/>
    <p:sldId id="326" r:id="rId17"/>
    <p:sldId id="317" r:id="rId18"/>
  </p:sldIdLst>
  <p:sldSz cx="12192000" cy="6858000"/>
  <p:notesSz cx="6858000" cy="9144000"/>
  <p:embeddedFontLst>
    <p:embeddedFont>
      <p:font typeface="站酷快乐体2016修订版" panose="02010600030101010101" charset="-122"/>
      <p:regular r:id="rId20"/>
    </p:embeddedFont>
    <p:embeddedFont>
      <p:font typeface="微软雅黑" panose="020B0503020204020204" pitchFamily="34" charset="-122"/>
      <p:regular r:id="rId21"/>
      <p:bold r:id="rId22"/>
    </p:embeddedFont>
    <p:embeddedFont>
      <p:font typeface="方正中等线简体" panose="02010600030101010101" charset="-122"/>
      <p:regular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方正水黑简体" panose="02010600030101010101" charset="-122"/>
      <p:regular r:id="rId28"/>
    </p:embeddedFont>
    <p:embeddedFont>
      <p:font typeface="等线" panose="02010600030101010101" pitchFamily="2" charset="-122"/>
      <p:regular r:id="rId29"/>
      <p:bold r:id="rId30"/>
    </p:embeddedFont>
    <p:embeddedFont>
      <p:font typeface="等线 Light" panose="02010600030101010101" pitchFamily="2" charset="-122"/>
      <p:regular r:id="rId31"/>
    </p:embeddedFont>
    <p:embeddedFont>
      <p:font typeface="方正静蕾简体" panose="02010600030101010101" charset="-122"/>
      <p:regular r:id="rId32"/>
    </p:embeddedFont>
    <p:embeddedFont>
      <p:font typeface="Segoe UI" panose="020B0502040204020203" pitchFamily="34" charset="0"/>
      <p:regular r:id="rId33"/>
      <p:bold r:id="rId34"/>
      <p:italic r:id="rId35"/>
      <p:boldItalic r:id="rId36"/>
    </p:embeddedFont>
    <p:embeddedFont>
      <p:font typeface="方正兰亭超细黑简体" panose="02000000000000000000" pitchFamily="2" charset="-122"/>
      <p:regular r:id="rId37"/>
    </p:embeddedFont>
    <p:embeddedFont>
      <p:font typeface="Niagara Solid" panose="04020502070702020202" pitchFamily="82" charset="0"/>
      <p:regular r:id="rId38"/>
    </p:embeddedFont>
    <p:embeddedFont>
      <p:font typeface="郑庆科黄油体Regular " panose="02010600030101010101" charset="-122"/>
      <p:regular r:id="rId39"/>
    </p:embeddedFont>
  </p:embeddedFont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2502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4906" userDrawn="1">
          <p15:clr>
            <a:srgbClr val="A4A3A4"/>
          </p15:clr>
        </p15:guide>
        <p15:guide id="6" pos="6403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5959"/>
    <a:srgbClr val="EBAC07"/>
    <a:srgbClr val="C65044"/>
    <a:srgbClr val="284848"/>
    <a:srgbClr val="A2B932"/>
    <a:srgbClr val="585657"/>
    <a:srgbClr val="4C6062"/>
    <a:srgbClr val="C00000"/>
    <a:srgbClr val="F83003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780" y="144"/>
      </p:cViewPr>
      <p:guideLst>
        <p:guide orient="horz" pos="1003"/>
        <p:guide pos="2502"/>
        <p:guide pos="3840"/>
        <p:guide pos="4906"/>
        <p:guide pos="6403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282800-6BA5-4907-8BB6-0650CD0739CB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A819F-20C9-44FD-AC7D-EEA3FC906D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8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A819F-20C9-44FD-AC7D-EEA3FC906D3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9025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Picture 3" descr="C:\Users\chenkui\Desktop\未命名的-1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5" cy="6858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3026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Rectangle 6">
            <a:extLst>
              <a:ext uri="{FF2B5EF4-FFF2-40B4-BE49-F238E27FC236}">
                <a16:creationId xmlns:a16="http://schemas.microsoft.com/office/drawing/2014/main" id="{4816F650-6578-4DD0-9039-9AB7954730A5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190754" y="3064153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37291" y="2087916"/>
            <a:ext cx="0" cy="2160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32590" y="3506335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32590" y="3998851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100552" y="2762487"/>
            <a:ext cx="468000" cy="468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9" name="组合 38"/>
          <p:cNvGrpSpPr/>
          <p:nvPr userDrawn="1"/>
        </p:nvGrpSpPr>
        <p:grpSpPr>
          <a:xfrm>
            <a:off x="232590" y="3260077"/>
            <a:ext cx="216000" cy="216000"/>
            <a:chOff x="2992433" y="3979865"/>
            <a:chExt cx="828000" cy="828000"/>
          </a:xfrm>
        </p:grpSpPr>
        <p:sp>
          <p:nvSpPr>
            <p:cNvPr id="40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41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42" name="组合 41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43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9" name="组合 68"/>
          <p:cNvGrpSpPr/>
          <p:nvPr userDrawn="1"/>
        </p:nvGrpSpPr>
        <p:grpSpPr>
          <a:xfrm>
            <a:off x="232590" y="3752593"/>
            <a:ext cx="216000" cy="216000"/>
            <a:chOff x="5138914" y="4010841"/>
            <a:chExt cx="828000" cy="828000"/>
          </a:xfrm>
        </p:grpSpPr>
        <p:sp>
          <p:nvSpPr>
            <p:cNvPr id="70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71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73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6" name="组合 85"/>
          <p:cNvGrpSpPr/>
          <p:nvPr userDrawn="1"/>
        </p:nvGrpSpPr>
        <p:grpSpPr>
          <a:xfrm>
            <a:off x="228273" y="2514764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28274" y="2016213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28472" y="2264724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32590" y="4243539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134" name="组合 133"/>
          <p:cNvGrpSpPr/>
          <p:nvPr userDrawn="1"/>
        </p:nvGrpSpPr>
        <p:grpSpPr>
          <a:xfrm>
            <a:off x="230498" y="3751796"/>
            <a:ext cx="216000" cy="216000"/>
            <a:chOff x="2992433" y="3979865"/>
            <a:chExt cx="828000" cy="828000"/>
          </a:xfrm>
        </p:grpSpPr>
        <p:sp>
          <p:nvSpPr>
            <p:cNvPr id="135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36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37" name="组合 136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138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64" name="组合 163"/>
          <p:cNvGrpSpPr/>
          <p:nvPr userDrawn="1"/>
        </p:nvGrpSpPr>
        <p:grpSpPr>
          <a:xfrm>
            <a:off x="232718" y="3259386"/>
            <a:ext cx="216000" cy="216000"/>
            <a:chOff x="5138914" y="4010841"/>
            <a:chExt cx="828000" cy="828000"/>
          </a:xfrm>
        </p:grpSpPr>
        <p:sp>
          <p:nvSpPr>
            <p:cNvPr id="165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66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67" name="组合 166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168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76" name="文本框 175">
            <a:extLst>
              <a:ext uri="{FF2B5EF4-FFF2-40B4-BE49-F238E27FC236}">
                <a16:creationId xmlns:a16="http://schemas.microsoft.com/office/drawing/2014/main" id="{0C3F5071-57A5-42FF-8FA2-3003971FA095}"/>
              </a:ext>
            </a:extLst>
          </p:cNvPr>
          <p:cNvSpPr txBox="1"/>
          <p:nvPr userDrawn="1"/>
        </p:nvSpPr>
        <p:spPr>
          <a:xfrm rot="1515553">
            <a:off x="452133" y="312466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市场份额</a:t>
            </a:r>
          </a:p>
        </p:txBody>
      </p:sp>
    </p:spTree>
    <p:extLst>
      <p:ext uri="{BB962C8B-B14F-4D97-AF65-F5344CB8AC3E}">
        <p14:creationId xmlns:p14="http://schemas.microsoft.com/office/powerpoint/2010/main" val="7888110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>
            <a:extLst>
              <a:ext uri="{FF2B5EF4-FFF2-40B4-BE49-F238E27FC236}">
                <a16:creationId xmlns:a16="http://schemas.microsoft.com/office/drawing/2014/main" id="{20738B4F-F594-48F4-806C-D616680755D3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190153" y="3314811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142" name="文本框 141">
            <a:extLst>
              <a:ext uri="{FF2B5EF4-FFF2-40B4-BE49-F238E27FC236}">
                <a16:creationId xmlns:a16="http://schemas.microsoft.com/office/drawing/2014/main" id="{9F00C716-2A77-45D0-A437-42B4A549D993}"/>
              </a:ext>
            </a:extLst>
          </p:cNvPr>
          <p:cNvSpPr txBox="1"/>
          <p:nvPr userDrawn="1"/>
        </p:nvSpPr>
        <p:spPr>
          <a:xfrm rot="1515553">
            <a:off x="425570" y="336488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运营数据</a:t>
            </a: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37291" y="2087915"/>
            <a:ext cx="0" cy="2268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32590" y="3506334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32590" y="3998850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27552" y="2762486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0" name="Oval 33"/>
          <p:cNvSpPr>
            <a:spLocks noChangeArrowheads="1"/>
          </p:cNvSpPr>
          <p:nvPr/>
        </p:nvSpPr>
        <p:spPr bwMode="auto">
          <a:xfrm>
            <a:off x="102610" y="3011550"/>
            <a:ext cx="468000" cy="46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41" name="Oval 33"/>
          <p:cNvSpPr>
            <a:spLocks noChangeArrowheads="1"/>
          </p:cNvSpPr>
          <p:nvPr/>
        </p:nvSpPr>
        <p:spPr bwMode="auto">
          <a:xfrm>
            <a:off x="133132" y="3042072"/>
            <a:ext cx="406957" cy="406957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0" name="Oval 33"/>
          <p:cNvSpPr>
            <a:spLocks noChangeArrowheads="1"/>
          </p:cNvSpPr>
          <p:nvPr/>
        </p:nvSpPr>
        <p:spPr bwMode="auto">
          <a:xfrm>
            <a:off x="232590" y="3752592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1" name="Oval 33"/>
          <p:cNvSpPr>
            <a:spLocks noChangeArrowheads="1"/>
          </p:cNvSpPr>
          <p:nvPr/>
        </p:nvSpPr>
        <p:spPr bwMode="auto">
          <a:xfrm>
            <a:off x="246677" y="3766679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grpSp>
        <p:nvGrpSpPr>
          <p:cNvPr id="86" name="组合 85"/>
          <p:cNvGrpSpPr/>
          <p:nvPr userDrawn="1"/>
        </p:nvGrpSpPr>
        <p:grpSpPr>
          <a:xfrm>
            <a:off x="228273" y="2514763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28274" y="2016212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28472" y="2264723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32590" y="4252088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134" name="组合 133"/>
          <p:cNvGrpSpPr/>
          <p:nvPr userDrawn="1"/>
        </p:nvGrpSpPr>
        <p:grpSpPr>
          <a:xfrm>
            <a:off x="203662" y="3136962"/>
            <a:ext cx="244174" cy="244174"/>
            <a:chOff x="5526525" y="3190546"/>
            <a:chExt cx="364578" cy="339721"/>
          </a:xfrm>
        </p:grpSpPr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5574169" y="3252690"/>
              <a:ext cx="90109" cy="90109"/>
            </a:xfrm>
            <a:custGeom>
              <a:avLst/>
              <a:gdLst>
                <a:gd name="T0" fmla="*/ 0 w 44"/>
                <a:gd name="T1" fmla="*/ 22 h 44"/>
                <a:gd name="T2" fmla="*/ 22 w 44"/>
                <a:gd name="T3" fmla="*/ 44 h 44"/>
                <a:gd name="T4" fmla="*/ 44 w 44"/>
                <a:gd name="T5" fmla="*/ 25 h 44"/>
                <a:gd name="T6" fmla="*/ 19 w 44"/>
                <a:gd name="T7" fmla="*/ 25 h 44"/>
                <a:gd name="T8" fmla="*/ 19 w 44"/>
                <a:gd name="T9" fmla="*/ 0 h 44"/>
                <a:gd name="T10" fmla="*/ 0 w 44"/>
                <a:gd name="T11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3" y="44"/>
                    <a:pt x="43" y="36"/>
                    <a:pt x="44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2"/>
                    <a:pt x="0" y="11"/>
                    <a:pt x="0" y="2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144"/>
            <p:cNvSpPr>
              <a:spLocks noEditPoints="1"/>
            </p:cNvSpPr>
            <p:nvPr/>
          </p:nvSpPr>
          <p:spPr bwMode="auto">
            <a:xfrm>
              <a:off x="5619740" y="3252690"/>
              <a:ext cx="44537" cy="44537"/>
            </a:xfrm>
            <a:custGeom>
              <a:avLst/>
              <a:gdLst>
                <a:gd name="T0" fmla="*/ 0 w 22"/>
                <a:gd name="T1" fmla="*/ 0 h 22"/>
                <a:gd name="T2" fmla="*/ 0 w 22"/>
                <a:gd name="T3" fmla="*/ 0 h 22"/>
                <a:gd name="T4" fmla="*/ 0 w 22"/>
                <a:gd name="T5" fmla="*/ 22 h 22"/>
                <a:gd name="T6" fmla="*/ 22 w 22"/>
                <a:gd name="T7" fmla="*/ 22 h 22"/>
                <a:gd name="T8" fmla="*/ 0 w 22"/>
                <a:gd name="T9" fmla="*/ 0 h 22"/>
                <a:gd name="T10" fmla="*/ 2 w 22"/>
                <a:gd name="T11" fmla="*/ 3 h 22"/>
                <a:gd name="T12" fmla="*/ 19 w 22"/>
                <a:gd name="T13" fmla="*/ 20 h 22"/>
                <a:gd name="T14" fmla="*/ 2 w 22"/>
                <a:gd name="T15" fmla="*/ 20 h 22"/>
                <a:gd name="T16" fmla="*/ 2 w 22"/>
                <a:gd name="T17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0"/>
                    <a:pt x="12" y="0"/>
                    <a:pt x="0" y="0"/>
                  </a:cubicBezTo>
                  <a:close/>
                  <a:moveTo>
                    <a:pt x="2" y="3"/>
                  </a:moveTo>
                  <a:cubicBezTo>
                    <a:pt x="11" y="4"/>
                    <a:pt x="18" y="11"/>
                    <a:pt x="19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5684991" y="3282726"/>
              <a:ext cx="82859" cy="10358"/>
            </a:xfrm>
            <a:custGeom>
              <a:avLst/>
              <a:gdLst>
                <a:gd name="T0" fmla="*/ 0 w 80"/>
                <a:gd name="T1" fmla="*/ 6 h 10"/>
                <a:gd name="T2" fmla="*/ 30 w 80"/>
                <a:gd name="T3" fmla="*/ 10 h 10"/>
                <a:gd name="T4" fmla="*/ 72 w 80"/>
                <a:gd name="T5" fmla="*/ 10 h 10"/>
                <a:gd name="T6" fmla="*/ 80 w 80"/>
                <a:gd name="T7" fmla="*/ 0 h 10"/>
                <a:gd name="T8" fmla="*/ 0 w 80"/>
                <a:gd name="T9" fmla="*/ 0 h 10"/>
                <a:gd name="T10" fmla="*/ 0 w 80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">
                  <a:moveTo>
                    <a:pt x="0" y="6"/>
                  </a:moveTo>
                  <a:lnTo>
                    <a:pt x="30" y="10"/>
                  </a:lnTo>
                  <a:lnTo>
                    <a:pt x="72" y="10"/>
                  </a:lnTo>
                  <a:lnTo>
                    <a:pt x="8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5684992" y="3262011"/>
              <a:ext cx="108752" cy="10358"/>
            </a:xfrm>
            <a:custGeom>
              <a:avLst/>
              <a:gdLst>
                <a:gd name="T0" fmla="*/ 0 w 53"/>
                <a:gd name="T1" fmla="*/ 0 h 5"/>
                <a:gd name="T2" fmla="*/ 0 w 53"/>
                <a:gd name="T3" fmla="*/ 5 h 5"/>
                <a:gd name="T4" fmla="*/ 53 w 53"/>
                <a:gd name="T5" fmla="*/ 5 h 5"/>
                <a:gd name="T6" fmla="*/ 50 w 53"/>
                <a:gd name="T7" fmla="*/ 0 h 5"/>
                <a:gd name="T8" fmla="*/ 0 w 5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4"/>
                    <a:pt x="51" y="2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5526525" y="3190546"/>
              <a:ext cx="364578" cy="187468"/>
            </a:xfrm>
            <a:custGeom>
              <a:avLst/>
              <a:gdLst>
                <a:gd name="T0" fmla="*/ 0 w 177"/>
                <a:gd name="T1" fmla="*/ 0 h 91"/>
                <a:gd name="T2" fmla="*/ 0 w 177"/>
                <a:gd name="T3" fmla="*/ 20 h 91"/>
                <a:gd name="T4" fmla="*/ 9 w 177"/>
                <a:gd name="T5" fmla="*/ 20 h 91"/>
                <a:gd name="T6" fmla="*/ 9 w 177"/>
                <a:gd name="T7" fmla="*/ 91 h 91"/>
                <a:gd name="T8" fmla="*/ 116 w 177"/>
                <a:gd name="T9" fmla="*/ 91 h 91"/>
                <a:gd name="T10" fmla="*/ 117 w 177"/>
                <a:gd name="T11" fmla="*/ 85 h 91"/>
                <a:gd name="T12" fmla="*/ 14 w 177"/>
                <a:gd name="T13" fmla="*/ 85 h 91"/>
                <a:gd name="T14" fmla="*/ 14 w 177"/>
                <a:gd name="T15" fmla="*/ 20 h 91"/>
                <a:gd name="T16" fmla="*/ 126 w 177"/>
                <a:gd name="T17" fmla="*/ 20 h 91"/>
                <a:gd name="T18" fmla="*/ 141 w 177"/>
                <a:gd name="T19" fmla="*/ 8 h 91"/>
                <a:gd name="T20" fmla="*/ 156 w 177"/>
                <a:gd name="T21" fmla="*/ 20 h 91"/>
                <a:gd name="T22" fmla="*/ 163 w 177"/>
                <a:gd name="T23" fmla="*/ 20 h 91"/>
                <a:gd name="T24" fmla="*/ 163 w 177"/>
                <a:gd name="T25" fmla="*/ 42 h 91"/>
                <a:gd name="T26" fmla="*/ 168 w 177"/>
                <a:gd name="T27" fmla="*/ 48 h 91"/>
                <a:gd name="T28" fmla="*/ 168 w 177"/>
                <a:gd name="T29" fmla="*/ 20 h 91"/>
                <a:gd name="T30" fmla="*/ 177 w 177"/>
                <a:gd name="T31" fmla="*/ 20 h 91"/>
                <a:gd name="T32" fmla="*/ 177 w 177"/>
                <a:gd name="T33" fmla="*/ 0 h 91"/>
                <a:gd name="T34" fmla="*/ 0 w 177"/>
                <a:gd name="T3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7" h="91">
                  <a:moveTo>
                    <a:pt x="0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17" y="89"/>
                    <a:pt x="117" y="87"/>
                    <a:pt x="117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8" y="13"/>
                    <a:pt x="134" y="8"/>
                    <a:pt x="141" y="8"/>
                  </a:cubicBezTo>
                  <a:cubicBezTo>
                    <a:pt x="148" y="8"/>
                    <a:pt x="154" y="13"/>
                    <a:pt x="156" y="20"/>
                  </a:cubicBezTo>
                  <a:cubicBezTo>
                    <a:pt x="163" y="20"/>
                    <a:pt x="163" y="20"/>
                    <a:pt x="163" y="20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5" y="43"/>
                    <a:pt x="167" y="45"/>
                    <a:pt x="168" y="48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77" y="20"/>
                    <a:pt x="177" y="20"/>
                    <a:pt x="177" y="20"/>
                  </a:cubicBezTo>
                  <a:cubicBezTo>
                    <a:pt x="177" y="0"/>
                    <a:pt x="177" y="0"/>
                    <a:pt x="17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Oval 148"/>
            <p:cNvSpPr>
              <a:spLocks noChangeArrowheads="1"/>
            </p:cNvSpPr>
            <p:nvPr/>
          </p:nvSpPr>
          <p:spPr bwMode="auto">
            <a:xfrm>
              <a:off x="5791673" y="3215404"/>
              <a:ext cx="49715" cy="5903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149"/>
            <p:cNvSpPr>
              <a:spLocks/>
            </p:cNvSpPr>
            <p:nvPr/>
          </p:nvSpPr>
          <p:spPr bwMode="auto">
            <a:xfrm>
              <a:off x="5687063" y="3278583"/>
              <a:ext cx="187468" cy="251684"/>
            </a:xfrm>
            <a:custGeom>
              <a:avLst/>
              <a:gdLst>
                <a:gd name="T0" fmla="*/ 80 w 91"/>
                <a:gd name="T1" fmla="*/ 2 h 122"/>
                <a:gd name="T2" fmla="*/ 79 w 91"/>
                <a:gd name="T3" fmla="*/ 2 h 122"/>
                <a:gd name="T4" fmla="*/ 79 w 91"/>
                <a:gd name="T5" fmla="*/ 2 h 122"/>
                <a:gd name="T6" fmla="*/ 73 w 91"/>
                <a:gd name="T7" fmla="*/ 1 h 122"/>
                <a:gd name="T8" fmla="*/ 73 w 91"/>
                <a:gd name="T9" fmla="*/ 2 h 122"/>
                <a:gd name="T10" fmla="*/ 78 w 91"/>
                <a:gd name="T11" fmla="*/ 6 h 122"/>
                <a:gd name="T12" fmla="*/ 72 w 91"/>
                <a:gd name="T13" fmla="*/ 9 h 122"/>
                <a:gd name="T14" fmla="*/ 75 w 91"/>
                <a:gd name="T15" fmla="*/ 14 h 122"/>
                <a:gd name="T16" fmla="*/ 67 w 91"/>
                <a:gd name="T17" fmla="*/ 31 h 122"/>
                <a:gd name="T18" fmla="*/ 66 w 91"/>
                <a:gd name="T19" fmla="*/ 7 h 122"/>
                <a:gd name="T20" fmla="*/ 67 w 91"/>
                <a:gd name="T21" fmla="*/ 6 h 122"/>
                <a:gd name="T22" fmla="*/ 65 w 91"/>
                <a:gd name="T23" fmla="*/ 0 h 122"/>
                <a:gd name="T24" fmla="*/ 61 w 91"/>
                <a:gd name="T25" fmla="*/ 0 h 122"/>
                <a:gd name="T26" fmla="*/ 59 w 91"/>
                <a:gd name="T27" fmla="*/ 6 h 122"/>
                <a:gd name="T28" fmla="*/ 60 w 91"/>
                <a:gd name="T29" fmla="*/ 7 h 122"/>
                <a:gd name="T30" fmla="*/ 59 w 91"/>
                <a:gd name="T31" fmla="*/ 31 h 122"/>
                <a:gd name="T32" fmla="*/ 51 w 91"/>
                <a:gd name="T33" fmla="*/ 14 h 122"/>
                <a:gd name="T34" fmla="*/ 54 w 91"/>
                <a:gd name="T35" fmla="*/ 9 h 122"/>
                <a:gd name="T36" fmla="*/ 48 w 91"/>
                <a:gd name="T37" fmla="*/ 6 h 122"/>
                <a:gd name="T38" fmla="*/ 53 w 91"/>
                <a:gd name="T39" fmla="*/ 2 h 122"/>
                <a:gd name="T40" fmla="*/ 53 w 91"/>
                <a:gd name="T41" fmla="*/ 1 h 122"/>
                <a:gd name="T42" fmla="*/ 49 w 91"/>
                <a:gd name="T43" fmla="*/ 2 h 122"/>
                <a:gd name="T44" fmla="*/ 47 w 91"/>
                <a:gd name="T45" fmla="*/ 2 h 122"/>
                <a:gd name="T46" fmla="*/ 47 w 91"/>
                <a:gd name="T47" fmla="*/ 2 h 122"/>
                <a:gd name="T48" fmla="*/ 46 w 91"/>
                <a:gd name="T49" fmla="*/ 2 h 122"/>
                <a:gd name="T50" fmla="*/ 44 w 91"/>
                <a:gd name="T51" fmla="*/ 4 h 122"/>
                <a:gd name="T52" fmla="*/ 34 w 91"/>
                <a:gd name="T53" fmla="*/ 13 h 122"/>
                <a:gd name="T54" fmla="*/ 34 w 91"/>
                <a:gd name="T55" fmla="*/ 14 h 122"/>
                <a:gd name="T56" fmla="*/ 29 w 91"/>
                <a:gd name="T57" fmla="*/ 13 h 122"/>
                <a:gd name="T58" fmla="*/ 2 w 91"/>
                <a:gd name="T59" fmla="*/ 9 h 122"/>
                <a:gd name="T60" fmla="*/ 0 w 91"/>
                <a:gd name="T61" fmla="*/ 26 h 122"/>
                <a:gd name="T62" fmla="*/ 27 w 91"/>
                <a:gd name="T63" fmla="*/ 28 h 122"/>
                <a:gd name="T64" fmla="*/ 34 w 91"/>
                <a:gd name="T65" fmla="*/ 29 h 122"/>
                <a:gd name="T66" fmla="*/ 35 w 91"/>
                <a:gd name="T67" fmla="*/ 29 h 122"/>
                <a:gd name="T68" fmla="*/ 36 w 91"/>
                <a:gd name="T69" fmla="*/ 29 h 122"/>
                <a:gd name="T70" fmla="*/ 43 w 91"/>
                <a:gd name="T71" fmla="*/ 26 h 122"/>
                <a:gd name="T72" fmla="*/ 43 w 91"/>
                <a:gd name="T73" fmla="*/ 25 h 122"/>
                <a:gd name="T74" fmla="*/ 42 w 91"/>
                <a:gd name="T75" fmla="*/ 65 h 122"/>
                <a:gd name="T76" fmla="*/ 42 w 91"/>
                <a:gd name="T77" fmla="*/ 65 h 122"/>
                <a:gd name="T78" fmla="*/ 44 w 91"/>
                <a:gd name="T79" fmla="*/ 65 h 122"/>
                <a:gd name="T80" fmla="*/ 46 w 91"/>
                <a:gd name="T81" fmla="*/ 122 h 122"/>
                <a:gd name="T82" fmla="*/ 62 w 91"/>
                <a:gd name="T83" fmla="*/ 122 h 122"/>
                <a:gd name="T84" fmla="*/ 62 w 91"/>
                <a:gd name="T85" fmla="*/ 65 h 122"/>
                <a:gd name="T86" fmla="*/ 64 w 91"/>
                <a:gd name="T87" fmla="*/ 65 h 122"/>
                <a:gd name="T88" fmla="*/ 66 w 91"/>
                <a:gd name="T89" fmla="*/ 122 h 122"/>
                <a:gd name="T90" fmla="*/ 82 w 91"/>
                <a:gd name="T91" fmla="*/ 122 h 122"/>
                <a:gd name="T92" fmla="*/ 82 w 91"/>
                <a:gd name="T93" fmla="*/ 65 h 122"/>
                <a:gd name="T94" fmla="*/ 84 w 91"/>
                <a:gd name="T95" fmla="*/ 65 h 122"/>
                <a:gd name="T96" fmla="*/ 84 w 91"/>
                <a:gd name="T97" fmla="*/ 65 h 122"/>
                <a:gd name="T98" fmla="*/ 91 w 91"/>
                <a:gd name="T99" fmla="*/ 64 h 122"/>
                <a:gd name="T100" fmla="*/ 87 w 91"/>
                <a:gd name="T101" fmla="*/ 9 h 122"/>
                <a:gd name="T102" fmla="*/ 80 w 91"/>
                <a:gd name="T103" fmla="*/ 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" h="122">
                  <a:moveTo>
                    <a:pt x="80" y="2"/>
                  </a:moveTo>
                  <a:cubicBezTo>
                    <a:pt x="79" y="2"/>
                    <a:pt x="79" y="2"/>
                    <a:pt x="79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7" y="2"/>
                    <a:pt x="75" y="2"/>
                    <a:pt x="73" y="1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2"/>
                    <a:pt x="50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5" y="3"/>
                    <a:pt x="45" y="3"/>
                    <a:pt x="44" y="4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4"/>
                    <a:pt x="1" y="20"/>
                    <a:pt x="0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8"/>
                    <a:pt x="43" y="26"/>
                    <a:pt x="43" y="26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38"/>
                    <a:pt x="43" y="51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3" y="65"/>
                    <a:pt x="44" y="65"/>
                    <a:pt x="44" y="65"/>
                  </a:cubicBezTo>
                  <a:cubicBezTo>
                    <a:pt x="46" y="122"/>
                    <a:pt x="46" y="122"/>
                    <a:pt x="46" y="122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3" y="105"/>
                    <a:pt x="62" y="76"/>
                    <a:pt x="62" y="65"/>
                  </a:cubicBezTo>
                  <a:cubicBezTo>
                    <a:pt x="63" y="65"/>
                    <a:pt x="63" y="65"/>
                    <a:pt x="64" y="65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2" y="105"/>
                    <a:pt x="82" y="76"/>
                    <a:pt x="82" y="65"/>
                  </a:cubicBezTo>
                  <a:cubicBezTo>
                    <a:pt x="82" y="65"/>
                    <a:pt x="83" y="65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6" y="65"/>
                    <a:pt x="89" y="64"/>
                    <a:pt x="91" y="64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5"/>
                    <a:pt x="83" y="2"/>
                    <a:pt x="8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266092" y="3791659"/>
            <a:ext cx="143956" cy="133674"/>
            <a:chOff x="8111715" y="3136688"/>
            <a:chExt cx="425687" cy="391508"/>
          </a:xfrm>
        </p:grpSpPr>
        <p:sp>
          <p:nvSpPr>
            <p:cNvPr id="43" name="Freeform 165"/>
            <p:cNvSpPr>
              <a:spLocks noEditPoints="1"/>
            </p:cNvSpPr>
            <p:nvPr/>
          </p:nvSpPr>
          <p:spPr bwMode="auto">
            <a:xfrm>
              <a:off x="8111715" y="3388371"/>
              <a:ext cx="141896" cy="48680"/>
            </a:xfrm>
            <a:custGeom>
              <a:avLst/>
              <a:gdLst>
                <a:gd name="T0" fmla="*/ 66 w 69"/>
                <a:gd name="T1" fmla="*/ 10 h 24"/>
                <a:gd name="T2" fmla="*/ 35 w 69"/>
                <a:gd name="T3" fmla="*/ 0 h 24"/>
                <a:gd name="T4" fmla="*/ 3 w 69"/>
                <a:gd name="T5" fmla="*/ 10 h 24"/>
                <a:gd name="T6" fmla="*/ 34 w 69"/>
                <a:gd name="T7" fmla="*/ 24 h 24"/>
                <a:gd name="T8" fmla="*/ 66 w 69"/>
                <a:gd name="T9" fmla="*/ 10 h 24"/>
                <a:gd name="T10" fmla="*/ 35 w 69"/>
                <a:gd name="T11" fmla="*/ 19 h 24"/>
                <a:gd name="T12" fmla="*/ 11 w 69"/>
                <a:gd name="T13" fmla="*/ 9 h 24"/>
                <a:gd name="T14" fmla="*/ 35 w 69"/>
                <a:gd name="T15" fmla="*/ 2 h 24"/>
                <a:gd name="T16" fmla="*/ 58 w 69"/>
                <a:gd name="T17" fmla="*/ 9 h 24"/>
                <a:gd name="T18" fmla="*/ 35 w 69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66" y="10"/>
                  </a:moveTo>
                  <a:cubicBezTo>
                    <a:pt x="63" y="3"/>
                    <a:pt x="49" y="0"/>
                    <a:pt x="35" y="0"/>
                  </a:cubicBezTo>
                  <a:cubicBezTo>
                    <a:pt x="21" y="0"/>
                    <a:pt x="6" y="4"/>
                    <a:pt x="3" y="10"/>
                  </a:cubicBezTo>
                  <a:cubicBezTo>
                    <a:pt x="0" y="16"/>
                    <a:pt x="14" y="24"/>
                    <a:pt x="34" y="24"/>
                  </a:cubicBezTo>
                  <a:cubicBezTo>
                    <a:pt x="55" y="24"/>
                    <a:pt x="69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4" y="2"/>
                    <a:pt x="35" y="2"/>
                  </a:cubicBezTo>
                  <a:cubicBezTo>
                    <a:pt x="46" y="2"/>
                    <a:pt x="57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66"/>
            <p:cNvSpPr>
              <a:spLocks/>
            </p:cNvSpPr>
            <p:nvPr/>
          </p:nvSpPr>
          <p:spPr bwMode="auto">
            <a:xfrm>
              <a:off x="8211146" y="3426693"/>
              <a:ext cx="36251" cy="20715"/>
            </a:xfrm>
            <a:custGeom>
              <a:avLst/>
              <a:gdLst>
                <a:gd name="T0" fmla="*/ 10 w 35"/>
                <a:gd name="T1" fmla="*/ 0 h 20"/>
                <a:gd name="T2" fmla="*/ 35 w 35"/>
                <a:gd name="T3" fmla="*/ 8 h 20"/>
                <a:gd name="T4" fmla="*/ 20 w 35"/>
                <a:gd name="T5" fmla="*/ 20 h 20"/>
                <a:gd name="T6" fmla="*/ 0 w 35"/>
                <a:gd name="T7" fmla="*/ 4 h 20"/>
                <a:gd name="T8" fmla="*/ 10 w 3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10" y="0"/>
                  </a:moveTo>
                  <a:lnTo>
                    <a:pt x="35" y="8"/>
                  </a:lnTo>
                  <a:lnTo>
                    <a:pt x="20" y="20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67"/>
            <p:cNvSpPr>
              <a:spLocks noEditPoints="1"/>
            </p:cNvSpPr>
            <p:nvPr/>
          </p:nvSpPr>
          <p:spPr bwMode="auto">
            <a:xfrm>
              <a:off x="8393435" y="3388371"/>
              <a:ext cx="143967" cy="48680"/>
            </a:xfrm>
            <a:custGeom>
              <a:avLst/>
              <a:gdLst>
                <a:gd name="T0" fmla="*/ 66 w 70"/>
                <a:gd name="T1" fmla="*/ 10 h 24"/>
                <a:gd name="T2" fmla="*/ 35 w 70"/>
                <a:gd name="T3" fmla="*/ 0 h 24"/>
                <a:gd name="T4" fmla="*/ 3 w 70"/>
                <a:gd name="T5" fmla="*/ 10 h 24"/>
                <a:gd name="T6" fmla="*/ 35 w 70"/>
                <a:gd name="T7" fmla="*/ 24 h 24"/>
                <a:gd name="T8" fmla="*/ 66 w 70"/>
                <a:gd name="T9" fmla="*/ 10 h 24"/>
                <a:gd name="T10" fmla="*/ 35 w 70"/>
                <a:gd name="T11" fmla="*/ 19 h 24"/>
                <a:gd name="T12" fmla="*/ 11 w 70"/>
                <a:gd name="T13" fmla="*/ 9 h 24"/>
                <a:gd name="T14" fmla="*/ 35 w 70"/>
                <a:gd name="T15" fmla="*/ 2 h 24"/>
                <a:gd name="T16" fmla="*/ 58 w 70"/>
                <a:gd name="T17" fmla="*/ 9 h 24"/>
                <a:gd name="T18" fmla="*/ 35 w 70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24">
                  <a:moveTo>
                    <a:pt x="66" y="10"/>
                  </a:moveTo>
                  <a:cubicBezTo>
                    <a:pt x="63" y="4"/>
                    <a:pt x="49" y="0"/>
                    <a:pt x="35" y="0"/>
                  </a:cubicBezTo>
                  <a:cubicBezTo>
                    <a:pt x="21" y="0"/>
                    <a:pt x="7" y="3"/>
                    <a:pt x="3" y="10"/>
                  </a:cubicBezTo>
                  <a:cubicBezTo>
                    <a:pt x="0" y="16"/>
                    <a:pt x="14" y="24"/>
                    <a:pt x="35" y="24"/>
                  </a:cubicBezTo>
                  <a:cubicBezTo>
                    <a:pt x="56" y="24"/>
                    <a:pt x="70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3" y="2"/>
                    <a:pt x="35" y="2"/>
                  </a:cubicBezTo>
                  <a:cubicBezTo>
                    <a:pt x="46" y="2"/>
                    <a:pt x="56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168"/>
            <p:cNvSpPr>
              <a:spLocks/>
            </p:cNvSpPr>
            <p:nvPr/>
          </p:nvSpPr>
          <p:spPr bwMode="auto">
            <a:xfrm>
              <a:off x="8401720" y="3426693"/>
              <a:ext cx="35215" cy="20715"/>
            </a:xfrm>
            <a:custGeom>
              <a:avLst/>
              <a:gdLst>
                <a:gd name="T0" fmla="*/ 24 w 34"/>
                <a:gd name="T1" fmla="*/ 0 h 20"/>
                <a:gd name="T2" fmla="*/ 0 w 34"/>
                <a:gd name="T3" fmla="*/ 8 h 20"/>
                <a:gd name="T4" fmla="*/ 14 w 34"/>
                <a:gd name="T5" fmla="*/ 20 h 20"/>
                <a:gd name="T6" fmla="*/ 34 w 34"/>
                <a:gd name="T7" fmla="*/ 4 h 20"/>
                <a:gd name="T8" fmla="*/ 24 w 34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24" y="0"/>
                  </a:moveTo>
                  <a:lnTo>
                    <a:pt x="0" y="8"/>
                  </a:lnTo>
                  <a:lnTo>
                    <a:pt x="14" y="20"/>
                  </a:lnTo>
                  <a:lnTo>
                    <a:pt x="34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69"/>
            <p:cNvSpPr>
              <a:spLocks noEditPoints="1"/>
            </p:cNvSpPr>
            <p:nvPr/>
          </p:nvSpPr>
          <p:spPr bwMode="auto">
            <a:xfrm>
              <a:off x="8184216" y="3422551"/>
              <a:ext cx="279648" cy="105645"/>
            </a:xfrm>
            <a:custGeom>
              <a:avLst/>
              <a:gdLst>
                <a:gd name="T0" fmla="*/ 129 w 136"/>
                <a:gd name="T1" fmla="*/ 21 h 51"/>
                <a:gd name="T2" fmla="*/ 69 w 136"/>
                <a:gd name="T3" fmla="*/ 0 h 51"/>
                <a:gd name="T4" fmla="*/ 7 w 136"/>
                <a:gd name="T5" fmla="*/ 21 h 51"/>
                <a:gd name="T6" fmla="*/ 68 w 136"/>
                <a:gd name="T7" fmla="*/ 51 h 51"/>
                <a:gd name="T8" fmla="*/ 129 w 136"/>
                <a:gd name="T9" fmla="*/ 21 h 51"/>
                <a:gd name="T10" fmla="*/ 68 w 136"/>
                <a:gd name="T11" fmla="*/ 39 h 51"/>
                <a:gd name="T12" fmla="*/ 22 w 136"/>
                <a:gd name="T13" fmla="*/ 19 h 51"/>
                <a:gd name="T14" fmla="*/ 69 w 136"/>
                <a:gd name="T15" fmla="*/ 5 h 51"/>
                <a:gd name="T16" fmla="*/ 115 w 136"/>
                <a:gd name="T17" fmla="*/ 19 h 51"/>
                <a:gd name="T18" fmla="*/ 68 w 136"/>
                <a:gd name="T19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51">
                  <a:moveTo>
                    <a:pt x="129" y="21"/>
                  </a:moveTo>
                  <a:cubicBezTo>
                    <a:pt x="123" y="8"/>
                    <a:pt x="96" y="0"/>
                    <a:pt x="69" y="0"/>
                  </a:cubicBezTo>
                  <a:cubicBezTo>
                    <a:pt x="41" y="0"/>
                    <a:pt x="13" y="8"/>
                    <a:pt x="7" y="21"/>
                  </a:cubicBezTo>
                  <a:cubicBezTo>
                    <a:pt x="0" y="33"/>
                    <a:pt x="28" y="51"/>
                    <a:pt x="68" y="51"/>
                  </a:cubicBezTo>
                  <a:cubicBezTo>
                    <a:pt x="108" y="51"/>
                    <a:pt x="136" y="33"/>
                    <a:pt x="129" y="21"/>
                  </a:cubicBezTo>
                  <a:close/>
                  <a:moveTo>
                    <a:pt x="68" y="39"/>
                  </a:moveTo>
                  <a:cubicBezTo>
                    <a:pt x="39" y="39"/>
                    <a:pt x="19" y="28"/>
                    <a:pt x="22" y="19"/>
                  </a:cubicBezTo>
                  <a:cubicBezTo>
                    <a:pt x="26" y="10"/>
                    <a:pt x="47" y="5"/>
                    <a:pt x="69" y="5"/>
                  </a:cubicBezTo>
                  <a:cubicBezTo>
                    <a:pt x="91" y="5"/>
                    <a:pt x="111" y="10"/>
                    <a:pt x="115" y="19"/>
                  </a:cubicBezTo>
                  <a:cubicBezTo>
                    <a:pt x="118" y="28"/>
                    <a:pt x="98" y="39"/>
                    <a:pt x="68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70"/>
            <p:cNvSpPr>
              <a:spLocks/>
            </p:cNvSpPr>
            <p:nvPr/>
          </p:nvSpPr>
          <p:spPr bwMode="auto">
            <a:xfrm>
              <a:off x="82826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71"/>
            <p:cNvSpPr>
              <a:spLocks/>
            </p:cNvSpPr>
            <p:nvPr/>
          </p:nvSpPr>
          <p:spPr bwMode="auto">
            <a:xfrm>
              <a:off x="83261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Oval 172"/>
            <p:cNvSpPr>
              <a:spLocks noChangeArrowheads="1"/>
            </p:cNvSpPr>
            <p:nvPr/>
          </p:nvSpPr>
          <p:spPr bwMode="auto">
            <a:xfrm>
              <a:off x="8297112" y="3136688"/>
              <a:ext cx="53858" cy="64216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tangle 173"/>
            <p:cNvSpPr>
              <a:spLocks noChangeArrowheads="1"/>
            </p:cNvSpPr>
            <p:nvPr/>
          </p:nvSpPr>
          <p:spPr bwMode="auto">
            <a:xfrm>
              <a:off x="8324041" y="3293084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74"/>
            <p:cNvSpPr>
              <a:spLocks/>
            </p:cNvSpPr>
            <p:nvPr/>
          </p:nvSpPr>
          <p:spPr bwMode="auto">
            <a:xfrm>
              <a:off x="8261896" y="3209189"/>
              <a:ext cx="125324" cy="139824"/>
            </a:xfrm>
            <a:custGeom>
              <a:avLst/>
              <a:gdLst>
                <a:gd name="T0" fmla="*/ 56 w 61"/>
                <a:gd name="T1" fmla="*/ 8 h 68"/>
                <a:gd name="T2" fmla="*/ 49 w 61"/>
                <a:gd name="T3" fmla="*/ 1 h 68"/>
                <a:gd name="T4" fmla="*/ 41 w 61"/>
                <a:gd name="T5" fmla="*/ 0 h 68"/>
                <a:gd name="T6" fmla="*/ 41 w 61"/>
                <a:gd name="T7" fmla="*/ 0 h 68"/>
                <a:gd name="T8" fmla="*/ 46 w 61"/>
                <a:gd name="T9" fmla="*/ 5 h 68"/>
                <a:gd name="T10" fmla="*/ 40 w 61"/>
                <a:gd name="T11" fmla="*/ 8 h 68"/>
                <a:gd name="T12" fmla="*/ 43 w 61"/>
                <a:gd name="T13" fmla="*/ 13 h 68"/>
                <a:gd name="T14" fmla="*/ 30 w 61"/>
                <a:gd name="T15" fmla="*/ 41 h 68"/>
                <a:gd name="T16" fmla="*/ 30 w 61"/>
                <a:gd name="T17" fmla="*/ 41 h 68"/>
                <a:gd name="T18" fmla="*/ 30 w 61"/>
                <a:gd name="T19" fmla="*/ 41 h 68"/>
                <a:gd name="T20" fmla="*/ 30 w 61"/>
                <a:gd name="T21" fmla="*/ 41 h 68"/>
                <a:gd name="T22" fmla="*/ 30 w 61"/>
                <a:gd name="T23" fmla="*/ 41 h 68"/>
                <a:gd name="T24" fmla="*/ 17 w 61"/>
                <a:gd name="T25" fmla="*/ 13 h 68"/>
                <a:gd name="T26" fmla="*/ 20 w 61"/>
                <a:gd name="T27" fmla="*/ 8 h 68"/>
                <a:gd name="T28" fmla="*/ 14 w 61"/>
                <a:gd name="T29" fmla="*/ 5 h 68"/>
                <a:gd name="T30" fmla="*/ 19 w 61"/>
                <a:gd name="T31" fmla="*/ 0 h 68"/>
                <a:gd name="T32" fmla="*/ 19 w 61"/>
                <a:gd name="T33" fmla="*/ 0 h 68"/>
                <a:gd name="T34" fmla="*/ 12 w 61"/>
                <a:gd name="T35" fmla="*/ 1 h 68"/>
                <a:gd name="T36" fmla="*/ 12 w 61"/>
                <a:gd name="T37" fmla="*/ 1 h 68"/>
                <a:gd name="T38" fmla="*/ 5 w 61"/>
                <a:gd name="T39" fmla="*/ 8 h 68"/>
                <a:gd name="T40" fmla="*/ 0 w 61"/>
                <a:gd name="T41" fmla="*/ 68 h 68"/>
                <a:gd name="T42" fmla="*/ 8 w 61"/>
                <a:gd name="T43" fmla="*/ 68 h 68"/>
                <a:gd name="T44" fmla="*/ 8 w 61"/>
                <a:gd name="T45" fmla="*/ 68 h 68"/>
                <a:gd name="T46" fmla="*/ 9 w 61"/>
                <a:gd name="T47" fmla="*/ 68 h 68"/>
                <a:gd name="T48" fmla="*/ 18 w 61"/>
                <a:gd name="T49" fmla="*/ 68 h 68"/>
                <a:gd name="T50" fmla="*/ 18 w 61"/>
                <a:gd name="T51" fmla="*/ 68 h 68"/>
                <a:gd name="T52" fmla="*/ 43 w 61"/>
                <a:gd name="T53" fmla="*/ 68 h 68"/>
                <a:gd name="T54" fmla="*/ 43 w 61"/>
                <a:gd name="T55" fmla="*/ 68 h 68"/>
                <a:gd name="T56" fmla="*/ 52 w 61"/>
                <a:gd name="T57" fmla="*/ 68 h 68"/>
                <a:gd name="T58" fmla="*/ 52 w 61"/>
                <a:gd name="T59" fmla="*/ 68 h 68"/>
                <a:gd name="T60" fmla="*/ 52 w 61"/>
                <a:gd name="T61" fmla="*/ 68 h 68"/>
                <a:gd name="T62" fmla="*/ 61 w 61"/>
                <a:gd name="T63" fmla="*/ 68 h 68"/>
                <a:gd name="T64" fmla="*/ 56 w 61"/>
                <a:gd name="T65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" h="68">
                  <a:moveTo>
                    <a:pt x="56" y="8"/>
                  </a:moveTo>
                  <a:cubicBezTo>
                    <a:pt x="56" y="4"/>
                    <a:pt x="53" y="1"/>
                    <a:pt x="49" y="1"/>
                  </a:cubicBezTo>
                  <a:cubicBezTo>
                    <a:pt x="48" y="1"/>
                    <a:pt x="43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3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8" y="1"/>
                    <a:pt x="5" y="4"/>
                    <a:pt x="5" y="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9" y="68"/>
                    <a:pt x="9" y="68"/>
                  </a:cubicBezTo>
                  <a:cubicBezTo>
                    <a:pt x="12" y="68"/>
                    <a:pt x="15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8"/>
                    <a:pt x="35" y="68"/>
                    <a:pt x="43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6" y="68"/>
                    <a:pt x="49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5" y="68"/>
                    <a:pt x="58" y="68"/>
                    <a:pt x="61" y="68"/>
                  </a:cubicBezTo>
                  <a:lnTo>
                    <a:pt x="56" y="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75"/>
            <p:cNvSpPr>
              <a:spLocks/>
            </p:cNvSpPr>
            <p:nvPr/>
          </p:nvSpPr>
          <p:spPr bwMode="auto">
            <a:xfrm>
              <a:off x="8315754" y="3207118"/>
              <a:ext cx="16572" cy="20715"/>
            </a:xfrm>
            <a:custGeom>
              <a:avLst/>
              <a:gdLst>
                <a:gd name="T0" fmla="*/ 14 w 16"/>
                <a:gd name="T1" fmla="*/ 0 h 20"/>
                <a:gd name="T2" fmla="*/ 16 w 16"/>
                <a:gd name="T3" fmla="*/ 12 h 20"/>
                <a:gd name="T4" fmla="*/ 8 w 16"/>
                <a:gd name="T5" fmla="*/ 20 h 20"/>
                <a:gd name="T6" fmla="*/ 0 w 16"/>
                <a:gd name="T7" fmla="*/ 12 h 20"/>
                <a:gd name="T8" fmla="*/ 4 w 16"/>
                <a:gd name="T9" fmla="*/ 0 h 20"/>
                <a:gd name="T10" fmla="*/ 14 w 16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4" y="0"/>
                  </a:moveTo>
                  <a:lnTo>
                    <a:pt x="16" y="12"/>
                  </a:lnTo>
                  <a:lnTo>
                    <a:pt x="8" y="20"/>
                  </a:lnTo>
                  <a:lnTo>
                    <a:pt x="0" y="12"/>
                  </a:lnTo>
                  <a:lnTo>
                    <a:pt x="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176"/>
            <p:cNvSpPr>
              <a:spLocks/>
            </p:cNvSpPr>
            <p:nvPr/>
          </p:nvSpPr>
          <p:spPr bwMode="auto">
            <a:xfrm>
              <a:off x="8313683" y="3221619"/>
              <a:ext cx="20715" cy="79751"/>
            </a:xfrm>
            <a:custGeom>
              <a:avLst/>
              <a:gdLst>
                <a:gd name="T0" fmla="*/ 16 w 20"/>
                <a:gd name="T1" fmla="*/ 0 h 77"/>
                <a:gd name="T2" fmla="*/ 20 w 20"/>
                <a:gd name="T3" fmla="*/ 69 h 77"/>
                <a:gd name="T4" fmla="*/ 10 w 20"/>
                <a:gd name="T5" fmla="*/ 77 h 77"/>
                <a:gd name="T6" fmla="*/ 0 w 20"/>
                <a:gd name="T7" fmla="*/ 69 h 77"/>
                <a:gd name="T8" fmla="*/ 4 w 20"/>
                <a:gd name="T9" fmla="*/ 0 h 77"/>
                <a:gd name="T10" fmla="*/ 16 w 20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7">
                  <a:moveTo>
                    <a:pt x="16" y="0"/>
                  </a:moveTo>
                  <a:lnTo>
                    <a:pt x="20" y="69"/>
                  </a:lnTo>
                  <a:lnTo>
                    <a:pt x="10" y="77"/>
                  </a:lnTo>
                  <a:lnTo>
                    <a:pt x="0" y="69"/>
                  </a:lnTo>
                  <a:lnTo>
                    <a:pt x="4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177"/>
            <p:cNvSpPr>
              <a:spLocks/>
            </p:cNvSpPr>
            <p:nvPr/>
          </p:nvSpPr>
          <p:spPr bwMode="auto">
            <a:xfrm>
              <a:off x="8184217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1 w 13"/>
                <a:gd name="T3" fmla="*/ 42 h 42"/>
                <a:gd name="T4" fmla="*/ 12 w 13"/>
                <a:gd name="T5" fmla="*/ 42 h 42"/>
                <a:gd name="T6" fmla="*/ 12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3" y="28"/>
                    <a:pt x="12" y="0"/>
                    <a:pt x="12" y="0"/>
                  </a:cubicBezTo>
                  <a:cubicBezTo>
                    <a:pt x="12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178"/>
            <p:cNvSpPr>
              <a:spLocks/>
            </p:cNvSpPr>
            <p:nvPr/>
          </p:nvSpPr>
          <p:spPr bwMode="auto">
            <a:xfrm>
              <a:off x="8155216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2 w 13"/>
                <a:gd name="T3" fmla="*/ 42 h 42"/>
                <a:gd name="T4" fmla="*/ 13 w 13"/>
                <a:gd name="T5" fmla="*/ 42 h 42"/>
                <a:gd name="T6" fmla="*/ 13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2" y="42"/>
                    <a:pt x="2" y="42"/>
                    <a:pt x="2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Oval 179"/>
            <p:cNvSpPr>
              <a:spLocks noChangeArrowheads="1"/>
            </p:cNvSpPr>
            <p:nvPr/>
          </p:nvSpPr>
          <p:spPr bwMode="auto">
            <a:xfrm>
              <a:off x="8165574" y="3196761"/>
              <a:ext cx="35215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180"/>
            <p:cNvSpPr>
              <a:spLocks noChangeArrowheads="1"/>
            </p:cNvSpPr>
            <p:nvPr/>
          </p:nvSpPr>
          <p:spPr bwMode="auto">
            <a:xfrm>
              <a:off x="8182145" y="3295155"/>
              <a:ext cx="2072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181"/>
            <p:cNvSpPr>
              <a:spLocks noEditPoints="1"/>
            </p:cNvSpPr>
            <p:nvPr/>
          </p:nvSpPr>
          <p:spPr bwMode="auto">
            <a:xfrm>
              <a:off x="8136573" y="3242333"/>
              <a:ext cx="106681" cy="94252"/>
            </a:xfrm>
            <a:custGeom>
              <a:avLst/>
              <a:gdLst>
                <a:gd name="T0" fmla="*/ 51 w 52"/>
                <a:gd name="T1" fmla="*/ 17 h 46"/>
                <a:gd name="T2" fmla="*/ 51 w 52"/>
                <a:gd name="T3" fmla="*/ 17 h 46"/>
                <a:gd name="T4" fmla="*/ 51 w 52"/>
                <a:gd name="T5" fmla="*/ 17 h 46"/>
                <a:gd name="T6" fmla="*/ 37 w 52"/>
                <a:gd name="T7" fmla="*/ 2 h 46"/>
                <a:gd name="T8" fmla="*/ 34 w 52"/>
                <a:gd name="T9" fmla="*/ 0 h 46"/>
                <a:gd name="T10" fmla="*/ 29 w 52"/>
                <a:gd name="T11" fmla="*/ 0 h 46"/>
                <a:gd name="T12" fmla="*/ 29 w 52"/>
                <a:gd name="T13" fmla="*/ 0 h 46"/>
                <a:gd name="T14" fmla="*/ 33 w 52"/>
                <a:gd name="T15" fmla="*/ 3 h 46"/>
                <a:gd name="T16" fmla="*/ 29 w 52"/>
                <a:gd name="T17" fmla="*/ 5 h 46"/>
                <a:gd name="T18" fmla="*/ 31 w 52"/>
                <a:gd name="T19" fmla="*/ 9 h 46"/>
                <a:gd name="T20" fmla="*/ 23 w 52"/>
                <a:gd name="T21" fmla="*/ 26 h 46"/>
                <a:gd name="T22" fmla="*/ 23 w 52"/>
                <a:gd name="T23" fmla="*/ 26 h 46"/>
                <a:gd name="T24" fmla="*/ 22 w 52"/>
                <a:gd name="T25" fmla="*/ 26 h 46"/>
                <a:gd name="T26" fmla="*/ 22 w 52"/>
                <a:gd name="T27" fmla="*/ 26 h 46"/>
                <a:gd name="T28" fmla="*/ 22 w 52"/>
                <a:gd name="T29" fmla="*/ 26 h 46"/>
                <a:gd name="T30" fmla="*/ 14 w 52"/>
                <a:gd name="T31" fmla="*/ 9 h 46"/>
                <a:gd name="T32" fmla="*/ 16 w 52"/>
                <a:gd name="T33" fmla="*/ 5 h 46"/>
                <a:gd name="T34" fmla="*/ 12 w 52"/>
                <a:gd name="T35" fmla="*/ 3 h 46"/>
                <a:gd name="T36" fmla="*/ 16 w 52"/>
                <a:gd name="T37" fmla="*/ 0 h 46"/>
                <a:gd name="T38" fmla="*/ 16 w 52"/>
                <a:gd name="T39" fmla="*/ 0 h 46"/>
                <a:gd name="T40" fmla="*/ 11 w 52"/>
                <a:gd name="T41" fmla="*/ 0 h 46"/>
                <a:gd name="T42" fmla="*/ 7 w 52"/>
                <a:gd name="T43" fmla="*/ 4 h 46"/>
                <a:gd name="T44" fmla="*/ 0 w 52"/>
                <a:gd name="T45" fmla="*/ 23 h 46"/>
                <a:gd name="T46" fmla="*/ 8 w 52"/>
                <a:gd name="T47" fmla="*/ 46 h 46"/>
                <a:gd name="T48" fmla="*/ 13 w 52"/>
                <a:gd name="T49" fmla="*/ 44 h 46"/>
                <a:gd name="T50" fmla="*/ 37 w 52"/>
                <a:gd name="T51" fmla="*/ 44 h 46"/>
                <a:gd name="T52" fmla="*/ 37 w 52"/>
                <a:gd name="T53" fmla="*/ 43 h 46"/>
                <a:gd name="T54" fmla="*/ 36 w 52"/>
                <a:gd name="T55" fmla="*/ 38 h 46"/>
                <a:gd name="T56" fmla="*/ 43 w 52"/>
                <a:gd name="T57" fmla="*/ 41 h 46"/>
                <a:gd name="T58" fmla="*/ 47 w 52"/>
                <a:gd name="T59" fmla="*/ 32 h 46"/>
                <a:gd name="T60" fmla="*/ 49 w 52"/>
                <a:gd name="T61" fmla="*/ 27 h 46"/>
                <a:gd name="T62" fmla="*/ 51 w 52"/>
                <a:gd name="T63" fmla="*/ 25 h 46"/>
                <a:gd name="T64" fmla="*/ 51 w 52"/>
                <a:gd name="T65" fmla="*/ 24 h 46"/>
                <a:gd name="T66" fmla="*/ 51 w 52"/>
                <a:gd name="T67" fmla="*/ 23 h 46"/>
                <a:gd name="T68" fmla="*/ 52 w 52"/>
                <a:gd name="T69" fmla="*/ 23 h 46"/>
                <a:gd name="T70" fmla="*/ 52 w 52"/>
                <a:gd name="T71" fmla="*/ 23 h 46"/>
                <a:gd name="T72" fmla="*/ 52 w 52"/>
                <a:gd name="T73" fmla="*/ 23 h 46"/>
                <a:gd name="T74" fmla="*/ 52 w 52"/>
                <a:gd name="T75" fmla="*/ 23 h 46"/>
                <a:gd name="T76" fmla="*/ 51 w 52"/>
                <a:gd name="T77" fmla="*/ 17 h 46"/>
                <a:gd name="T78" fmla="*/ 40 w 52"/>
                <a:gd name="T79" fmla="*/ 22 h 46"/>
                <a:gd name="T80" fmla="*/ 38 w 52"/>
                <a:gd name="T81" fmla="*/ 27 h 46"/>
                <a:gd name="T82" fmla="*/ 36 w 52"/>
                <a:gd name="T83" fmla="*/ 29 h 46"/>
                <a:gd name="T84" fmla="*/ 36 w 52"/>
                <a:gd name="T85" fmla="*/ 15 h 46"/>
                <a:gd name="T86" fmla="*/ 41 w 52"/>
                <a:gd name="T87" fmla="*/ 21 h 46"/>
                <a:gd name="T88" fmla="*/ 40 w 52"/>
                <a:gd name="T89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" h="46">
                  <a:moveTo>
                    <a:pt x="51" y="17"/>
                  </a:move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0"/>
                  </a:cubicBezTo>
                  <a:cubicBezTo>
                    <a:pt x="34" y="0"/>
                    <a:pt x="31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37"/>
                    <a:pt x="5" y="38"/>
                    <a:pt x="8" y="46"/>
                  </a:cubicBezTo>
                  <a:cubicBezTo>
                    <a:pt x="9" y="45"/>
                    <a:pt x="11" y="44"/>
                    <a:pt x="13" y="44"/>
                  </a:cubicBezTo>
                  <a:cubicBezTo>
                    <a:pt x="21" y="44"/>
                    <a:pt x="29" y="44"/>
                    <a:pt x="37" y="44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1"/>
                    <a:pt x="36" y="39"/>
                    <a:pt x="36" y="38"/>
                  </a:cubicBezTo>
                  <a:cubicBezTo>
                    <a:pt x="38" y="39"/>
                    <a:pt x="41" y="40"/>
                    <a:pt x="43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20"/>
                    <a:pt x="52" y="29"/>
                    <a:pt x="51" y="17"/>
                  </a:cubicBezTo>
                  <a:close/>
                  <a:moveTo>
                    <a:pt x="40" y="22"/>
                  </a:moveTo>
                  <a:cubicBezTo>
                    <a:pt x="38" y="27"/>
                    <a:pt x="38" y="27"/>
                    <a:pt x="38" y="27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4"/>
                    <a:pt x="36" y="20"/>
                    <a:pt x="36" y="15"/>
                  </a:cubicBezTo>
                  <a:cubicBezTo>
                    <a:pt x="41" y="21"/>
                    <a:pt x="41" y="21"/>
                    <a:pt x="41" y="21"/>
                  </a:cubicBezTo>
                  <a:lnTo>
                    <a:pt x="40" y="2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182"/>
            <p:cNvSpPr>
              <a:spLocks/>
            </p:cNvSpPr>
            <p:nvPr/>
          </p:nvSpPr>
          <p:spPr bwMode="auto">
            <a:xfrm>
              <a:off x="8178002" y="3240261"/>
              <a:ext cx="10358" cy="12429"/>
            </a:xfrm>
            <a:custGeom>
              <a:avLst/>
              <a:gdLst>
                <a:gd name="T0" fmla="*/ 2 w 10"/>
                <a:gd name="T1" fmla="*/ 0 h 12"/>
                <a:gd name="T2" fmla="*/ 0 w 10"/>
                <a:gd name="T3" fmla="*/ 8 h 12"/>
                <a:gd name="T4" fmla="*/ 4 w 10"/>
                <a:gd name="T5" fmla="*/ 12 h 12"/>
                <a:gd name="T6" fmla="*/ 10 w 10"/>
                <a:gd name="T7" fmla="*/ 8 h 12"/>
                <a:gd name="T8" fmla="*/ 8 w 10"/>
                <a:gd name="T9" fmla="*/ 0 h 12"/>
                <a:gd name="T10" fmla="*/ 2 w 1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2" y="0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183"/>
            <p:cNvSpPr>
              <a:spLocks/>
            </p:cNvSpPr>
            <p:nvPr/>
          </p:nvSpPr>
          <p:spPr bwMode="auto">
            <a:xfrm>
              <a:off x="8175930" y="3248547"/>
              <a:ext cx="14501" cy="50751"/>
            </a:xfrm>
            <a:custGeom>
              <a:avLst/>
              <a:gdLst>
                <a:gd name="T0" fmla="*/ 4 w 14"/>
                <a:gd name="T1" fmla="*/ 0 h 49"/>
                <a:gd name="T2" fmla="*/ 0 w 14"/>
                <a:gd name="T3" fmla="*/ 45 h 49"/>
                <a:gd name="T4" fmla="*/ 6 w 14"/>
                <a:gd name="T5" fmla="*/ 49 h 49"/>
                <a:gd name="T6" fmla="*/ 14 w 14"/>
                <a:gd name="T7" fmla="*/ 45 h 49"/>
                <a:gd name="T8" fmla="*/ 10 w 14"/>
                <a:gd name="T9" fmla="*/ 0 h 49"/>
                <a:gd name="T10" fmla="*/ 4 w 1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9">
                  <a:moveTo>
                    <a:pt x="4" y="0"/>
                  </a:moveTo>
                  <a:lnTo>
                    <a:pt x="0" y="45"/>
                  </a:lnTo>
                  <a:lnTo>
                    <a:pt x="6" y="49"/>
                  </a:lnTo>
                  <a:lnTo>
                    <a:pt x="14" y="45"/>
                  </a:lnTo>
                  <a:lnTo>
                    <a:pt x="1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84"/>
            <p:cNvSpPr>
              <a:spLocks/>
            </p:cNvSpPr>
            <p:nvPr/>
          </p:nvSpPr>
          <p:spPr bwMode="auto">
            <a:xfrm>
              <a:off x="8465936" y="3326228"/>
              <a:ext cx="24857" cy="88037"/>
            </a:xfrm>
            <a:custGeom>
              <a:avLst/>
              <a:gdLst>
                <a:gd name="T0" fmla="*/ 0 w 12"/>
                <a:gd name="T1" fmla="*/ 0 h 43"/>
                <a:gd name="T2" fmla="*/ 1 w 12"/>
                <a:gd name="T3" fmla="*/ 43 h 43"/>
                <a:gd name="T4" fmla="*/ 12 w 12"/>
                <a:gd name="T5" fmla="*/ 43 h 43"/>
                <a:gd name="T6" fmla="*/ 12 w 12"/>
                <a:gd name="T7" fmla="*/ 0 h 43"/>
                <a:gd name="T8" fmla="*/ 0 w 12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28"/>
                    <a:pt x="12" y="0"/>
                    <a:pt x="12" y="0"/>
                  </a:cubicBezTo>
                  <a:cubicBezTo>
                    <a:pt x="12" y="0"/>
                    <a:pt x="4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185"/>
            <p:cNvSpPr>
              <a:spLocks/>
            </p:cNvSpPr>
            <p:nvPr/>
          </p:nvSpPr>
          <p:spPr bwMode="auto">
            <a:xfrm>
              <a:off x="8436936" y="3326228"/>
              <a:ext cx="26929" cy="88037"/>
            </a:xfrm>
            <a:custGeom>
              <a:avLst/>
              <a:gdLst>
                <a:gd name="T0" fmla="*/ 0 w 13"/>
                <a:gd name="T1" fmla="*/ 0 h 43"/>
                <a:gd name="T2" fmla="*/ 1 w 13"/>
                <a:gd name="T3" fmla="*/ 43 h 43"/>
                <a:gd name="T4" fmla="*/ 13 w 13"/>
                <a:gd name="T5" fmla="*/ 43 h 43"/>
                <a:gd name="T6" fmla="*/ 13 w 13"/>
                <a:gd name="T7" fmla="*/ 0 h 43"/>
                <a:gd name="T8" fmla="*/ 0 w 13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Oval 186"/>
            <p:cNvSpPr>
              <a:spLocks noChangeArrowheads="1"/>
            </p:cNvSpPr>
            <p:nvPr/>
          </p:nvSpPr>
          <p:spPr bwMode="auto">
            <a:xfrm>
              <a:off x="8447294" y="3198832"/>
              <a:ext cx="33143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187"/>
            <p:cNvSpPr>
              <a:spLocks noChangeArrowheads="1"/>
            </p:cNvSpPr>
            <p:nvPr/>
          </p:nvSpPr>
          <p:spPr bwMode="auto">
            <a:xfrm>
              <a:off x="8463865" y="3297227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188"/>
            <p:cNvSpPr>
              <a:spLocks/>
            </p:cNvSpPr>
            <p:nvPr/>
          </p:nvSpPr>
          <p:spPr bwMode="auto">
            <a:xfrm>
              <a:off x="8418292" y="3244404"/>
              <a:ext cx="89073" cy="94252"/>
            </a:xfrm>
            <a:custGeom>
              <a:avLst/>
              <a:gdLst>
                <a:gd name="T0" fmla="*/ 42 w 43"/>
                <a:gd name="T1" fmla="*/ 24 h 46"/>
                <a:gd name="T2" fmla="*/ 38 w 43"/>
                <a:gd name="T3" fmla="*/ 5 h 46"/>
                <a:gd name="T4" fmla="*/ 34 w 43"/>
                <a:gd name="T5" fmla="*/ 1 h 46"/>
                <a:gd name="T6" fmla="*/ 29 w 43"/>
                <a:gd name="T7" fmla="*/ 0 h 46"/>
                <a:gd name="T8" fmla="*/ 29 w 43"/>
                <a:gd name="T9" fmla="*/ 0 h 46"/>
                <a:gd name="T10" fmla="*/ 32 w 43"/>
                <a:gd name="T11" fmla="*/ 3 h 46"/>
                <a:gd name="T12" fmla="*/ 28 w 43"/>
                <a:gd name="T13" fmla="*/ 5 h 46"/>
                <a:gd name="T14" fmla="*/ 30 w 43"/>
                <a:gd name="T15" fmla="*/ 9 h 46"/>
                <a:gd name="T16" fmla="*/ 22 w 43"/>
                <a:gd name="T17" fmla="*/ 26 h 46"/>
                <a:gd name="T18" fmla="*/ 22 w 43"/>
                <a:gd name="T19" fmla="*/ 26 h 46"/>
                <a:gd name="T20" fmla="*/ 22 w 43"/>
                <a:gd name="T21" fmla="*/ 26 h 46"/>
                <a:gd name="T22" fmla="*/ 22 w 43"/>
                <a:gd name="T23" fmla="*/ 26 h 46"/>
                <a:gd name="T24" fmla="*/ 22 w 43"/>
                <a:gd name="T25" fmla="*/ 26 h 46"/>
                <a:gd name="T26" fmla="*/ 14 w 43"/>
                <a:gd name="T27" fmla="*/ 9 h 46"/>
                <a:gd name="T28" fmla="*/ 16 w 43"/>
                <a:gd name="T29" fmla="*/ 5 h 46"/>
                <a:gd name="T30" fmla="*/ 12 w 43"/>
                <a:gd name="T31" fmla="*/ 3 h 46"/>
                <a:gd name="T32" fmla="*/ 15 w 43"/>
                <a:gd name="T33" fmla="*/ 0 h 46"/>
                <a:gd name="T34" fmla="*/ 15 w 43"/>
                <a:gd name="T35" fmla="*/ 0 h 46"/>
                <a:gd name="T36" fmla="*/ 11 w 43"/>
                <a:gd name="T37" fmla="*/ 1 h 46"/>
                <a:gd name="T38" fmla="*/ 7 w 43"/>
                <a:gd name="T39" fmla="*/ 4 h 46"/>
                <a:gd name="T40" fmla="*/ 0 w 43"/>
                <a:gd name="T41" fmla="*/ 23 h 46"/>
                <a:gd name="T42" fmla="*/ 7 w 43"/>
                <a:gd name="T43" fmla="*/ 46 h 46"/>
                <a:gd name="T44" fmla="*/ 12 w 43"/>
                <a:gd name="T45" fmla="*/ 44 h 46"/>
                <a:gd name="T46" fmla="*/ 30 w 43"/>
                <a:gd name="T47" fmla="*/ 44 h 46"/>
                <a:gd name="T48" fmla="*/ 30 w 43"/>
                <a:gd name="T49" fmla="*/ 45 h 46"/>
                <a:gd name="T50" fmla="*/ 42 w 43"/>
                <a:gd name="T51" fmla="*/ 45 h 46"/>
                <a:gd name="T52" fmla="*/ 42 w 43"/>
                <a:gd name="T5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46">
                  <a:moveTo>
                    <a:pt x="42" y="24"/>
                  </a:moveTo>
                  <a:cubicBezTo>
                    <a:pt x="38" y="5"/>
                    <a:pt x="38" y="5"/>
                    <a:pt x="38" y="5"/>
                  </a:cubicBezTo>
                  <a:cubicBezTo>
                    <a:pt x="37" y="3"/>
                    <a:pt x="36" y="1"/>
                    <a:pt x="34" y="1"/>
                  </a:cubicBezTo>
                  <a:cubicBezTo>
                    <a:pt x="34" y="1"/>
                    <a:pt x="30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1" y="0"/>
                    <a:pt x="11" y="1"/>
                  </a:cubicBezTo>
                  <a:cubicBezTo>
                    <a:pt x="9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37"/>
                    <a:pt x="5" y="38"/>
                    <a:pt x="7" y="46"/>
                  </a:cubicBezTo>
                  <a:cubicBezTo>
                    <a:pt x="9" y="45"/>
                    <a:pt x="11" y="44"/>
                    <a:pt x="12" y="44"/>
                  </a:cubicBezTo>
                  <a:cubicBezTo>
                    <a:pt x="18" y="44"/>
                    <a:pt x="24" y="44"/>
                    <a:pt x="30" y="44"/>
                  </a:cubicBezTo>
                  <a:cubicBezTo>
                    <a:pt x="30" y="44"/>
                    <a:pt x="30" y="44"/>
                    <a:pt x="30" y="45"/>
                  </a:cubicBezTo>
                  <a:cubicBezTo>
                    <a:pt x="34" y="45"/>
                    <a:pt x="38" y="45"/>
                    <a:pt x="42" y="45"/>
                  </a:cubicBezTo>
                  <a:cubicBezTo>
                    <a:pt x="42" y="38"/>
                    <a:pt x="43" y="33"/>
                    <a:pt x="42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189"/>
            <p:cNvSpPr>
              <a:spLocks/>
            </p:cNvSpPr>
            <p:nvPr/>
          </p:nvSpPr>
          <p:spPr bwMode="auto">
            <a:xfrm>
              <a:off x="8457650" y="3244404"/>
              <a:ext cx="12429" cy="12429"/>
            </a:xfrm>
            <a:custGeom>
              <a:avLst/>
              <a:gdLst>
                <a:gd name="T0" fmla="*/ 2 w 12"/>
                <a:gd name="T1" fmla="*/ 0 h 12"/>
                <a:gd name="T2" fmla="*/ 0 w 12"/>
                <a:gd name="T3" fmla="*/ 8 h 12"/>
                <a:gd name="T4" fmla="*/ 6 w 12"/>
                <a:gd name="T5" fmla="*/ 12 h 12"/>
                <a:gd name="T6" fmla="*/ 12 w 12"/>
                <a:gd name="T7" fmla="*/ 8 h 12"/>
                <a:gd name="T8" fmla="*/ 10 w 12"/>
                <a:gd name="T9" fmla="*/ 0 h 12"/>
                <a:gd name="T10" fmla="*/ 2 w 1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lnTo>
                    <a:pt x="0" y="8"/>
                  </a:lnTo>
                  <a:lnTo>
                    <a:pt x="6" y="12"/>
                  </a:lnTo>
                  <a:lnTo>
                    <a:pt x="12" y="8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190"/>
            <p:cNvSpPr>
              <a:spLocks/>
            </p:cNvSpPr>
            <p:nvPr/>
          </p:nvSpPr>
          <p:spPr bwMode="auto">
            <a:xfrm>
              <a:off x="8457650" y="3252690"/>
              <a:ext cx="12429" cy="50751"/>
            </a:xfrm>
            <a:custGeom>
              <a:avLst/>
              <a:gdLst>
                <a:gd name="T0" fmla="*/ 2 w 12"/>
                <a:gd name="T1" fmla="*/ 0 h 49"/>
                <a:gd name="T2" fmla="*/ 0 w 12"/>
                <a:gd name="T3" fmla="*/ 43 h 49"/>
                <a:gd name="T4" fmla="*/ 6 w 12"/>
                <a:gd name="T5" fmla="*/ 49 h 49"/>
                <a:gd name="T6" fmla="*/ 12 w 12"/>
                <a:gd name="T7" fmla="*/ 43 h 49"/>
                <a:gd name="T8" fmla="*/ 10 w 12"/>
                <a:gd name="T9" fmla="*/ 0 h 49"/>
                <a:gd name="T10" fmla="*/ 2 w 1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9">
                  <a:moveTo>
                    <a:pt x="2" y="0"/>
                  </a:moveTo>
                  <a:lnTo>
                    <a:pt x="0" y="43"/>
                  </a:lnTo>
                  <a:lnTo>
                    <a:pt x="6" y="49"/>
                  </a:lnTo>
                  <a:lnTo>
                    <a:pt x="12" y="43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5526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Rectangle 6">
            <a:extLst>
              <a:ext uri="{FF2B5EF4-FFF2-40B4-BE49-F238E27FC236}">
                <a16:creationId xmlns:a16="http://schemas.microsoft.com/office/drawing/2014/main" id="{0300BF74-B963-454D-B967-01E5F458ABC3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195705" y="3549274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37292" y="2087912"/>
            <a:ext cx="0" cy="2268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101912" y="3251586"/>
            <a:ext cx="468000" cy="468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32591" y="3998847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27553" y="2762483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9" name="组合 38"/>
          <p:cNvGrpSpPr/>
          <p:nvPr userDrawn="1"/>
        </p:nvGrpSpPr>
        <p:grpSpPr>
          <a:xfrm>
            <a:off x="230020" y="3000974"/>
            <a:ext cx="216000" cy="216000"/>
            <a:chOff x="2992433" y="3979865"/>
            <a:chExt cx="828000" cy="828000"/>
          </a:xfrm>
        </p:grpSpPr>
        <p:sp>
          <p:nvSpPr>
            <p:cNvPr id="40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41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42" name="组合 41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43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9" name="组合 68"/>
          <p:cNvGrpSpPr/>
          <p:nvPr userDrawn="1"/>
        </p:nvGrpSpPr>
        <p:grpSpPr>
          <a:xfrm>
            <a:off x="232591" y="3752589"/>
            <a:ext cx="216000" cy="216000"/>
            <a:chOff x="5138914" y="4010841"/>
            <a:chExt cx="828000" cy="828000"/>
          </a:xfrm>
        </p:grpSpPr>
        <p:sp>
          <p:nvSpPr>
            <p:cNvPr id="70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71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73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6" name="组合 85"/>
          <p:cNvGrpSpPr/>
          <p:nvPr userDrawn="1"/>
        </p:nvGrpSpPr>
        <p:grpSpPr>
          <a:xfrm>
            <a:off x="228274" y="2514760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28275" y="2016209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28473" y="2264720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31564" y="4253680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134" name="组合 133"/>
          <p:cNvGrpSpPr/>
          <p:nvPr userDrawn="1"/>
        </p:nvGrpSpPr>
        <p:grpSpPr>
          <a:xfrm>
            <a:off x="231724" y="3751739"/>
            <a:ext cx="216000" cy="216000"/>
            <a:chOff x="2992433" y="3979865"/>
            <a:chExt cx="828000" cy="828000"/>
          </a:xfrm>
        </p:grpSpPr>
        <p:sp>
          <p:nvSpPr>
            <p:cNvPr id="135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36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37" name="组合 136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138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64" name="组合 163"/>
          <p:cNvGrpSpPr/>
          <p:nvPr userDrawn="1"/>
        </p:nvGrpSpPr>
        <p:grpSpPr>
          <a:xfrm>
            <a:off x="229722" y="3000038"/>
            <a:ext cx="216000" cy="216000"/>
            <a:chOff x="5138914" y="4010841"/>
            <a:chExt cx="828000" cy="828000"/>
          </a:xfrm>
        </p:grpSpPr>
        <p:sp>
          <p:nvSpPr>
            <p:cNvPr id="165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66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67" name="组合 166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168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76" name="文本框 175">
            <a:extLst>
              <a:ext uri="{FF2B5EF4-FFF2-40B4-BE49-F238E27FC236}">
                <a16:creationId xmlns:a16="http://schemas.microsoft.com/office/drawing/2014/main" id="{E66822F1-9613-4F2F-A41C-249EDAF0FA20}"/>
              </a:ext>
            </a:extLst>
          </p:cNvPr>
          <p:cNvSpPr txBox="1"/>
          <p:nvPr userDrawn="1"/>
        </p:nvSpPr>
        <p:spPr>
          <a:xfrm rot="1515553">
            <a:off x="417138" y="3598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核心团队</a:t>
            </a:r>
          </a:p>
        </p:txBody>
      </p:sp>
    </p:spTree>
    <p:extLst>
      <p:ext uri="{BB962C8B-B14F-4D97-AF65-F5344CB8AC3E}">
        <p14:creationId xmlns:p14="http://schemas.microsoft.com/office/powerpoint/2010/main" val="16842005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>
            <a:extLst>
              <a:ext uri="{FF2B5EF4-FFF2-40B4-BE49-F238E27FC236}">
                <a16:creationId xmlns:a16="http://schemas.microsoft.com/office/drawing/2014/main" id="{88DBE9D2-9A64-44D3-A4F0-C65182AC91A6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197081" y="3805740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B54BC2C9-CF58-4780-A42D-79E447F20EF2}"/>
              </a:ext>
            </a:extLst>
          </p:cNvPr>
          <p:cNvSpPr txBox="1"/>
          <p:nvPr userDrawn="1"/>
        </p:nvSpPr>
        <p:spPr>
          <a:xfrm rot="1515553">
            <a:off x="423168" y="3854036"/>
            <a:ext cx="11272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竞争优势</a:t>
            </a: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45837" y="2087912"/>
            <a:ext cx="0" cy="2268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36098" y="3242516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41136" y="3998847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36098" y="2762483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0" name="Oval 33"/>
          <p:cNvSpPr>
            <a:spLocks noChangeArrowheads="1"/>
          </p:cNvSpPr>
          <p:nvPr/>
        </p:nvSpPr>
        <p:spPr bwMode="auto">
          <a:xfrm>
            <a:off x="238565" y="3000974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41" name="Oval 33"/>
          <p:cNvSpPr>
            <a:spLocks noChangeArrowheads="1"/>
          </p:cNvSpPr>
          <p:nvPr/>
        </p:nvSpPr>
        <p:spPr bwMode="auto">
          <a:xfrm>
            <a:off x="252652" y="3015061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0" name="Oval 33"/>
          <p:cNvSpPr>
            <a:spLocks noChangeArrowheads="1"/>
          </p:cNvSpPr>
          <p:nvPr userDrawn="1"/>
        </p:nvSpPr>
        <p:spPr bwMode="auto">
          <a:xfrm>
            <a:off x="109663" y="3492660"/>
            <a:ext cx="468000" cy="46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1" name="Oval 33"/>
          <p:cNvSpPr>
            <a:spLocks noChangeArrowheads="1"/>
          </p:cNvSpPr>
          <p:nvPr userDrawn="1"/>
        </p:nvSpPr>
        <p:spPr bwMode="auto">
          <a:xfrm>
            <a:off x="140185" y="3523182"/>
            <a:ext cx="406957" cy="406957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grpSp>
        <p:nvGrpSpPr>
          <p:cNvPr id="72" name="组合 71"/>
          <p:cNvGrpSpPr/>
          <p:nvPr userDrawn="1"/>
        </p:nvGrpSpPr>
        <p:grpSpPr>
          <a:xfrm>
            <a:off x="287499" y="3053238"/>
            <a:ext cx="116073" cy="116073"/>
            <a:chOff x="5526525" y="3190546"/>
            <a:chExt cx="364578" cy="339721"/>
          </a:xfrm>
        </p:grpSpPr>
        <p:sp>
          <p:nvSpPr>
            <p:cNvPr id="73" name="Freeform 143"/>
            <p:cNvSpPr>
              <a:spLocks/>
            </p:cNvSpPr>
            <p:nvPr/>
          </p:nvSpPr>
          <p:spPr bwMode="auto">
            <a:xfrm>
              <a:off x="5574169" y="3252690"/>
              <a:ext cx="90109" cy="90109"/>
            </a:xfrm>
            <a:custGeom>
              <a:avLst/>
              <a:gdLst>
                <a:gd name="T0" fmla="*/ 0 w 44"/>
                <a:gd name="T1" fmla="*/ 22 h 44"/>
                <a:gd name="T2" fmla="*/ 22 w 44"/>
                <a:gd name="T3" fmla="*/ 44 h 44"/>
                <a:gd name="T4" fmla="*/ 44 w 44"/>
                <a:gd name="T5" fmla="*/ 25 h 44"/>
                <a:gd name="T6" fmla="*/ 19 w 44"/>
                <a:gd name="T7" fmla="*/ 25 h 44"/>
                <a:gd name="T8" fmla="*/ 19 w 44"/>
                <a:gd name="T9" fmla="*/ 0 h 44"/>
                <a:gd name="T10" fmla="*/ 0 w 44"/>
                <a:gd name="T11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3" y="44"/>
                    <a:pt x="43" y="36"/>
                    <a:pt x="44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2"/>
                    <a:pt x="0" y="11"/>
                    <a:pt x="0" y="2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144"/>
            <p:cNvSpPr>
              <a:spLocks noEditPoints="1"/>
            </p:cNvSpPr>
            <p:nvPr/>
          </p:nvSpPr>
          <p:spPr bwMode="auto">
            <a:xfrm>
              <a:off x="5619740" y="3252690"/>
              <a:ext cx="44537" cy="44537"/>
            </a:xfrm>
            <a:custGeom>
              <a:avLst/>
              <a:gdLst>
                <a:gd name="T0" fmla="*/ 0 w 22"/>
                <a:gd name="T1" fmla="*/ 0 h 22"/>
                <a:gd name="T2" fmla="*/ 0 w 22"/>
                <a:gd name="T3" fmla="*/ 0 h 22"/>
                <a:gd name="T4" fmla="*/ 0 w 22"/>
                <a:gd name="T5" fmla="*/ 22 h 22"/>
                <a:gd name="T6" fmla="*/ 22 w 22"/>
                <a:gd name="T7" fmla="*/ 22 h 22"/>
                <a:gd name="T8" fmla="*/ 0 w 22"/>
                <a:gd name="T9" fmla="*/ 0 h 22"/>
                <a:gd name="T10" fmla="*/ 2 w 22"/>
                <a:gd name="T11" fmla="*/ 3 h 22"/>
                <a:gd name="T12" fmla="*/ 19 w 22"/>
                <a:gd name="T13" fmla="*/ 20 h 22"/>
                <a:gd name="T14" fmla="*/ 2 w 22"/>
                <a:gd name="T15" fmla="*/ 20 h 22"/>
                <a:gd name="T16" fmla="*/ 2 w 22"/>
                <a:gd name="T17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0"/>
                    <a:pt x="12" y="0"/>
                    <a:pt x="0" y="0"/>
                  </a:cubicBezTo>
                  <a:close/>
                  <a:moveTo>
                    <a:pt x="2" y="3"/>
                  </a:moveTo>
                  <a:cubicBezTo>
                    <a:pt x="11" y="4"/>
                    <a:pt x="18" y="11"/>
                    <a:pt x="19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45"/>
            <p:cNvSpPr>
              <a:spLocks/>
            </p:cNvSpPr>
            <p:nvPr/>
          </p:nvSpPr>
          <p:spPr bwMode="auto">
            <a:xfrm>
              <a:off x="5684991" y="3282726"/>
              <a:ext cx="82859" cy="10358"/>
            </a:xfrm>
            <a:custGeom>
              <a:avLst/>
              <a:gdLst>
                <a:gd name="T0" fmla="*/ 0 w 80"/>
                <a:gd name="T1" fmla="*/ 6 h 10"/>
                <a:gd name="T2" fmla="*/ 30 w 80"/>
                <a:gd name="T3" fmla="*/ 10 h 10"/>
                <a:gd name="T4" fmla="*/ 72 w 80"/>
                <a:gd name="T5" fmla="*/ 10 h 10"/>
                <a:gd name="T6" fmla="*/ 80 w 80"/>
                <a:gd name="T7" fmla="*/ 0 h 10"/>
                <a:gd name="T8" fmla="*/ 0 w 80"/>
                <a:gd name="T9" fmla="*/ 0 h 10"/>
                <a:gd name="T10" fmla="*/ 0 w 80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">
                  <a:moveTo>
                    <a:pt x="0" y="6"/>
                  </a:moveTo>
                  <a:lnTo>
                    <a:pt x="30" y="10"/>
                  </a:lnTo>
                  <a:lnTo>
                    <a:pt x="72" y="10"/>
                  </a:lnTo>
                  <a:lnTo>
                    <a:pt x="8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46"/>
            <p:cNvSpPr>
              <a:spLocks/>
            </p:cNvSpPr>
            <p:nvPr/>
          </p:nvSpPr>
          <p:spPr bwMode="auto">
            <a:xfrm>
              <a:off x="5684992" y="3262011"/>
              <a:ext cx="108752" cy="10358"/>
            </a:xfrm>
            <a:custGeom>
              <a:avLst/>
              <a:gdLst>
                <a:gd name="T0" fmla="*/ 0 w 53"/>
                <a:gd name="T1" fmla="*/ 0 h 5"/>
                <a:gd name="T2" fmla="*/ 0 w 53"/>
                <a:gd name="T3" fmla="*/ 5 h 5"/>
                <a:gd name="T4" fmla="*/ 53 w 53"/>
                <a:gd name="T5" fmla="*/ 5 h 5"/>
                <a:gd name="T6" fmla="*/ 50 w 53"/>
                <a:gd name="T7" fmla="*/ 0 h 5"/>
                <a:gd name="T8" fmla="*/ 0 w 5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4"/>
                    <a:pt x="51" y="2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47"/>
            <p:cNvSpPr>
              <a:spLocks/>
            </p:cNvSpPr>
            <p:nvPr/>
          </p:nvSpPr>
          <p:spPr bwMode="auto">
            <a:xfrm>
              <a:off x="5526525" y="3190546"/>
              <a:ext cx="364578" cy="187468"/>
            </a:xfrm>
            <a:custGeom>
              <a:avLst/>
              <a:gdLst>
                <a:gd name="T0" fmla="*/ 0 w 177"/>
                <a:gd name="T1" fmla="*/ 0 h 91"/>
                <a:gd name="T2" fmla="*/ 0 w 177"/>
                <a:gd name="T3" fmla="*/ 20 h 91"/>
                <a:gd name="T4" fmla="*/ 9 w 177"/>
                <a:gd name="T5" fmla="*/ 20 h 91"/>
                <a:gd name="T6" fmla="*/ 9 w 177"/>
                <a:gd name="T7" fmla="*/ 91 h 91"/>
                <a:gd name="T8" fmla="*/ 116 w 177"/>
                <a:gd name="T9" fmla="*/ 91 h 91"/>
                <a:gd name="T10" fmla="*/ 117 w 177"/>
                <a:gd name="T11" fmla="*/ 85 h 91"/>
                <a:gd name="T12" fmla="*/ 14 w 177"/>
                <a:gd name="T13" fmla="*/ 85 h 91"/>
                <a:gd name="T14" fmla="*/ 14 w 177"/>
                <a:gd name="T15" fmla="*/ 20 h 91"/>
                <a:gd name="T16" fmla="*/ 126 w 177"/>
                <a:gd name="T17" fmla="*/ 20 h 91"/>
                <a:gd name="T18" fmla="*/ 141 w 177"/>
                <a:gd name="T19" fmla="*/ 8 h 91"/>
                <a:gd name="T20" fmla="*/ 156 w 177"/>
                <a:gd name="T21" fmla="*/ 20 h 91"/>
                <a:gd name="T22" fmla="*/ 163 w 177"/>
                <a:gd name="T23" fmla="*/ 20 h 91"/>
                <a:gd name="T24" fmla="*/ 163 w 177"/>
                <a:gd name="T25" fmla="*/ 42 h 91"/>
                <a:gd name="T26" fmla="*/ 168 w 177"/>
                <a:gd name="T27" fmla="*/ 48 h 91"/>
                <a:gd name="T28" fmla="*/ 168 w 177"/>
                <a:gd name="T29" fmla="*/ 20 h 91"/>
                <a:gd name="T30" fmla="*/ 177 w 177"/>
                <a:gd name="T31" fmla="*/ 20 h 91"/>
                <a:gd name="T32" fmla="*/ 177 w 177"/>
                <a:gd name="T33" fmla="*/ 0 h 91"/>
                <a:gd name="T34" fmla="*/ 0 w 177"/>
                <a:gd name="T3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7" h="91">
                  <a:moveTo>
                    <a:pt x="0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17" y="89"/>
                    <a:pt x="117" y="87"/>
                    <a:pt x="117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8" y="13"/>
                    <a:pt x="134" y="8"/>
                    <a:pt x="141" y="8"/>
                  </a:cubicBezTo>
                  <a:cubicBezTo>
                    <a:pt x="148" y="8"/>
                    <a:pt x="154" y="13"/>
                    <a:pt x="156" y="20"/>
                  </a:cubicBezTo>
                  <a:cubicBezTo>
                    <a:pt x="163" y="20"/>
                    <a:pt x="163" y="20"/>
                    <a:pt x="163" y="20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5" y="43"/>
                    <a:pt x="167" y="45"/>
                    <a:pt x="168" y="48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77" y="20"/>
                    <a:pt x="177" y="20"/>
                    <a:pt x="177" y="20"/>
                  </a:cubicBezTo>
                  <a:cubicBezTo>
                    <a:pt x="177" y="0"/>
                    <a:pt x="177" y="0"/>
                    <a:pt x="17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Oval 148"/>
            <p:cNvSpPr>
              <a:spLocks noChangeArrowheads="1"/>
            </p:cNvSpPr>
            <p:nvPr/>
          </p:nvSpPr>
          <p:spPr bwMode="auto">
            <a:xfrm>
              <a:off x="5791673" y="3215404"/>
              <a:ext cx="49715" cy="5903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149"/>
            <p:cNvSpPr>
              <a:spLocks/>
            </p:cNvSpPr>
            <p:nvPr/>
          </p:nvSpPr>
          <p:spPr bwMode="auto">
            <a:xfrm>
              <a:off x="5687063" y="3278583"/>
              <a:ext cx="187468" cy="251684"/>
            </a:xfrm>
            <a:custGeom>
              <a:avLst/>
              <a:gdLst>
                <a:gd name="T0" fmla="*/ 80 w 91"/>
                <a:gd name="T1" fmla="*/ 2 h 122"/>
                <a:gd name="T2" fmla="*/ 79 w 91"/>
                <a:gd name="T3" fmla="*/ 2 h 122"/>
                <a:gd name="T4" fmla="*/ 79 w 91"/>
                <a:gd name="T5" fmla="*/ 2 h 122"/>
                <a:gd name="T6" fmla="*/ 73 w 91"/>
                <a:gd name="T7" fmla="*/ 1 h 122"/>
                <a:gd name="T8" fmla="*/ 73 w 91"/>
                <a:gd name="T9" fmla="*/ 2 h 122"/>
                <a:gd name="T10" fmla="*/ 78 w 91"/>
                <a:gd name="T11" fmla="*/ 6 h 122"/>
                <a:gd name="T12" fmla="*/ 72 w 91"/>
                <a:gd name="T13" fmla="*/ 9 h 122"/>
                <a:gd name="T14" fmla="*/ 75 w 91"/>
                <a:gd name="T15" fmla="*/ 14 h 122"/>
                <a:gd name="T16" fmla="*/ 67 w 91"/>
                <a:gd name="T17" fmla="*/ 31 h 122"/>
                <a:gd name="T18" fmla="*/ 66 w 91"/>
                <a:gd name="T19" fmla="*/ 7 h 122"/>
                <a:gd name="T20" fmla="*/ 67 w 91"/>
                <a:gd name="T21" fmla="*/ 6 h 122"/>
                <a:gd name="T22" fmla="*/ 65 w 91"/>
                <a:gd name="T23" fmla="*/ 0 h 122"/>
                <a:gd name="T24" fmla="*/ 61 w 91"/>
                <a:gd name="T25" fmla="*/ 0 h 122"/>
                <a:gd name="T26" fmla="*/ 59 w 91"/>
                <a:gd name="T27" fmla="*/ 6 h 122"/>
                <a:gd name="T28" fmla="*/ 60 w 91"/>
                <a:gd name="T29" fmla="*/ 7 h 122"/>
                <a:gd name="T30" fmla="*/ 59 w 91"/>
                <a:gd name="T31" fmla="*/ 31 h 122"/>
                <a:gd name="T32" fmla="*/ 51 w 91"/>
                <a:gd name="T33" fmla="*/ 14 h 122"/>
                <a:gd name="T34" fmla="*/ 54 w 91"/>
                <a:gd name="T35" fmla="*/ 9 h 122"/>
                <a:gd name="T36" fmla="*/ 48 w 91"/>
                <a:gd name="T37" fmla="*/ 6 h 122"/>
                <a:gd name="T38" fmla="*/ 53 w 91"/>
                <a:gd name="T39" fmla="*/ 2 h 122"/>
                <a:gd name="T40" fmla="*/ 53 w 91"/>
                <a:gd name="T41" fmla="*/ 1 h 122"/>
                <a:gd name="T42" fmla="*/ 49 w 91"/>
                <a:gd name="T43" fmla="*/ 2 h 122"/>
                <a:gd name="T44" fmla="*/ 47 w 91"/>
                <a:gd name="T45" fmla="*/ 2 h 122"/>
                <a:gd name="T46" fmla="*/ 47 w 91"/>
                <a:gd name="T47" fmla="*/ 2 h 122"/>
                <a:gd name="T48" fmla="*/ 46 w 91"/>
                <a:gd name="T49" fmla="*/ 2 h 122"/>
                <a:gd name="T50" fmla="*/ 44 w 91"/>
                <a:gd name="T51" fmla="*/ 4 h 122"/>
                <a:gd name="T52" fmla="*/ 34 w 91"/>
                <a:gd name="T53" fmla="*/ 13 h 122"/>
                <a:gd name="T54" fmla="*/ 34 w 91"/>
                <a:gd name="T55" fmla="*/ 14 h 122"/>
                <a:gd name="T56" fmla="*/ 29 w 91"/>
                <a:gd name="T57" fmla="*/ 13 h 122"/>
                <a:gd name="T58" fmla="*/ 2 w 91"/>
                <a:gd name="T59" fmla="*/ 9 h 122"/>
                <a:gd name="T60" fmla="*/ 0 w 91"/>
                <a:gd name="T61" fmla="*/ 26 h 122"/>
                <a:gd name="T62" fmla="*/ 27 w 91"/>
                <a:gd name="T63" fmla="*/ 28 h 122"/>
                <a:gd name="T64" fmla="*/ 34 w 91"/>
                <a:gd name="T65" fmla="*/ 29 h 122"/>
                <a:gd name="T66" fmla="*/ 35 w 91"/>
                <a:gd name="T67" fmla="*/ 29 h 122"/>
                <a:gd name="T68" fmla="*/ 36 w 91"/>
                <a:gd name="T69" fmla="*/ 29 h 122"/>
                <a:gd name="T70" fmla="*/ 43 w 91"/>
                <a:gd name="T71" fmla="*/ 26 h 122"/>
                <a:gd name="T72" fmla="*/ 43 w 91"/>
                <a:gd name="T73" fmla="*/ 25 h 122"/>
                <a:gd name="T74" fmla="*/ 42 w 91"/>
                <a:gd name="T75" fmla="*/ 65 h 122"/>
                <a:gd name="T76" fmla="*/ 42 w 91"/>
                <a:gd name="T77" fmla="*/ 65 h 122"/>
                <a:gd name="T78" fmla="*/ 44 w 91"/>
                <a:gd name="T79" fmla="*/ 65 h 122"/>
                <a:gd name="T80" fmla="*/ 46 w 91"/>
                <a:gd name="T81" fmla="*/ 122 h 122"/>
                <a:gd name="T82" fmla="*/ 62 w 91"/>
                <a:gd name="T83" fmla="*/ 122 h 122"/>
                <a:gd name="T84" fmla="*/ 62 w 91"/>
                <a:gd name="T85" fmla="*/ 65 h 122"/>
                <a:gd name="T86" fmla="*/ 64 w 91"/>
                <a:gd name="T87" fmla="*/ 65 h 122"/>
                <a:gd name="T88" fmla="*/ 66 w 91"/>
                <a:gd name="T89" fmla="*/ 122 h 122"/>
                <a:gd name="T90" fmla="*/ 82 w 91"/>
                <a:gd name="T91" fmla="*/ 122 h 122"/>
                <a:gd name="T92" fmla="*/ 82 w 91"/>
                <a:gd name="T93" fmla="*/ 65 h 122"/>
                <a:gd name="T94" fmla="*/ 84 w 91"/>
                <a:gd name="T95" fmla="*/ 65 h 122"/>
                <a:gd name="T96" fmla="*/ 84 w 91"/>
                <a:gd name="T97" fmla="*/ 65 h 122"/>
                <a:gd name="T98" fmla="*/ 91 w 91"/>
                <a:gd name="T99" fmla="*/ 64 h 122"/>
                <a:gd name="T100" fmla="*/ 87 w 91"/>
                <a:gd name="T101" fmla="*/ 9 h 122"/>
                <a:gd name="T102" fmla="*/ 80 w 91"/>
                <a:gd name="T103" fmla="*/ 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" h="122">
                  <a:moveTo>
                    <a:pt x="80" y="2"/>
                  </a:moveTo>
                  <a:cubicBezTo>
                    <a:pt x="79" y="2"/>
                    <a:pt x="79" y="2"/>
                    <a:pt x="79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7" y="2"/>
                    <a:pt x="75" y="2"/>
                    <a:pt x="73" y="1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2"/>
                    <a:pt x="50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5" y="3"/>
                    <a:pt x="45" y="3"/>
                    <a:pt x="44" y="4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4"/>
                    <a:pt x="1" y="20"/>
                    <a:pt x="0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8"/>
                    <a:pt x="43" y="26"/>
                    <a:pt x="43" y="26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38"/>
                    <a:pt x="43" y="51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3" y="65"/>
                    <a:pt x="44" y="65"/>
                    <a:pt x="44" y="65"/>
                  </a:cubicBezTo>
                  <a:cubicBezTo>
                    <a:pt x="46" y="122"/>
                    <a:pt x="46" y="122"/>
                    <a:pt x="46" y="122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3" y="105"/>
                    <a:pt x="62" y="76"/>
                    <a:pt x="62" y="65"/>
                  </a:cubicBezTo>
                  <a:cubicBezTo>
                    <a:pt x="63" y="65"/>
                    <a:pt x="63" y="65"/>
                    <a:pt x="64" y="65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2" y="105"/>
                    <a:pt x="82" y="76"/>
                    <a:pt x="82" y="65"/>
                  </a:cubicBezTo>
                  <a:cubicBezTo>
                    <a:pt x="82" y="65"/>
                    <a:pt x="83" y="65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6" y="65"/>
                    <a:pt x="89" y="64"/>
                    <a:pt x="91" y="64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5"/>
                    <a:pt x="83" y="2"/>
                    <a:pt x="8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6" name="组合 85"/>
          <p:cNvGrpSpPr/>
          <p:nvPr userDrawn="1"/>
        </p:nvGrpSpPr>
        <p:grpSpPr>
          <a:xfrm>
            <a:off x="236819" y="2514760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36820" y="2016209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37018" y="2264720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31075" y="4263198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42" name="组合 41"/>
          <p:cNvGrpSpPr/>
          <p:nvPr/>
        </p:nvGrpSpPr>
        <p:grpSpPr>
          <a:xfrm>
            <a:off x="213193" y="3604065"/>
            <a:ext cx="260078" cy="241502"/>
            <a:chOff x="8111715" y="3136688"/>
            <a:chExt cx="425687" cy="391508"/>
          </a:xfrm>
        </p:grpSpPr>
        <p:sp>
          <p:nvSpPr>
            <p:cNvPr id="43" name="Freeform 165"/>
            <p:cNvSpPr>
              <a:spLocks noEditPoints="1"/>
            </p:cNvSpPr>
            <p:nvPr/>
          </p:nvSpPr>
          <p:spPr bwMode="auto">
            <a:xfrm>
              <a:off x="8111715" y="3388371"/>
              <a:ext cx="141896" cy="48680"/>
            </a:xfrm>
            <a:custGeom>
              <a:avLst/>
              <a:gdLst>
                <a:gd name="T0" fmla="*/ 66 w 69"/>
                <a:gd name="T1" fmla="*/ 10 h 24"/>
                <a:gd name="T2" fmla="*/ 35 w 69"/>
                <a:gd name="T3" fmla="*/ 0 h 24"/>
                <a:gd name="T4" fmla="*/ 3 w 69"/>
                <a:gd name="T5" fmla="*/ 10 h 24"/>
                <a:gd name="T6" fmla="*/ 34 w 69"/>
                <a:gd name="T7" fmla="*/ 24 h 24"/>
                <a:gd name="T8" fmla="*/ 66 w 69"/>
                <a:gd name="T9" fmla="*/ 10 h 24"/>
                <a:gd name="T10" fmla="*/ 35 w 69"/>
                <a:gd name="T11" fmla="*/ 19 h 24"/>
                <a:gd name="T12" fmla="*/ 11 w 69"/>
                <a:gd name="T13" fmla="*/ 9 h 24"/>
                <a:gd name="T14" fmla="*/ 35 w 69"/>
                <a:gd name="T15" fmla="*/ 2 h 24"/>
                <a:gd name="T16" fmla="*/ 58 w 69"/>
                <a:gd name="T17" fmla="*/ 9 h 24"/>
                <a:gd name="T18" fmla="*/ 35 w 69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66" y="10"/>
                  </a:moveTo>
                  <a:cubicBezTo>
                    <a:pt x="63" y="3"/>
                    <a:pt x="49" y="0"/>
                    <a:pt x="35" y="0"/>
                  </a:cubicBezTo>
                  <a:cubicBezTo>
                    <a:pt x="21" y="0"/>
                    <a:pt x="6" y="4"/>
                    <a:pt x="3" y="10"/>
                  </a:cubicBezTo>
                  <a:cubicBezTo>
                    <a:pt x="0" y="16"/>
                    <a:pt x="14" y="24"/>
                    <a:pt x="34" y="24"/>
                  </a:cubicBezTo>
                  <a:cubicBezTo>
                    <a:pt x="55" y="24"/>
                    <a:pt x="69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4" y="2"/>
                    <a:pt x="35" y="2"/>
                  </a:cubicBezTo>
                  <a:cubicBezTo>
                    <a:pt x="46" y="2"/>
                    <a:pt x="57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66"/>
            <p:cNvSpPr>
              <a:spLocks/>
            </p:cNvSpPr>
            <p:nvPr/>
          </p:nvSpPr>
          <p:spPr bwMode="auto">
            <a:xfrm>
              <a:off x="8211146" y="3426693"/>
              <a:ext cx="36251" cy="20715"/>
            </a:xfrm>
            <a:custGeom>
              <a:avLst/>
              <a:gdLst>
                <a:gd name="T0" fmla="*/ 10 w 35"/>
                <a:gd name="T1" fmla="*/ 0 h 20"/>
                <a:gd name="T2" fmla="*/ 35 w 35"/>
                <a:gd name="T3" fmla="*/ 8 h 20"/>
                <a:gd name="T4" fmla="*/ 20 w 35"/>
                <a:gd name="T5" fmla="*/ 20 h 20"/>
                <a:gd name="T6" fmla="*/ 0 w 35"/>
                <a:gd name="T7" fmla="*/ 4 h 20"/>
                <a:gd name="T8" fmla="*/ 10 w 3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10" y="0"/>
                  </a:moveTo>
                  <a:lnTo>
                    <a:pt x="35" y="8"/>
                  </a:lnTo>
                  <a:lnTo>
                    <a:pt x="20" y="20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67"/>
            <p:cNvSpPr>
              <a:spLocks noEditPoints="1"/>
            </p:cNvSpPr>
            <p:nvPr/>
          </p:nvSpPr>
          <p:spPr bwMode="auto">
            <a:xfrm>
              <a:off x="8393435" y="3388371"/>
              <a:ext cx="143967" cy="48680"/>
            </a:xfrm>
            <a:custGeom>
              <a:avLst/>
              <a:gdLst>
                <a:gd name="T0" fmla="*/ 66 w 70"/>
                <a:gd name="T1" fmla="*/ 10 h 24"/>
                <a:gd name="T2" fmla="*/ 35 w 70"/>
                <a:gd name="T3" fmla="*/ 0 h 24"/>
                <a:gd name="T4" fmla="*/ 3 w 70"/>
                <a:gd name="T5" fmla="*/ 10 h 24"/>
                <a:gd name="T6" fmla="*/ 35 w 70"/>
                <a:gd name="T7" fmla="*/ 24 h 24"/>
                <a:gd name="T8" fmla="*/ 66 w 70"/>
                <a:gd name="T9" fmla="*/ 10 h 24"/>
                <a:gd name="T10" fmla="*/ 35 w 70"/>
                <a:gd name="T11" fmla="*/ 19 h 24"/>
                <a:gd name="T12" fmla="*/ 11 w 70"/>
                <a:gd name="T13" fmla="*/ 9 h 24"/>
                <a:gd name="T14" fmla="*/ 35 w 70"/>
                <a:gd name="T15" fmla="*/ 2 h 24"/>
                <a:gd name="T16" fmla="*/ 58 w 70"/>
                <a:gd name="T17" fmla="*/ 9 h 24"/>
                <a:gd name="T18" fmla="*/ 35 w 70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24">
                  <a:moveTo>
                    <a:pt x="66" y="10"/>
                  </a:moveTo>
                  <a:cubicBezTo>
                    <a:pt x="63" y="4"/>
                    <a:pt x="49" y="0"/>
                    <a:pt x="35" y="0"/>
                  </a:cubicBezTo>
                  <a:cubicBezTo>
                    <a:pt x="21" y="0"/>
                    <a:pt x="7" y="3"/>
                    <a:pt x="3" y="10"/>
                  </a:cubicBezTo>
                  <a:cubicBezTo>
                    <a:pt x="0" y="16"/>
                    <a:pt x="14" y="24"/>
                    <a:pt x="35" y="24"/>
                  </a:cubicBezTo>
                  <a:cubicBezTo>
                    <a:pt x="56" y="24"/>
                    <a:pt x="70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3" y="2"/>
                    <a:pt x="35" y="2"/>
                  </a:cubicBezTo>
                  <a:cubicBezTo>
                    <a:pt x="46" y="2"/>
                    <a:pt x="56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168"/>
            <p:cNvSpPr>
              <a:spLocks/>
            </p:cNvSpPr>
            <p:nvPr/>
          </p:nvSpPr>
          <p:spPr bwMode="auto">
            <a:xfrm>
              <a:off x="8401720" y="3426693"/>
              <a:ext cx="35215" cy="20715"/>
            </a:xfrm>
            <a:custGeom>
              <a:avLst/>
              <a:gdLst>
                <a:gd name="T0" fmla="*/ 24 w 34"/>
                <a:gd name="T1" fmla="*/ 0 h 20"/>
                <a:gd name="T2" fmla="*/ 0 w 34"/>
                <a:gd name="T3" fmla="*/ 8 h 20"/>
                <a:gd name="T4" fmla="*/ 14 w 34"/>
                <a:gd name="T5" fmla="*/ 20 h 20"/>
                <a:gd name="T6" fmla="*/ 34 w 34"/>
                <a:gd name="T7" fmla="*/ 4 h 20"/>
                <a:gd name="T8" fmla="*/ 24 w 34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24" y="0"/>
                  </a:moveTo>
                  <a:lnTo>
                    <a:pt x="0" y="8"/>
                  </a:lnTo>
                  <a:lnTo>
                    <a:pt x="14" y="20"/>
                  </a:lnTo>
                  <a:lnTo>
                    <a:pt x="34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69"/>
            <p:cNvSpPr>
              <a:spLocks noEditPoints="1"/>
            </p:cNvSpPr>
            <p:nvPr/>
          </p:nvSpPr>
          <p:spPr bwMode="auto">
            <a:xfrm>
              <a:off x="8184216" y="3422551"/>
              <a:ext cx="279648" cy="105645"/>
            </a:xfrm>
            <a:custGeom>
              <a:avLst/>
              <a:gdLst>
                <a:gd name="T0" fmla="*/ 129 w 136"/>
                <a:gd name="T1" fmla="*/ 21 h 51"/>
                <a:gd name="T2" fmla="*/ 69 w 136"/>
                <a:gd name="T3" fmla="*/ 0 h 51"/>
                <a:gd name="T4" fmla="*/ 7 w 136"/>
                <a:gd name="T5" fmla="*/ 21 h 51"/>
                <a:gd name="T6" fmla="*/ 68 w 136"/>
                <a:gd name="T7" fmla="*/ 51 h 51"/>
                <a:gd name="T8" fmla="*/ 129 w 136"/>
                <a:gd name="T9" fmla="*/ 21 h 51"/>
                <a:gd name="T10" fmla="*/ 68 w 136"/>
                <a:gd name="T11" fmla="*/ 39 h 51"/>
                <a:gd name="T12" fmla="*/ 22 w 136"/>
                <a:gd name="T13" fmla="*/ 19 h 51"/>
                <a:gd name="T14" fmla="*/ 69 w 136"/>
                <a:gd name="T15" fmla="*/ 5 h 51"/>
                <a:gd name="T16" fmla="*/ 115 w 136"/>
                <a:gd name="T17" fmla="*/ 19 h 51"/>
                <a:gd name="T18" fmla="*/ 68 w 136"/>
                <a:gd name="T19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51">
                  <a:moveTo>
                    <a:pt x="129" y="21"/>
                  </a:moveTo>
                  <a:cubicBezTo>
                    <a:pt x="123" y="8"/>
                    <a:pt x="96" y="0"/>
                    <a:pt x="69" y="0"/>
                  </a:cubicBezTo>
                  <a:cubicBezTo>
                    <a:pt x="41" y="0"/>
                    <a:pt x="13" y="8"/>
                    <a:pt x="7" y="21"/>
                  </a:cubicBezTo>
                  <a:cubicBezTo>
                    <a:pt x="0" y="33"/>
                    <a:pt x="28" y="51"/>
                    <a:pt x="68" y="51"/>
                  </a:cubicBezTo>
                  <a:cubicBezTo>
                    <a:pt x="108" y="51"/>
                    <a:pt x="136" y="33"/>
                    <a:pt x="129" y="21"/>
                  </a:cubicBezTo>
                  <a:close/>
                  <a:moveTo>
                    <a:pt x="68" y="39"/>
                  </a:moveTo>
                  <a:cubicBezTo>
                    <a:pt x="39" y="39"/>
                    <a:pt x="19" y="28"/>
                    <a:pt x="22" y="19"/>
                  </a:cubicBezTo>
                  <a:cubicBezTo>
                    <a:pt x="26" y="10"/>
                    <a:pt x="47" y="5"/>
                    <a:pt x="69" y="5"/>
                  </a:cubicBezTo>
                  <a:cubicBezTo>
                    <a:pt x="91" y="5"/>
                    <a:pt x="111" y="10"/>
                    <a:pt x="115" y="19"/>
                  </a:cubicBezTo>
                  <a:cubicBezTo>
                    <a:pt x="118" y="28"/>
                    <a:pt x="98" y="39"/>
                    <a:pt x="68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70"/>
            <p:cNvSpPr>
              <a:spLocks/>
            </p:cNvSpPr>
            <p:nvPr/>
          </p:nvSpPr>
          <p:spPr bwMode="auto">
            <a:xfrm>
              <a:off x="82826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71"/>
            <p:cNvSpPr>
              <a:spLocks/>
            </p:cNvSpPr>
            <p:nvPr/>
          </p:nvSpPr>
          <p:spPr bwMode="auto">
            <a:xfrm>
              <a:off x="83261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Oval 172"/>
            <p:cNvSpPr>
              <a:spLocks noChangeArrowheads="1"/>
            </p:cNvSpPr>
            <p:nvPr/>
          </p:nvSpPr>
          <p:spPr bwMode="auto">
            <a:xfrm>
              <a:off x="8297112" y="3136688"/>
              <a:ext cx="53858" cy="64216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tangle 173"/>
            <p:cNvSpPr>
              <a:spLocks noChangeArrowheads="1"/>
            </p:cNvSpPr>
            <p:nvPr/>
          </p:nvSpPr>
          <p:spPr bwMode="auto">
            <a:xfrm>
              <a:off x="8324041" y="3293084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74"/>
            <p:cNvSpPr>
              <a:spLocks/>
            </p:cNvSpPr>
            <p:nvPr/>
          </p:nvSpPr>
          <p:spPr bwMode="auto">
            <a:xfrm>
              <a:off x="8261896" y="3209189"/>
              <a:ext cx="125324" cy="139824"/>
            </a:xfrm>
            <a:custGeom>
              <a:avLst/>
              <a:gdLst>
                <a:gd name="T0" fmla="*/ 56 w 61"/>
                <a:gd name="T1" fmla="*/ 8 h 68"/>
                <a:gd name="T2" fmla="*/ 49 w 61"/>
                <a:gd name="T3" fmla="*/ 1 h 68"/>
                <a:gd name="T4" fmla="*/ 41 w 61"/>
                <a:gd name="T5" fmla="*/ 0 h 68"/>
                <a:gd name="T6" fmla="*/ 41 w 61"/>
                <a:gd name="T7" fmla="*/ 0 h 68"/>
                <a:gd name="T8" fmla="*/ 46 w 61"/>
                <a:gd name="T9" fmla="*/ 5 h 68"/>
                <a:gd name="T10" fmla="*/ 40 w 61"/>
                <a:gd name="T11" fmla="*/ 8 h 68"/>
                <a:gd name="T12" fmla="*/ 43 w 61"/>
                <a:gd name="T13" fmla="*/ 13 h 68"/>
                <a:gd name="T14" fmla="*/ 30 w 61"/>
                <a:gd name="T15" fmla="*/ 41 h 68"/>
                <a:gd name="T16" fmla="*/ 30 w 61"/>
                <a:gd name="T17" fmla="*/ 41 h 68"/>
                <a:gd name="T18" fmla="*/ 30 w 61"/>
                <a:gd name="T19" fmla="*/ 41 h 68"/>
                <a:gd name="T20" fmla="*/ 30 w 61"/>
                <a:gd name="T21" fmla="*/ 41 h 68"/>
                <a:gd name="T22" fmla="*/ 30 w 61"/>
                <a:gd name="T23" fmla="*/ 41 h 68"/>
                <a:gd name="T24" fmla="*/ 17 w 61"/>
                <a:gd name="T25" fmla="*/ 13 h 68"/>
                <a:gd name="T26" fmla="*/ 20 w 61"/>
                <a:gd name="T27" fmla="*/ 8 h 68"/>
                <a:gd name="T28" fmla="*/ 14 w 61"/>
                <a:gd name="T29" fmla="*/ 5 h 68"/>
                <a:gd name="T30" fmla="*/ 19 w 61"/>
                <a:gd name="T31" fmla="*/ 0 h 68"/>
                <a:gd name="T32" fmla="*/ 19 w 61"/>
                <a:gd name="T33" fmla="*/ 0 h 68"/>
                <a:gd name="T34" fmla="*/ 12 w 61"/>
                <a:gd name="T35" fmla="*/ 1 h 68"/>
                <a:gd name="T36" fmla="*/ 12 w 61"/>
                <a:gd name="T37" fmla="*/ 1 h 68"/>
                <a:gd name="T38" fmla="*/ 5 w 61"/>
                <a:gd name="T39" fmla="*/ 8 h 68"/>
                <a:gd name="T40" fmla="*/ 0 w 61"/>
                <a:gd name="T41" fmla="*/ 68 h 68"/>
                <a:gd name="T42" fmla="*/ 8 w 61"/>
                <a:gd name="T43" fmla="*/ 68 h 68"/>
                <a:gd name="T44" fmla="*/ 8 w 61"/>
                <a:gd name="T45" fmla="*/ 68 h 68"/>
                <a:gd name="T46" fmla="*/ 9 w 61"/>
                <a:gd name="T47" fmla="*/ 68 h 68"/>
                <a:gd name="T48" fmla="*/ 18 w 61"/>
                <a:gd name="T49" fmla="*/ 68 h 68"/>
                <a:gd name="T50" fmla="*/ 18 w 61"/>
                <a:gd name="T51" fmla="*/ 68 h 68"/>
                <a:gd name="T52" fmla="*/ 43 w 61"/>
                <a:gd name="T53" fmla="*/ 68 h 68"/>
                <a:gd name="T54" fmla="*/ 43 w 61"/>
                <a:gd name="T55" fmla="*/ 68 h 68"/>
                <a:gd name="T56" fmla="*/ 52 w 61"/>
                <a:gd name="T57" fmla="*/ 68 h 68"/>
                <a:gd name="T58" fmla="*/ 52 w 61"/>
                <a:gd name="T59" fmla="*/ 68 h 68"/>
                <a:gd name="T60" fmla="*/ 52 w 61"/>
                <a:gd name="T61" fmla="*/ 68 h 68"/>
                <a:gd name="T62" fmla="*/ 61 w 61"/>
                <a:gd name="T63" fmla="*/ 68 h 68"/>
                <a:gd name="T64" fmla="*/ 56 w 61"/>
                <a:gd name="T65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" h="68">
                  <a:moveTo>
                    <a:pt x="56" y="8"/>
                  </a:moveTo>
                  <a:cubicBezTo>
                    <a:pt x="56" y="4"/>
                    <a:pt x="53" y="1"/>
                    <a:pt x="49" y="1"/>
                  </a:cubicBezTo>
                  <a:cubicBezTo>
                    <a:pt x="48" y="1"/>
                    <a:pt x="43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3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8" y="1"/>
                    <a:pt x="5" y="4"/>
                    <a:pt x="5" y="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9" y="68"/>
                    <a:pt x="9" y="68"/>
                  </a:cubicBezTo>
                  <a:cubicBezTo>
                    <a:pt x="12" y="68"/>
                    <a:pt x="15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8"/>
                    <a:pt x="35" y="68"/>
                    <a:pt x="43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6" y="68"/>
                    <a:pt x="49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5" y="68"/>
                    <a:pt x="58" y="68"/>
                    <a:pt x="61" y="68"/>
                  </a:cubicBezTo>
                  <a:lnTo>
                    <a:pt x="56" y="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75"/>
            <p:cNvSpPr>
              <a:spLocks/>
            </p:cNvSpPr>
            <p:nvPr/>
          </p:nvSpPr>
          <p:spPr bwMode="auto">
            <a:xfrm>
              <a:off x="8315754" y="3207118"/>
              <a:ext cx="16572" cy="20715"/>
            </a:xfrm>
            <a:custGeom>
              <a:avLst/>
              <a:gdLst>
                <a:gd name="T0" fmla="*/ 14 w 16"/>
                <a:gd name="T1" fmla="*/ 0 h 20"/>
                <a:gd name="T2" fmla="*/ 16 w 16"/>
                <a:gd name="T3" fmla="*/ 12 h 20"/>
                <a:gd name="T4" fmla="*/ 8 w 16"/>
                <a:gd name="T5" fmla="*/ 20 h 20"/>
                <a:gd name="T6" fmla="*/ 0 w 16"/>
                <a:gd name="T7" fmla="*/ 12 h 20"/>
                <a:gd name="T8" fmla="*/ 4 w 16"/>
                <a:gd name="T9" fmla="*/ 0 h 20"/>
                <a:gd name="T10" fmla="*/ 14 w 16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4" y="0"/>
                  </a:moveTo>
                  <a:lnTo>
                    <a:pt x="16" y="12"/>
                  </a:lnTo>
                  <a:lnTo>
                    <a:pt x="8" y="20"/>
                  </a:lnTo>
                  <a:lnTo>
                    <a:pt x="0" y="12"/>
                  </a:lnTo>
                  <a:lnTo>
                    <a:pt x="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176"/>
            <p:cNvSpPr>
              <a:spLocks/>
            </p:cNvSpPr>
            <p:nvPr/>
          </p:nvSpPr>
          <p:spPr bwMode="auto">
            <a:xfrm>
              <a:off x="8313683" y="3221619"/>
              <a:ext cx="20715" cy="79751"/>
            </a:xfrm>
            <a:custGeom>
              <a:avLst/>
              <a:gdLst>
                <a:gd name="T0" fmla="*/ 16 w 20"/>
                <a:gd name="T1" fmla="*/ 0 h 77"/>
                <a:gd name="T2" fmla="*/ 20 w 20"/>
                <a:gd name="T3" fmla="*/ 69 h 77"/>
                <a:gd name="T4" fmla="*/ 10 w 20"/>
                <a:gd name="T5" fmla="*/ 77 h 77"/>
                <a:gd name="T6" fmla="*/ 0 w 20"/>
                <a:gd name="T7" fmla="*/ 69 h 77"/>
                <a:gd name="T8" fmla="*/ 4 w 20"/>
                <a:gd name="T9" fmla="*/ 0 h 77"/>
                <a:gd name="T10" fmla="*/ 16 w 20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7">
                  <a:moveTo>
                    <a:pt x="16" y="0"/>
                  </a:moveTo>
                  <a:lnTo>
                    <a:pt x="20" y="69"/>
                  </a:lnTo>
                  <a:lnTo>
                    <a:pt x="10" y="77"/>
                  </a:lnTo>
                  <a:lnTo>
                    <a:pt x="0" y="69"/>
                  </a:lnTo>
                  <a:lnTo>
                    <a:pt x="4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177"/>
            <p:cNvSpPr>
              <a:spLocks/>
            </p:cNvSpPr>
            <p:nvPr/>
          </p:nvSpPr>
          <p:spPr bwMode="auto">
            <a:xfrm>
              <a:off x="8184217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1 w 13"/>
                <a:gd name="T3" fmla="*/ 42 h 42"/>
                <a:gd name="T4" fmla="*/ 12 w 13"/>
                <a:gd name="T5" fmla="*/ 42 h 42"/>
                <a:gd name="T6" fmla="*/ 12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3" y="28"/>
                    <a:pt x="12" y="0"/>
                    <a:pt x="12" y="0"/>
                  </a:cubicBezTo>
                  <a:cubicBezTo>
                    <a:pt x="12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178"/>
            <p:cNvSpPr>
              <a:spLocks/>
            </p:cNvSpPr>
            <p:nvPr/>
          </p:nvSpPr>
          <p:spPr bwMode="auto">
            <a:xfrm>
              <a:off x="8155216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2 w 13"/>
                <a:gd name="T3" fmla="*/ 42 h 42"/>
                <a:gd name="T4" fmla="*/ 13 w 13"/>
                <a:gd name="T5" fmla="*/ 42 h 42"/>
                <a:gd name="T6" fmla="*/ 13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2" y="42"/>
                    <a:pt x="2" y="42"/>
                    <a:pt x="2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Oval 179"/>
            <p:cNvSpPr>
              <a:spLocks noChangeArrowheads="1"/>
            </p:cNvSpPr>
            <p:nvPr/>
          </p:nvSpPr>
          <p:spPr bwMode="auto">
            <a:xfrm>
              <a:off x="8165574" y="3196761"/>
              <a:ext cx="35215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180"/>
            <p:cNvSpPr>
              <a:spLocks noChangeArrowheads="1"/>
            </p:cNvSpPr>
            <p:nvPr/>
          </p:nvSpPr>
          <p:spPr bwMode="auto">
            <a:xfrm>
              <a:off x="8182145" y="3295155"/>
              <a:ext cx="2072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181"/>
            <p:cNvSpPr>
              <a:spLocks noEditPoints="1"/>
            </p:cNvSpPr>
            <p:nvPr/>
          </p:nvSpPr>
          <p:spPr bwMode="auto">
            <a:xfrm>
              <a:off x="8136573" y="3242333"/>
              <a:ext cx="106681" cy="94252"/>
            </a:xfrm>
            <a:custGeom>
              <a:avLst/>
              <a:gdLst>
                <a:gd name="T0" fmla="*/ 51 w 52"/>
                <a:gd name="T1" fmla="*/ 17 h 46"/>
                <a:gd name="T2" fmla="*/ 51 w 52"/>
                <a:gd name="T3" fmla="*/ 17 h 46"/>
                <a:gd name="T4" fmla="*/ 51 w 52"/>
                <a:gd name="T5" fmla="*/ 17 h 46"/>
                <a:gd name="T6" fmla="*/ 37 w 52"/>
                <a:gd name="T7" fmla="*/ 2 h 46"/>
                <a:gd name="T8" fmla="*/ 34 w 52"/>
                <a:gd name="T9" fmla="*/ 0 h 46"/>
                <a:gd name="T10" fmla="*/ 29 w 52"/>
                <a:gd name="T11" fmla="*/ 0 h 46"/>
                <a:gd name="T12" fmla="*/ 29 w 52"/>
                <a:gd name="T13" fmla="*/ 0 h 46"/>
                <a:gd name="T14" fmla="*/ 33 w 52"/>
                <a:gd name="T15" fmla="*/ 3 h 46"/>
                <a:gd name="T16" fmla="*/ 29 w 52"/>
                <a:gd name="T17" fmla="*/ 5 h 46"/>
                <a:gd name="T18" fmla="*/ 31 w 52"/>
                <a:gd name="T19" fmla="*/ 9 h 46"/>
                <a:gd name="T20" fmla="*/ 23 w 52"/>
                <a:gd name="T21" fmla="*/ 26 h 46"/>
                <a:gd name="T22" fmla="*/ 23 w 52"/>
                <a:gd name="T23" fmla="*/ 26 h 46"/>
                <a:gd name="T24" fmla="*/ 22 w 52"/>
                <a:gd name="T25" fmla="*/ 26 h 46"/>
                <a:gd name="T26" fmla="*/ 22 w 52"/>
                <a:gd name="T27" fmla="*/ 26 h 46"/>
                <a:gd name="T28" fmla="*/ 22 w 52"/>
                <a:gd name="T29" fmla="*/ 26 h 46"/>
                <a:gd name="T30" fmla="*/ 14 w 52"/>
                <a:gd name="T31" fmla="*/ 9 h 46"/>
                <a:gd name="T32" fmla="*/ 16 w 52"/>
                <a:gd name="T33" fmla="*/ 5 h 46"/>
                <a:gd name="T34" fmla="*/ 12 w 52"/>
                <a:gd name="T35" fmla="*/ 3 h 46"/>
                <a:gd name="T36" fmla="*/ 16 w 52"/>
                <a:gd name="T37" fmla="*/ 0 h 46"/>
                <a:gd name="T38" fmla="*/ 16 w 52"/>
                <a:gd name="T39" fmla="*/ 0 h 46"/>
                <a:gd name="T40" fmla="*/ 11 w 52"/>
                <a:gd name="T41" fmla="*/ 0 h 46"/>
                <a:gd name="T42" fmla="*/ 7 w 52"/>
                <a:gd name="T43" fmla="*/ 4 h 46"/>
                <a:gd name="T44" fmla="*/ 0 w 52"/>
                <a:gd name="T45" fmla="*/ 23 h 46"/>
                <a:gd name="T46" fmla="*/ 8 w 52"/>
                <a:gd name="T47" fmla="*/ 46 h 46"/>
                <a:gd name="T48" fmla="*/ 13 w 52"/>
                <a:gd name="T49" fmla="*/ 44 h 46"/>
                <a:gd name="T50" fmla="*/ 37 w 52"/>
                <a:gd name="T51" fmla="*/ 44 h 46"/>
                <a:gd name="T52" fmla="*/ 37 w 52"/>
                <a:gd name="T53" fmla="*/ 43 h 46"/>
                <a:gd name="T54" fmla="*/ 36 w 52"/>
                <a:gd name="T55" fmla="*/ 38 h 46"/>
                <a:gd name="T56" fmla="*/ 43 w 52"/>
                <a:gd name="T57" fmla="*/ 41 h 46"/>
                <a:gd name="T58" fmla="*/ 47 w 52"/>
                <a:gd name="T59" fmla="*/ 32 h 46"/>
                <a:gd name="T60" fmla="*/ 49 w 52"/>
                <a:gd name="T61" fmla="*/ 27 h 46"/>
                <a:gd name="T62" fmla="*/ 51 w 52"/>
                <a:gd name="T63" fmla="*/ 25 h 46"/>
                <a:gd name="T64" fmla="*/ 51 w 52"/>
                <a:gd name="T65" fmla="*/ 24 h 46"/>
                <a:gd name="T66" fmla="*/ 51 w 52"/>
                <a:gd name="T67" fmla="*/ 23 h 46"/>
                <a:gd name="T68" fmla="*/ 52 w 52"/>
                <a:gd name="T69" fmla="*/ 23 h 46"/>
                <a:gd name="T70" fmla="*/ 52 w 52"/>
                <a:gd name="T71" fmla="*/ 23 h 46"/>
                <a:gd name="T72" fmla="*/ 52 w 52"/>
                <a:gd name="T73" fmla="*/ 23 h 46"/>
                <a:gd name="T74" fmla="*/ 52 w 52"/>
                <a:gd name="T75" fmla="*/ 23 h 46"/>
                <a:gd name="T76" fmla="*/ 51 w 52"/>
                <a:gd name="T77" fmla="*/ 17 h 46"/>
                <a:gd name="T78" fmla="*/ 40 w 52"/>
                <a:gd name="T79" fmla="*/ 22 h 46"/>
                <a:gd name="T80" fmla="*/ 38 w 52"/>
                <a:gd name="T81" fmla="*/ 27 h 46"/>
                <a:gd name="T82" fmla="*/ 36 w 52"/>
                <a:gd name="T83" fmla="*/ 29 h 46"/>
                <a:gd name="T84" fmla="*/ 36 w 52"/>
                <a:gd name="T85" fmla="*/ 15 h 46"/>
                <a:gd name="T86" fmla="*/ 41 w 52"/>
                <a:gd name="T87" fmla="*/ 21 h 46"/>
                <a:gd name="T88" fmla="*/ 40 w 52"/>
                <a:gd name="T89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" h="46">
                  <a:moveTo>
                    <a:pt x="51" y="17"/>
                  </a:move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0"/>
                  </a:cubicBezTo>
                  <a:cubicBezTo>
                    <a:pt x="34" y="0"/>
                    <a:pt x="31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37"/>
                    <a:pt x="5" y="38"/>
                    <a:pt x="8" y="46"/>
                  </a:cubicBezTo>
                  <a:cubicBezTo>
                    <a:pt x="9" y="45"/>
                    <a:pt x="11" y="44"/>
                    <a:pt x="13" y="44"/>
                  </a:cubicBezTo>
                  <a:cubicBezTo>
                    <a:pt x="21" y="44"/>
                    <a:pt x="29" y="44"/>
                    <a:pt x="37" y="44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1"/>
                    <a:pt x="36" y="39"/>
                    <a:pt x="36" y="38"/>
                  </a:cubicBezTo>
                  <a:cubicBezTo>
                    <a:pt x="38" y="39"/>
                    <a:pt x="41" y="40"/>
                    <a:pt x="43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20"/>
                    <a:pt x="52" y="29"/>
                    <a:pt x="51" y="17"/>
                  </a:cubicBezTo>
                  <a:close/>
                  <a:moveTo>
                    <a:pt x="40" y="22"/>
                  </a:moveTo>
                  <a:cubicBezTo>
                    <a:pt x="38" y="27"/>
                    <a:pt x="38" y="27"/>
                    <a:pt x="38" y="27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4"/>
                    <a:pt x="36" y="20"/>
                    <a:pt x="36" y="15"/>
                  </a:cubicBezTo>
                  <a:cubicBezTo>
                    <a:pt x="41" y="21"/>
                    <a:pt x="41" y="21"/>
                    <a:pt x="41" y="21"/>
                  </a:cubicBezTo>
                  <a:lnTo>
                    <a:pt x="40" y="2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182"/>
            <p:cNvSpPr>
              <a:spLocks/>
            </p:cNvSpPr>
            <p:nvPr/>
          </p:nvSpPr>
          <p:spPr bwMode="auto">
            <a:xfrm>
              <a:off x="8178002" y="3240261"/>
              <a:ext cx="10358" cy="12429"/>
            </a:xfrm>
            <a:custGeom>
              <a:avLst/>
              <a:gdLst>
                <a:gd name="T0" fmla="*/ 2 w 10"/>
                <a:gd name="T1" fmla="*/ 0 h 12"/>
                <a:gd name="T2" fmla="*/ 0 w 10"/>
                <a:gd name="T3" fmla="*/ 8 h 12"/>
                <a:gd name="T4" fmla="*/ 4 w 10"/>
                <a:gd name="T5" fmla="*/ 12 h 12"/>
                <a:gd name="T6" fmla="*/ 10 w 10"/>
                <a:gd name="T7" fmla="*/ 8 h 12"/>
                <a:gd name="T8" fmla="*/ 8 w 10"/>
                <a:gd name="T9" fmla="*/ 0 h 12"/>
                <a:gd name="T10" fmla="*/ 2 w 1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2" y="0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183"/>
            <p:cNvSpPr>
              <a:spLocks/>
            </p:cNvSpPr>
            <p:nvPr/>
          </p:nvSpPr>
          <p:spPr bwMode="auto">
            <a:xfrm>
              <a:off x="8175930" y="3248547"/>
              <a:ext cx="14501" cy="50751"/>
            </a:xfrm>
            <a:custGeom>
              <a:avLst/>
              <a:gdLst>
                <a:gd name="T0" fmla="*/ 4 w 14"/>
                <a:gd name="T1" fmla="*/ 0 h 49"/>
                <a:gd name="T2" fmla="*/ 0 w 14"/>
                <a:gd name="T3" fmla="*/ 45 h 49"/>
                <a:gd name="T4" fmla="*/ 6 w 14"/>
                <a:gd name="T5" fmla="*/ 49 h 49"/>
                <a:gd name="T6" fmla="*/ 14 w 14"/>
                <a:gd name="T7" fmla="*/ 45 h 49"/>
                <a:gd name="T8" fmla="*/ 10 w 14"/>
                <a:gd name="T9" fmla="*/ 0 h 49"/>
                <a:gd name="T10" fmla="*/ 4 w 1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9">
                  <a:moveTo>
                    <a:pt x="4" y="0"/>
                  </a:moveTo>
                  <a:lnTo>
                    <a:pt x="0" y="45"/>
                  </a:lnTo>
                  <a:lnTo>
                    <a:pt x="6" y="49"/>
                  </a:lnTo>
                  <a:lnTo>
                    <a:pt x="14" y="45"/>
                  </a:lnTo>
                  <a:lnTo>
                    <a:pt x="1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84"/>
            <p:cNvSpPr>
              <a:spLocks/>
            </p:cNvSpPr>
            <p:nvPr/>
          </p:nvSpPr>
          <p:spPr bwMode="auto">
            <a:xfrm>
              <a:off x="8465936" y="3326228"/>
              <a:ext cx="24857" cy="88037"/>
            </a:xfrm>
            <a:custGeom>
              <a:avLst/>
              <a:gdLst>
                <a:gd name="T0" fmla="*/ 0 w 12"/>
                <a:gd name="T1" fmla="*/ 0 h 43"/>
                <a:gd name="T2" fmla="*/ 1 w 12"/>
                <a:gd name="T3" fmla="*/ 43 h 43"/>
                <a:gd name="T4" fmla="*/ 12 w 12"/>
                <a:gd name="T5" fmla="*/ 43 h 43"/>
                <a:gd name="T6" fmla="*/ 12 w 12"/>
                <a:gd name="T7" fmla="*/ 0 h 43"/>
                <a:gd name="T8" fmla="*/ 0 w 12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28"/>
                    <a:pt x="12" y="0"/>
                    <a:pt x="12" y="0"/>
                  </a:cubicBezTo>
                  <a:cubicBezTo>
                    <a:pt x="12" y="0"/>
                    <a:pt x="4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185"/>
            <p:cNvSpPr>
              <a:spLocks/>
            </p:cNvSpPr>
            <p:nvPr/>
          </p:nvSpPr>
          <p:spPr bwMode="auto">
            <a:xfrm>
              <a:off x="8436936" y="3326228"/>
              <a:ext cx="26929" cy="88037"/>
            </a:xfrm>
            <a:custGeom>
              <a:avLst/>
              <a:gdLst>
                <a:gd name="T0" fmla="*/ 0 w 13"/>
                <a:gd name="T1" fmla="*/ 0 h 43"/>
                <a:gd name="T2" fmla="*/ 1 w 13"/>
                <a:gd name="T3" fmla="*/ 43 h 43"/>
                <a:gd name="T4" fmla="*/ 13 w 13"/>
                <a:gd name="T5" fmla="*/ 43 h 43"/>
                <a:gd name="T6" fmla="*/ 13 w 13"/>
                <a:gd name="T7" fmla="*/ 0 h 43"/>
                <a:gd name="T8" fmla="*/ 0 w 13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Oval 186"/>
            <p:cNvSpPr>
              <a:spLocks noChangeArrowheads="1"/>
            </p:cNvSpPr>
            <p:nvPr/>
          </p:nvSpPr>
          <p:spPr bwMode="auto">
            <a:xfrm>
              <a:off x="8447294" y="3198832"/>
              <a:ext cx="33143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187"/>
            <p:cNvSpPr>
              <a:spLocks noChangeArrowheads="1"/>
            </p:cNvSpPr>
            <p:nvPr/>
          </p:nvSpPr>
          <p:spPr bwMode="auto">
            <a:xfrm>
              <a:off x="8463865" y="3297227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188"/>
            <p:cNvSpPr>
              <a:spLocks/>
            </p:cNvSpPr>
            <p:nvPr/>
          </p:nvSpPr>
          <p:spPr bwMode="auto">
            <a:xfrm>
              <a:off x="8418292" y="3244404"/>
              <a:ext cx="89073" cy="94252"/>
            </a:xfrm>
            <a:custGeom>
              <a:avLst/>
              <a:gdLst>
                <a:gd name="T0" fmla="*/ 42 w 43"/>
                <a:gd name="T1" fmla="*/ 24 h 46"/>
                <a:gd name="T2" fmla="*/ 38 w 43"/>
                <a:gd name="T3" fmla="*/ 5 h 46"/>
                <a:gd name="T4" fmla="*/ 34 w 43"/>
                <a:gd name="T5" fmla="*/ 1 h 46"/>
                <a:gd name="T6" fmla="*/ 29 w 43"/>
                <a:gd name="T7" fmla="*/ 0 h 46"/>
                <a:gd name="T8" fmla="*/ 29 w 43"/>
                <a:gd name="T9" fmla="*/ 0 h 46"/>
                <a:gd name="T10" fmla="*/ 32 w 43"/>
                <a:gd name="T11" fmla="*/ 3 h 46"/>
                <a:gd name="T12" fmla="*/ 28 w 43"/>
                <a:gd name="T13" fmla="*/ 5 h 46"/>
                <a:gd name="T14" fmla="*/ 30 w 43"/>
                <a:gd name="T15" fmla="*/ 9 h 46"/>
                <a:gd name="T16" fmla="*/ 22 w 43"/>
                <a:gd name="T17" fmla="*/ 26 h 46"/>
                <a:gd name="T18" fmla="*/ 22 w 43"/>
                <a:gd name="T19" fmla="*/ 26 h 46"/>
                <a:gd name="T20" fmla="*/ 22 w 43"/>
                <a:gd name="T21" fmla="*/ 26 h 46"/>
                <a:gd name="T22" fmla="*/ 22 w 43"/>
                <a:gd name="T23" fmla="*/ 26 h 46"/>
                <a:gd name="T24" fmla="*/ 22 w 43"/>
                <a:gd name="T25" fmla="*/ 26 h 46"/>
                <a:gd name="T26" fmla="*/ 14 w 43"/>
                <a:gd name="T27" fmla="*/ 9 h 46"/>
                <a:gd name="T28" fmla="*/ 16 w 43"/>
                <a:gd name="T29" fmla="*/ 5 h 46"/>
                <a:gd name="T30" fmla="*/ 12 w 43"/>
                <a:gd name="T31" fmla="*/ 3 h 46"/>
                <a:gd name="T32" fmla="*/ 15 w 43"/>
                <a:gd name="T33" fmla="*/ 0 h 46"/>
                <a:gd name="T34" fmla="*/ 15 w 43"/>
                <a:gd name="T35" fmla="*/ 0 h 46"/>
                <a:gd name="T36" fmla="*/ 11 w 43"/>
                <a:gd name="T37" fmla="*/ 1 h 46"/>
                <a:gd name="T38" fmla="*/ 7 w 43"/>
                <a:gd name="T39" fmla="*/ 4 h 46"/>
                <a:gd name="T40" fmla="*/ 0 w 43"/>
                <a:gd name="T41" fmla="*/ 23 h 46"/>
                <a:gd name="T42" fmla="*/ 7 w 43"/>
                <a:gd name="T43" fmla="*/ 46 h 46"/>
                <a:gd name="T44" fmla="*/ 12 w 43"/>
                <a:gd name="T45" fmla="*/ 44 h 46"/>
                <a:gd name="T46" fmla="*/ 30 w 43"/>
                <a:gd name="T47" fmla="*/ 44 h 46"/>
                <a:gd name="T48" fmla="*/ 30 w 43"/>
                <a:gd name="T49" fmla="*/ 45 h 46"/>
                <a:gd name="T50" fmla="*/ 42 w 43"/>
                <a:gd name="T51" fmla="*/ 45 h 46"/>
                <a:gd name="T52" fmla="*/ 42 w 43"/>
                <a:gd name="T5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46">
                  <a:moveTo>
                    <a:pt x="42" y="24"/>
                  </a:moveTo>
                  <a:cubicBezTo>
                    <a:pt x="38" y="5"/>
                    <a:pt x="38" y="5"/>
                    <a:pt x="38" y="5"/>
                  </a:cubicBezTo>
                  <a:cubicBezTo>
                    <a:pt x="37" y="3"/>
                    <a:pt x="36" y="1"/>
                    <a:pt x="34" y="1"/>
                  </a:cubicBezTo>
                  <a:cubicBezTo>
                    <a:pt x="34" y="1"/>
                    <a:pt x="30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1" y="0"/>
                    <a:pt x="11" y="1"/>
                  </a:cubicBezTo>
                  <a:cubicBezTo>
                    <a:pt x="9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37"/>
                    <a:pt x="5" y="38"/>
                    <a:pt x="7" y="46"/>
                  </a:cubicBezTo>
                  <a:cubicBezTo>
                    <a:pt x="9" y="45"/>
                    <a:pt x="11" y="44"/>
                    <a:pt x="12" y="44"/>
                  </a:cubicBezTo>
                  <a:cubicBezTo>
                    <a:pt x="18" y="44"/>
                    <a:pt x="24" y="44"/>
                    <a:pt x="30" y="44"/>
                  </a:cubicBezTo>
                  <a:cubicBezTo>
                    <a:pt x="30" y="44"/>
                    <a:pt x="30" y="44"/>
                    <a:pt x="30" y="45"/>
                  </a:cubicBezTo>
                  <a:cubicBezTo>
                    <a:pt x="34" y="45"/>
                    <a:pt x="38" y="45"/>
                    <a:pt x="42" y="45"/>
                  </a:cubicBezTo>
                  <a:cubicBezTo>
                    <a:pt x="42" y="38"/>
                    <a:pt x="43" y="33"/>
                    <a:pt x="42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189"/>
            <p:cNvSpPr>
              <a:spLocks/>
            </p:cNvSpPr>
            <p:nvPr/>
          </p:nvSpPr>
          <p:spPr bwMode="auto">
            <a:xfrm>
              <a:off x="8457650" y="3244404"/>
              <a:ext cx="12429" cy="12429"/>
            </a:xfrm>
            <a:custGeom>
              <a:avLst/>
              <a:gdLst>
                <a:gd name="T0" fmla="*/ 2 w 12"/>
                <a:gd name="T1" fmla="*/ 0 h 12"/>
                <a:gd name="T2" fmla="*/ 0 w 12"/>
                <a:gd name="T3" fmla="*/ 8 h 12"/>
                <a:gd name="T4" fmla="*/ 6 w 12"/>
                <a:gd name="T5" fmla="*/ 12 h 12"/>
                <a:gd name="T6" fmla="*/ 12 w 12"/>
                <a:gd name="T7" fmla="*/ 8 h 12"/>
                <a:gd name="T8" fmla="*/ 10 w 12"/>
                <a:gd name="T9" fmla="*/ 0 h 12"/>
                <a:gd name="T10" fmla="*/ 2 w 1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lnTo>
                    <a:pt x="0" y="8"/>
                  </a:lnTo>
                  <a:lnTo>
                    <a:pt x="6" y="12"/>
                  </a:lnTo>
                  <a:lnTo>
                    <a:pt x="12" y="8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190"/>
            <p:cNvSpPr>
              <a:spLocks/>
            </p:cNvSpPr>
            <p:nvPr/>
          </p:nvSpPr>
          <p:spPr bwMode="auto">
            <a:xfrm>
              <a:off x="8457650" y="3252690"/>
              <a:ext cx="12429" cy="50751"/>
            </a:xfrm>
            <a:custGeom>
              <a:avLst/>
              <a:gdLst>
                <a:gd name="T0" fmla="*/ 2 w 12"/>
                <a:gd name="T1" fmla="*/ 0 h 49"/>
                <a:gd name="T2" fmla="*/ 0 w 12"/>
                <a:gd name="T3" fmla="*/ 43 h 49"/>
                <a:gd name="T4" fmla="*/ 6 w 12"/>
                <a:gd name="T5" fmla="*/ 49 h 49"/>
                <a:gd name="T6" fmla="*/ 12 w 12"/>
                <a:gd name="T7" fmla="*/ 43 h 49"/>
                <a:gd name="T8" fmla="*/ 10 w 12"/>
                <a:gd name="T9" fmla="*/ 0 h 49"/>
                <a:gd name="T10" fmla="*/ 2 w 1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9">
                  <a:moveTo>
                    <a:pt x="2" y="0"/>
                  </a:moveTo>
                  <a:lnTo>
                    <a:pt x="0" y="43"/>
                  </a:lnTo>
                  <a:lnTo>
                    <a:pt x="6" y="49"/>
                  </a:lnTo>
                  <a:lnTo>
                    <a:pt x="12" y="43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73479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>
            <a:extLst>
              <a:ext uri="{FF2B5EF4-FFF2-40B4-BE49-F238E27FC236}">
                <a16:creationId xmlns:a16="http://schemas.microsoft.com/office/drawing/2014/main" id="{417883B3-4839-480E-A5C7-4FD43DFB979A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197761" y="4034800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A6D15510-6A2E-4870-9672-E636D7A0F8C8}"/>
              </a:ext>
            </a:extLst>
          </p:cNvPr>
          <p:cNvSpPr txBox="1"/>
          <p:nvPr userDrawn="1"/>
        </p:nvSpPr>
        <p:spPr>
          <a:xfrm rot="1515553">
            <a:off x="422978" y="4088736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发展规划</a:t>
            </a: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45838" y="2079366"/>
            <a:ext cx="0" cy="2268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36099" y="3233970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112045" y="3732407"/>
            <a:ext cx="468000" cy="468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36099" y="2753937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0" name="Oval 33"/>
          <p:cNvSpPr>
            <a:spLocks noChangeArrowheads="1"/>
          </p:cNvSpPr>
          <p:nvPr/>
        </p:nvSpPr>
        <p:spPr bwMode="auto">
          <a:xfrm>
            <a:off x="238566" y="2992428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41" name="Oval 33"/>
          <p:cNvSpPr>
            <a:spLocks noChangeArrowheads="1"/>
          </p:cNvSpPr>
          <p:nvPr/>
        </p:nvSpPr>
        <p:spPr bwMode="auto">
          <a:xfrm>
            <a:off x="252653" y="3006515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0" name="Oval 33"/>
          <p:cNvSpPr>
            <a:spLocks noChangeArrowheads="1"/>
          </p:cNvSpPr>
          <p:nvPr/>
        </p:nvSpPr>
        <p:spPr bwMode="auto">
          <a:xfrm>
            <a:off x="235508" y="3476960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1" name="Oval 33"/>
          <p:cNvSpPr>
            <a:spLocks noChangeArrowheads="1"/>
          </p:cNvSpPr>
          <p:nvPr/>
        </p:nvSpPr>
        <p:spPr bwMode="auto">
          <a:xfrm>
            <a:off x="249595" y="3491047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grpSp>
        <p:nvGrpSpPr>
          <p:cNvPr id="72" name="组合 71"/>
          <p:cNvGrpSpPr/>
          <p:nvPr/>
        </p:nvGrpSpPr>
        <p:grpSpPr>
          <a:xfrm>
            <a:off x="282546" y="3052478"/>
            <a:ext cx="112696" cy="112696"/>
            <a:chOff x="5526525" y="3190546"/>
            <a:chExt cx="364578" cy="339721"/>
          </a:xfrm>
        </p:grpSpPr>
        <p:sp>
          <p:nvSpPr>
            <p:cNvPr id="73" name="Freeform 143"/>
            <p:cNvSpPr>
              <a:spLocks/>
            </p:cNvSpPr>
            <p:nvPr/>
          </p:nvSpPr>
          <p:spPr bwMode="auto">
            <a:xfrm>
              <a:off x="5574169" y="3252690"/>
              <a:ext cx="90109" cy="90109"/>
            </a:xfrm>
            <a:custGeom>
              <a:avLst/>
              <a:gdLst>
                <a:gd name="T0" fmla="*/ 0 w 44"/>
                <a:gd name="T1" fmla="*/ 22 h 44"/>
                <a:gd name="T2" fmla="*/ 22 w 44"/>
                <a:gd name="T3" fmla="*/ 44 h 44"/>
                <a:gd name="T4" fmla="*/ 44 w 44"/>
                <a:gd name="T5" fmla="*/ 25 h 44"/>
                <a:gd name="T6" fmla="*/ 19 w 44"/>
                <a:gd name="T7" fmla="*/ 25 h 44"/>
                <a:gd name="T8" fmla="*/ 19 w 44"/>
                <a:gd name="T9" fmla="*/ 0 h 44"/>
                <a:gd name="T10" fmla="*/ 0 w 44"/>
                <a:gd name="T11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3" y="44"/>
                    <a:pt x="43" y="36"/>
                    <a:pt x="44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2"/>
                    <a:pt x="0" y="11"/>
                    <a:pt x="0" y="2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144"/>
            <p:cNvSpPr>
              <a:spLocks noEditPoints="1"/>
            </p:cNvSpPr>
            <p:nvPr/>
          </p:nvSpPr>
          <p:spPr bwMode="auto">
            <a:xfrm>
              <a:off x="5619740" y="3252690"/>
              <a:ext cx="44537" cy="44537"/>
            </a:xfrm>
            <a:custGeom>
              <a:avLst/>
              <a:gdLst>
                <a:gd name="T0" fmla="*/ 0 w 22"/>
                <a:gd name="T1" fmla="*/ 0 h 22"/>
                <a:gd name="T2" fmla="*/ 0 w 22"/>
                <a:gd name="T3" fmla="*/ 0 h 22"/>
                <a:gd name="T4" fmla="*/ 0 w 22"/>
                <a:gd name="T5" fmla="*/ 22 h 22"/>
                <a:gd name="T6" fmla="*/ 22 w 22"/>
                <a:gd name="T7" fmla="*/ 22 h 22"/>
                <a:gd name="T8" fmla="*/ 0 w 22"/>
                <a:gd name="T9" fmla="*/ 0 h 22"/>
                <a:gd name="T10" fmla="*/ 2 w 22"/>
                <a:gd name="T11" fmla="*/ 3 h 22"/>
                <a:gd name="T12" fmla="*/ 19 w 22"/>
                <a:gd name="T13" fmla="*/ 20 h 22"/>
                <a:gd name="T14" fmla="*/ 2 w 22"/>
                <a:gd name="T15" fmla="*/ 20 h 22"/>
                <a:gd name="T16" fmla="*/ 2 w 22"/>
                <a:gd name="T17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0"/>
                    <a:pt x="12" y="0"/>
                    <a:pt x="0" y="0"/>
                  </a:cubicBezTo>
                  <a:close/>
                  <a:moveTo>
                    <a:pt x="2" y="3"/>
                  </a:moveTo>
                  <a:cubicBezTo>
                    <a:pt x="11" y="4"/>
                    <a:pt x="18" y="11"/>
                    <a:pt x="19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45"/>
            <p:cNvSpPr>
              <a:spLocks/>
            </p:cNvSpPr>
            <p:nvPr/>
          </p:nvSpPr>
          <p:spPr bwMode="auto">
            <a:xfrm>
              <a:off x="5684991" y="3282726"/>
              <a:ext cx="82859" cy="10358"/>
            </a:xfrm>
            <a:custGeom>
              <a:avLst/>
              <a:gdLst>
                <a:gd name="T0" fmla="*/ 0 w 80"/>
                <a:gd name="T1" fmla="*/ 6 h 10"/>
                <a:gd name="T2" fmla="*/ 30 w 80"/>
                <a:gd name="T3" fmla="*/ 10 h 10"/>
                <a:gd name="T4" fmla="*/ 72 w 80"/>
                <a:gd name="T5" fmla="*/ 10 h 10"/>
                <a:gd name="T6" fmla="*/ 80 w 80"/>
                <a:gd name="T7" fmla="*/ 0 h 10"/>
                <a:gd name="T8" fmla="*/ 0 w 80"/>
                <a:gd name="T9" fmla="*/ 0 h 10"/>
                <a:gd name="T10" fmla="*/ 0 w 80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">
                  <a:moveTo>
                    <a:pt x="0" y="6"/>
                  </a:moveTo>
                  <a:lnTo>
                    <a:pt x="30" y="10"/>
                  </a:lnTo>
                  <a:lnTo>
                    <a:pt x="72" y="10"/>
                  </a:lnTo>
                  <a:lnTo>
                    <a:pt x="8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46"/>
            <p:cNvSpPr>
              <a:spLocks/>
            </p:cNvSpPr>
            <p:nvPr/>
          </p:nvSpPr>
          <p:spPr bwMode="auto">
            <a:xfrm>
              <a:off x="5684992" y="3262011"/>
              <a:ext cx="108752" cy="10358"/>
            </a:xfrm>
            <a:custGeom>
              <a:avLst/>
              <a:gdLst>
                <a:gd name="T0" fmla="*/ 0 w 53"/>
                <a:gd name="T1" fmla="*/ 0 h 5"/>
                <a:gd name="T2" fmla="*/ 0 w 53"/>
                <a:gd name="T3" fmla="*/ 5 h 5"/>
                <a:gd name="T4" fmla="*/ 53 w 53"/>
                <a:gd name="T5" fmla="*/ 5 h 5"/>
                <a:gd name="T6" fmla="*/ 50 w 53"/>
                <a:gd name="T7" fmla="*/ 0 h 5"/>
                <a:gd name="T8" fmla="*/ 0 w 5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4"/>
                    <a:pt x="51" y="2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47"/>
            <p:cNvSpPr>
              <a:spLocks/>
            </p:cNvSpPr>
            <p:nvPr/>
          </p:nvSpPr>
          <p:spPr bwMode="auto">
            <a:xfrm>
              <a:off x="5526525" y="3190546"/>
              <a:ext cx="364578" cy="187468"/>
            </a:xfrm>
            <a:custGeom>
              <a:avLst/>
              <a:gdLst>
                <a:gd name="T0" fmla="*/ 0 w 177"/>
                <a:gd name="T1" fmla="*/ 0 h 91"/>
                <a:gd name="T2" fmla="*/ 0 w 177"/>
                <a:gd name="T3" fmla="*/ 20 h 91"/>
                <a:gd name="T4" fmla="*/ 9 w 177"/>
                <a:gd name="T5" fmla="*/ 20 h 91"/>
                <a:gd name="T6" fmla="*/ 9 w 177"/>
                <a:gd name="T7" fmla="*/ 91 h 91"/>
                <a:gd name="T8" fmla="*/ 116 w 177"/>
                <a:gd name="T9" fmla="*/ 91 h 91"/>
                <a:gd name="T10" fmla="*/ 117 w 177"/>
                <a:gd name="T11" fmla="*/ 85 h 91"/>
                <a:gd name="T12" fmla="*/ 14 w 177"/>
                <a:gd name="T13" fmla="*/ 85 h 91"/>
                <a:gd name="T14" fmla="*/ 14 w 177"/>
                <a:gd name="T15" fmla="*/ 20 h 91"/>
                <a:gd name="T16" fmla="*/ 126 w 177"/>
                <a:gd name="T17" fmla="*/ 20 h 91"/>
                <a:gd name="T18" fmla="*/ 141 w 177"/>
                <a:gd name="T19" fmla="*/ 8 h 91"/>
                <a:gd name="T20" fmla="*/ 156 w 177"/>
                <a:gd name="T21" fmla="*/ 20 h 91"/>
                <a:gd name="T22" fmla="*/ 163 w 177"/>
                <a:gd name="T23" fmla="*/ 20 h 91"/>
                <a:gd name="T24" fmla="*/ 163 w 177"/>
                <a:gd name="T25" fmla="*/ 42 h 91"/>
                <a:gd name="T26" fmla="*/ 168 w 177"/>
                <a:gd name="T27" fmla="*/ 48 h 91"/>
                <a:gd name="T28" fmla="*/ 168 w 177"/>
                <a:gd name="T29" fmla="*/ 20 h 91"/>
                <a:gd name="T30" fmla="*/ 177 w 177"/>
                <a:gd name="T31" fmla="*/ 20 h 91"/>
                <a:gd name="T32" fmla="*/ 177 w 177"/>
                <a:gd name="T33" fmla="*/ 0 h 91"/>
                <a:gd name="T34" fmla="*/ 0 w 177"/>
                <a:gd name="T3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7" h="91">
                  <a:moveTo>
                    <a:pt x="0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17" y="89"/>
                    <a:pt x="117" y="87"/>
                    <a:pt x="117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8" y="13"/>
                    <a:pt x="134" y="8"/>
                    <a:pt x="141" y="8"/>
                  </a:cubicBezTo>
                  <a:cubicBezTo>
                    <a:pt x="148" y="8"/>
                    <a:pt x="154" y="13"/>
                    <a:pt x="156" y="20"/>
                  </a:cubicBezTo>
                  <a:cubicBezTo>
                    <a:pt x="163" y="20"/>
                    <a:pt x="163" y="20"/>
                    <a:pt x="163" y="20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5" y="43"/>
                    <a:pt x="167" y="45"/>
                    <a:pt x="168" y="48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77" y="20"/>
                    <a:pt x="177" y="20"/>
                    <a:pt x="177" y="20"/>
                  </a:cubicBezTo>
                  <a:cubicBezTo>
                    <a:pt x="177" y="0"/>
                    <a:pt x="177" y="0"/>
                    <a:pt x="17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Oval 148"/>
            <p:cNvSpPr>
              <a:spLocks noChangeArrowheads="1"/>
            </p:cNvSpPr>
            <p:nvPr/>
          </p:nvSpPr>
          <p:spPr bwMode="auto">
            <a:xfrm>
              <a:off x="5791673" y="3215404"/>
              <a:ext cx="49715" cy="5903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149"/>
            <p:cNvSpPr>
              <a:spLocks/>
            </p:cNvSpPr>
            <p:nvPr/>
          </p:nvSpPr>
          <p:spPr bwMode="auto">
            <a:xfrm>
              <a:off x="5687063" y="3278583"/>
              <a:ext cx="187468" cy="251684"/>
            </a:xfrm>
            <a:custGeom>
              <a:avLst/>
              <a:gdLst>
                <a:gd name="T0" fmla="*/ 80 w 91"/>
                <a:gd name="T1" fmla="*/ 2 h 122"/>
                <a:gd name="T2" fmla="*/ 79 w 91"/>
                <a:gd name="T3" fmla="*/ 2 h 122"/>
                <a:gd name="T4" fmla="*/ 79 w 91"/>
                <a:gd name="T5" fmla="*/ 2 h 122"/>
                <a:gd name="T6" fmla="*/ 73 w 91"/>
                <a:gd name="T7" fmla="*/ 1 h 122"/>
                <a:gd name="T8" fmla="*/ 73 w 91"/>
                <a:gd name="T9" fmla="*/ 2 h 122"/>
                <a:gd name="T10" fmla="*/ 78 w 91"/>
                <a:gd name="T11" fmla="*/ 6 h 122"/>
                <a:gd name="T12" fmla="*/ 72 w 91"/>
                <a:gd name="T13" fmla="*/ 9 h 122"/>
                <a:gd name="T14" fmla="*/ 75 w 91"/>
                <a:gd name="T15" fmla="*/ 14 h 122"/>
                <a:gd name="T16" fmla="*/ 67 w 91"/>
                <a:gd name="T17" fmla="*/ 31 h 122"/>
                <a:gd name="T18" fmla="*/ 66 w 91"/>
                <a:gd name="T19" fmla="*/ 7 h 122"/>
                <a:gd name="T20" fmla="*/ 67 w 91"/>
                <a:gd name="T21" fmla="*/ 6 h 122"/>
                <a:gd name="T22" fmla="*/ 65 w 91"/>
                <a:gd name="T23" fmla="*/ 0 h 122"/>
                <a:gd name="T24" fmla="*/ 61 w 91"/>
                <a:gd name="T25" fmla="*/ 0 h 122"/>
                <a:gd name="T26" fmla="*/ 59 w 91"/>
                <a:gd name="T27" fmla="*/ 6 h 122"/>
                <a:gd name="T28" fmla="*/ 60 w 91"/>
                <a:gd name="T29" fmla="*/ 7 h 122"/>
                <a:gd name="T30" fmla="*/ 59 w 91"/>
                <a:gd name="T31" fmla="*/ 31 h 122"/>
                <a:gd name="T32" fmla="*/ 51 w 91"/>
                <a:gd name="T33" fmla="*/ 14 h 122"/>
                <a:gd name="T34" fmla="*/ 54 w 91"/>
                <a:gd name="T35" fmla="*/ 9 h 122"/>
                <a:gd name="T36" fmla="*/ 48 w 91"/>
                <a:gd name="T37" fmla="*/ 6 h 122"/>
                <a:gd name="T38" fmla="*/ 53 w 91"/>
                <a:gd name="T39" fmla="*/ 2 h 122"/>
                <a:gd name="T40" fmla="*/ 53 w 91"/>
                <a:gd name="T41" fmla="*/ 1 h 122"/>
                <a:gd name="T42" fmla="*/ 49 w 91"/>
                <a:gd name="T43" fmla="*/ 2 h 122"/>
                <a:gd name="T44" fmla="*/ 47 w 91"/>
                <a:gd name="T45" fmla="*/ 2 h 122"/>
                <a:gd name="T46" fmla="*/ 47 w 91"/>
                <a:gd name="T47" fmla="*/ 2 h 122"/>
                <a:gd name="T48" fmla="*/ 46 w 91"/>
                <a:gd name="T49" fmla="*/ 2 h 122"/>
                <a:gd name="T50" fmla="*/ 44 w 91"/>
                <a:gd name="T51" fmla="*/ 4 h 122"/>
                <a:gd name="T52" fmla="*/ 34 w 91"/>
                <a:gd name="T53" fmla="*/ 13 h 122"/>
                <a:gd name="T54" fmla="*/ 34 w 91"/>
                <a:gd name="T55" fmla="*/ 14 h 122"/>
                <a:gd name="T56" fmla="*/ 29 w 91"/>
                <a:gd name="T57" fmla="*/ 13 h 122"/>
                <a:gd name="T58" fmla="*/ 2 w 91"/>
                <a:gd name="T59" fmla="*/ 9 h 122"/>
                <a:gd name="T60" fmla="*/ 0 w 91"/>
                <a:gd name="T61" fmla="*/ 26 h 122"/>
                <a:gd name="T62" fmla="*/ 27 w 91"/>
                <a:gd name="T63" fmla="*/ 28 h 122"/>
                <a:gd name="T64" fmla="*/ 34 w 91"/>
                <a:gd name="T65" fmla="*/ 29 h 122"/>
                <a:gd name="T66" fmla="*/ 35 w 91"/>
                <a:gd name="T67" fmla="*/ 29 h 122"/>
                <a:gd name="T68" fmla="*/ 36 w 91"/>
                <a:gd name="T69" fmla="*/ 29 h 122"/>
                <a:gd name="T70" fmla="*/ 43 w 91"/>
                <a:gd name="T71" fmla="*/ 26 h 122"/>
                <a:gd name="T72" fmla="*/ 43 w 91"/>
                <a:gd name="T73" fmla="*/ 25 h 122"/>
                <a:gd name="T74" fmla="*/ 42 w 91"/>
                <a:gd name="T75" fmla="*/ 65 h 122"/>
                <a:gd name="T76" fmla="*/ 42 w 91"/>
                <a:gd name="T77" fmla="*/ 65 h 122"/>
                <a:gd name="T78" fmla="*/ 44 w 91"/>
                <a:gd name="T79" fmla="*/ 65 h 122"/>
                <a:gd name="T80" fmla="*/ 46 w 91"/>
                <a:gd name="T81" fmla="*/ 122 h 122"/>
                <a:gd name="T82" fmla="*/ 62 w 91"/>
                <a:gd name="T83" fmla="*/ 122 h 122"/>
                <a:gd name="T84" fmla="*/ 62 w 91"/>
                <a:gd name="T85" fmla="*/ 65 h 122"/>
                <a:gd name="T86" fmla="*/ 64 w 91"/>
                <a:gd name="T87" fmla="*/ 65 h 122"/>
                <a:gd name="T88" fmla="*/ 66 w 91"/>
                <a:gd name="T89" fmla="*/ 122 h 122"/>
                <a:gd name="T90" fmla="*/ 82 w 91"/>
                <a:gd name="T91" fmla="*/ 122 h 122"/>
                <a:gd name="T92" fmla="*/ 82 w 91"/>
                <a:gd name="T93" fmla="*/ 65 h 122"/>
                <a:gd name="T94" fmla="*/ 84 w 91"/>
                <a:gd name="T95" fmla="*/ 65 h 122"/>
                <a:gd name="T96" fmla="*/ 84 w 91"/>
                <a:gd name="T97" fmla="*/ 65 h 122"/>
                <a:gd name="T98" fmla="*/ 91 w 91"/>
                <a:gd name="T99" fmla="*/ 64 h 122"/>
                <a:gd name="T100" fmla="*/ 87 w 91"/>
                <a:gd name="T101" fmla="*/ 9 h 122"/>
                <a:gd name="T102" fmla="*/ 80 w 91"/>
                <a:gd name="T103" fmla="*/ 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" h="122">
                  <a:moveTo>
                    <a:pt x="80" y="2"/>
                  </a:moveTo>
                  <a:cubicBezTo>
                    <a:pt x="79" y="2"/>
                    <a:pt x="79" y="2"/>
                    <a:pt x="79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7" y="2"/>
                    <a:pt x="75" y="2"/>
                    <a:pt x="73" y="1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2"/>
                    <a:pt x="50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5" y="3"/>
                    <a:pt x="45" y="3"/>
                    <a:pt x="44" y="4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4"/>
                    <a:pt x="1" y="20"/>
                    <a:pt x="0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8"/>
                    <a:pt x="43" y="26"/>
                    <a:pt x="43" y="26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38"/>
                    <a:pt x="43" y="51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3" y="65"/>
                    <a:pt x="44" y="65"/>
                    <a:pt x="44" y="65"/>
                  </a:cubicBezTo>
                  <a:cubicBezTo>
                    <a:pt x="46" y="122"/>
                    <a:pt x="46" y="122"/>
                    <a:pt x="46" y="122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3" y="105"/>
                    <a:pt x="62" y="76"/>
                    <a:pt x="62" y="65"/>
                  </a:cubicBezTo>
                  <a:cubicBezTo>
                    <a:pt x="63" y="65"/>
                    <a:pt x="63" y="65"/>
                    <a:pt x="64" y="65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2" y="105"/>
                    <a:pt x="82" y="76"/>
                    <a:pt x="82" y="65"/>
                  </a:cubicBezTo>
                  <a:cubicBezTo>
                    <a:pt x="82" y="65"/>
                    <a:pt x="83" y="65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6" y="65"/>
                    <a:pt x="89" y="64"/>
                    <a:pt x="91" y="64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5"/>
                    <a:pt x="83" y="2"/>
                    <a:pt x="8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6" name="组合 85"/>
          <p:cNvGrpSpPr/>
          <p:nvPr userDrawn="1"/>
        </p:nvGrpSpPr>
        <p:grpSpPr>
          <a:xfrm>
            <a:off x="236820" y="2506214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36821" y="2007663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37019" y="2256174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41137" y="4243538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42" name="组合 41"/>
          <p:cNvGrpSpPr/>
          <p:nvPr/>
        </p:nvGrpSpPr>
        <p:grpSpPr>
          <a:xfrm>
            <a:off x="278360" y="3519924"/>
            <a:ext cx="131478" cy="122087"/>
            <a:chOff x="8111715" y="3136688"/>
            <a:chExt cx="425687" cy="391508"/>
          </a:xfrm>
        </p:grpSpPr>
        <p:sp>
          <p:nvSpPr>
            <p:cNvPr id="43" name="Freeform 165"/>
            <p:cNvSpPr>
              <a:spLocks noEditPoints="1"/>
            </p:cNvSpPr>
            <p:nvPr/>
          </p:nvSpPr>
          <p:spPr bwMode="auto">
            <a:xfrm>
              <a:off x="8111715" y="3388371"/>
              <a:ext cx="141896" cy="48680"/>
            </a:xfrm>
            <a:custGeom>
              <a:avLst/>
              <a:gdLst>
                <a:gd name="T0" fmla="*/ 66 w 69"/>
                <a:gd name="T1" fmla="*/ 10 h 24"/>
                <a:gd name="T2" fmla="*/ 35 w 69"/>
                <a:gd name="T3" fmla="*/ 0 h 24"/>
                <a:gd name="T4" fmla="*/ 3 w 69"/>
                <a:gd name="T5" fmla="*/ 10 h 24"/>
                <a:gd name="T6" fmla="*/ 34 w 69"/>
                <a:gd name="T7" fmla="*/ 24 h 24"/>
                <a:gd name="T8" fmla="*/ 66 w 69"/>
                <a:gd name="T9" fmla="*/ 10 h 24"/>
                <a:gd name="T10" fmla="*/ 35 w 69"/>
                <a:gd name="T11" fmla="*/ 19 h 24"/>
                <a:gd name="T12" fmla="*/ 11 w 69"/>
                <a:gd name="T13" fmla="*/ 9 h 24"/>
                <a:gd name="T14" fmla="*/ 35 w 69"/>
                <a:gd name="T15" fmla="*/ 2 h 24"/>
                <a:gd name="T16" fmla="*/ 58 w 69"/>
                <a:gd name="T17" fmla="*/ 9 h 24"/>
                <a:gd name="T18" fmla="*/ 35 w 69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66" y="10"/>
                  </a:moveTo>
                  <a:cubicBezTo>
                    <a:pt x="63" y="3"/>
                    <a:pt x="49" y="0"/>
                    <a:pt x="35" y="0"/>
                  </a:cubicBezTo>
                  <a:cubicBezTo>
                    <a:pt x="21" y="0"/>
                    <a:pt x="6" y="4"/>
                    <a:pt x="3" y="10"/>
                  </a:cubicBezTo>
                  <a:cubicBezTo>
                    <a:pt x="0" y="16"/>
                    <a:pt x="14" y="24"/>
                    <a:pt x="34" y="24"/>
                  </a:cubicBezTo>
                  <a:cubicBezTo>
                    <a:pt x="55" y="24"/>
                    <a:pt x="69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4" y="2"/>
                    <a:pt x="35" y="2"/>
                  </a:cubicBezTo>
                  <a:cubicBezTo>
                    <a:pt x="46" y="2"/>
                    <a:pt x="57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66"/>
            <p:cNvSpPr>
              <a:spLocks/>
            </p:cNvSpPr>
            <p:nvPr/>
          </p:nvSpPr>
          <p:spPr bwMode="auto">
            <a:xfrm>
              <a:off x="8211146" y="3426693"/>
              <a:ext cx="36251" cy="20715"/>
            </a:xfrm>
            <a:custGeom>
              <a:avLst/>
              <a:gdLst>
                <a:gd name="T0" fmla="*/ 10 w 35"/>
                <a:gd name="T1" fmla="*/ 0 h 20"/>
                <a:gd name="T2" fmla="*/ 35 w 35"/>
                <a:gd name="T3" fmla="*/ 8 h 20"/>
                <a:gd name="T4" fmla="*/ 20 w 35"/>
                <a:gd name="T5" fmla="*/ 20 h 20"/>
                <a:gd name="T6" fmla="*/ 0 w 35"/>
                <a:gd name="T7" fmla="*/ 4 h 20"/>
                <a:gd name="T8" fmla="*/ 10 w 3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10" y="0"/>
                  </a:moveTo>
                  <a:lnTo>
                    <a:pt x="35" y="8"/>
                  </a:lnTo>
                  <a:lnTo>
                    <a:pt x="20" y="20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67"/>
            <p:cNvSpPr>
              <a:spLocks noEditPoints="1"/>
            </p:cNvSpPr>
            <p:nvPr/>
          </p:nvSpPr>
          <p:spPr bwMode="auto">
            <a:xfrm>
              <a:off x="8393435" y="3388371"/>
              <a:ext cx="143967" cy="48680"/>
            </a:xfrm>
            <a:custGeom>
              <a:avLst/>
              <a:gdLst>
                <a:gd name="T0" fmla="*/ 66 w 70"/>
                <a:gd name="T1" fmla="*/ 10 h 24"/>
                <a:gd name="T2" fmla="*/ 35 w 70"/>
                <a:gd name="T3" fmla="*/ 0 h 24"/>
                <a:gd name="T4" fmla="*/ 3 w 70"/>
                <a:gd name="T5" fmla="*/ 10 h 24"/>
                <a:gd name="T6" fmla="*/ 35 w 70"/>
                <a:gd name="T7" fmla="*/ 24 h 24"/>
                <a:gd name="T8" fmla="*/ 66 w 70"/>
                <a:gd name="T9" fmla="*/ 10 h 24"/>
                <a:gd name="T10" fmla="*/ 35 w 70"/>
                <a:gd name="T11" fmla="*/ 19 h 24"/>
                <a:gd name="T12" fmla="*/ 11 w 70"/>
                <a:gd name="T13" fmla="*/ 9 h 24"/>
                <a:gd name="T14" fmla="*/ 35 w 70"/>
                <a:gd name="T15" fmla="*/ 2 h 24"/>
                <a:gd name="T16" fmla="*/ 58 w 70"/>
                <a:gd name="T17" fmla="*/ 9 h 24"/>
                <a:gd name="T18" fmla="*/ 35 w 70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24">
                  <a:moveTo>
                    <a:pt x="66" y="10"/>
                  </a:moveTo>
                  <a:cubicBezTo>
                    <a:pt x="63" y="4"/>
                    <a:pt x="49" y="0"/>
                    <a:pt x="35" y="0"/>
                  </a:cubicBezTo>
                  <a:cubicBezTo>
                    <a:pt x="21" y="0"/>
                    <a:pt x="7" y="3"/>
                    <a:pt x="3" y="10"/>
                  </a:cubicBezTo>
                  <a:cubicBezTo>
                    <a:pt x="0" y="16"/>
                    <a:pt x="14" y="24"/>
                    <a:pt x="35" y="24"/>
                  </a:cubicBezTo>
                  <a:cubicBezTo>
                    <a:pt x="56" y="24"/>
                    <a:pt x="70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3" y="2"/>
                    <a:pt x="35" y="2"/>
                  </a:cubicBezTo>
                  <a:cubicBezTo>
                    <a:pt x="46" y="2"/>
                    <a:pt x="56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168"/>
            <p:cNvSpPr>
              <a:spLocks/>
            </p:cNvSpPr>
            <p:nvPr/>
          </p:nvSpPr>
          <p:spPr bwMode="auto">
            <a:xfrm>
              <a:off x="8401720" y="3426693"/>
              <a:ext cx="35215" cy="20715"/>
            </a:xfrm>
            <a:custGeom>
              <a:avLst/>
              <a:gdLst>
                <a:gd name="T0" fmla="*/ 24 w 34"/>
                <a:gd name="T1" fmla="*/ 0 h 20"/>
                <a:gd name="T2" fmla="*/ 0 w 34"/>
                <a:gd name="T3" fmla="*/ 8 h 20"/>
                <a:gd name="T4" fmla="*/ 14 w 34"/>
                <a:gd name="T5" fmla="*/ 20 h 20"/>
                <a:gd name="T6" fmla="*/ 34 w 34"/>
                <a:gd name="T7" fmla="*/ 4 h 20"/>
                <a:gd name="T8" fmla="*/ 24 w 34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24" y="0"/>
                  </a:moveTo>
                  <a:lnTo>
                    <a:pt x="0" y="8"/>
                  </a:lnTo>
                  <a:lnTo>
                    <a:pt x="14" y="20"/>
                  </a:lnTo>
                  <a:lnTo>
                    <a:pt x="34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69"/>
            <p:cNvSpPr>
              <a:spLocks noEditPoints="1"/>
            </p:cNvSpPr>
            <p:nvPr/>
          </p:nvSpPr>
          <p:spPr bwMode="auto">
            <a:xfrm>
              <a:off x="8184216" y="3422551"/>
              <a:ext cx="279648" cy="105645"/>
            </a:xfrm>
            <a:custGeom>
              <a:avLst/>
              <a:gdLst>
                <a:gd name="T0" fmla="*/ 129 w 136"/>
                <a:gd name="T1" fmla="*/ 21 h 51"/>
                <a:gd name="T2" fmla="*/ 69 w 136"/>
                <a:gd name="T3" fmla="*/ 0 h 51"/>
                <a:gd name="T4" fmla="*/ 7 w 136"/>
                <a:gd name="T5" fmla="*/ 21 h 51"/>
                <a:gd name="T6" fmla="*/ 68 w 136"/>
                <a:gd name="T7" fmla="*/ 51 h 51"/>
                <a:gd name="T8" fmla="*/ 129 w 136"/>
                <a:gd name="T9" fmla="*/ 21 h 51"/>
                <a:gd name="T10" fmla="*/ 68 w 136"/>
                <a:gd name="T11" fmla="*/ 39 h 51"/>
                <a:gd name="T12" fmla="*/ 22 w 136"/>
                <a:gd name="T13" fmla="*/ 19 h 51"/>
                <a:gd name="T14" fmla="*/ 69 w 136"/>
                <a:gd name="T15" fmla="*/ 5 h 51"/>
                <a:gd name="T16" fmla="*/ 115 w 136"/>
                <a:gd name="T17" fmla="*/ 19 h 51"/>
                <a:gd name="T18" fmla="*/ 68 w 136"/>
                <a:gd name="T19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51">
                  <a:moveTo>
                    <a:pt x="129" y="21"/>
                  </a:moveTo>
                  <a:cubicBezTo>
                    <a:pt x="123" y="8"/>
                    <a:pt x="96" y="0"/>
                    <a:pt x="69" y="0"/>
                  </a:cubicBezTo>
                  <a:cubicBezTo>
                    <a:pt x="41" y="0"/>
                    <a:pt x="13" y="8"/>
                    <a:pt x="7" y="21"/>
                  </a:cubicBezTo>
                  <a:cubicBezTo>
                    <a:pt x="0" y="33"/>
                    <a:pt x="28" y="51"/>
                    <a:pt x="68" y="51"/>
                  </a:cubicBezTo>
                  <a:cubicBezTo>
                    <a:pt x="108" y="51"/>
                    <a:pt x="136" y="33"/>
                    <a:pt x="129" y="21"/>
                  </a:cubicBezTo>
                  <a:close/>
                  <a:moveTo>
                    <a:pt x="68" y="39"/>
                  </a:moveTo>
                  <a:cubicBezTo>
                    <a:pt x="39" y="39"/>
                    <a:pt x="19" y="28"/>
                    <a:pt x="22" y="19"/>
                  </a:cubicBezTo>
                  <a:cubicBezTo>
                    <a:pt x="26" y="10"/>
                    <a:pt x="47" y="5"/>
                    <a:pt x="69" y="5"/>
                  </a:cubicBezTo>
                  <a:cubicBezTo>
                    <a:pt x="91" y="5"/>
                    <a:pt x="111" y="10"/>
                    <a:pt x="115" y="19"/>
                  </a:cubicBezTo>
                  <a:cubicBezTo>
                    <a:pt x="118" y="28"/>
                    <a:pt x="98" y="39"/>
                    <a:pt x="68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70"/>
            <p:cNvSpPr>
              <a:spLocks/>
            </p:cNvSpPr>
            <p:nvPr/>
          </p:nvSpPr>
          <p:spPr bwMode="auto">
            <a:xfrm>
              <a:off x="82826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71"/>
            <p:cNvSpPr>
              <a:spLocks/>
            </p:cNvSpPr>
            <p:nvPr/>
          </p:nvSpPr>
          <p:spPr bwMode="auto">
            <a:xfrm>
              <a:off x="83261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Oval 172"/>
            <p:cNvSpPr>
              <a:spLocks noChangeArrowheads="1"/>
            </p:cNvSpPr>
            <p:nvPr/>
          </p:nvSpPr>
          <p:spPr bwMode="auto">
            <a:xfrm>
              <a:off x="8297112" y="3136688"/>
              <a:ext cx="53858" cy="64216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tangle 173"/>
            <p:cNvSpPr>
              <a:spLocks noChangeArrowheads="1"/>
            </p:cNvSpPr>
            <p:nvPr/>
          </p:nvSpPr>
          <p:spPr bwMode="auto">
            <a:xfrm>
              <a:off x="8324041" y="3293084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74"/>
            <p:cNvSpPr>
              <a:spLocks/>
            </p:cNvSpPr>
            <p:nvPr/>
          </p:nvSpPr>
          <p:spPr bwMode="auto">
            <a:xfrm>
              <a:off x="8261896" y="3209189"/>
              <a:ext cx="125324" cy="139824"/>
            </a:xfrm>
            <a:custGeom>
              <a:avLst/>
              <a:gdLst>
                <a:gd name="T0" fmla="*/ 56 w 61"/>
                <a:gd name="T1" fmla="*/ 8 h 68"/>
                <a:gd name="T2" fmla="*/ 49 w 61"/>
                <a:gd name="T3" fmla="*/ 1 h 68"/>
                <a:gd name="T4" fmla="*/ 41 w 61"/>
                <a:gd name="T5" fmla="*/ 0 h 68"/>
                <a:gd name="T6" fmla="*/ 41 w 61"/>
                <a:gd name="T7" fmla="*/ 0 h 68"/>
                <a:gd name="T8" fmla="*/ 46 w 61"/>
                <a:gd name="T9" fmla="*/ 5 h 68"/>
                <a:gd name="T10" fmla="*/ 40 w 61"/>
                <a:gd name="T11" fmla="*/ 8 h 68"/>
                <a:gd name="T12" fmla="*/ 43 w 61"/>
                <a:gd name="T13" fmla="*/ 13 h 68"/>
                <a:gd name="T14" fmla="*/ 30 w 61"/>
                <a:gd name="T15" fmla="*/ 41 h 68"/>
                <a:gd name="T16" fmla="*/ 30 w 61"/>
                <a:gd name="T17" fmla="*/ 41 h 68"/>
                <a:gd name="T18" fmla="*/ 30 w 61"/>
                <a:gd name="T19" fmla="*/ 41 h 68"/>
                <a:gd name="T20" fmla="*/ 30 w 61"/>
                <a:gd name="T21" fmla="*/ 41 h 68"/>
                <a:gd name="T22" fmla="*/ 30 w 61"/>
                <a:gd name="T23" fmla="*/ 41 h 68"/>
                <a:gd name="T24" fmla="*/ 17 w 61"/>
                <a:gd name="T25" fmla="*/ 13 h 68"/>
                <a:gd name="T26" fmla="*/ 20 w 61"/>
                <a:gd name="T27" fmla="*/ 8 h 68"/>
                <a:gd name="T28" fmla="*/ 14 w 61"/>
                <a:gd name="T29" fmla="*/ 5 h 68"/>
                <a:gd name="T30" fmla="*/ 19 w 61"/>
                <a:gd name="T31" fmla="*/ 0 h 68"/>
                <a:gd name="T32" fmla="*/ 19 w 61"/>
                <a:gd name="T33" fmla="*/ 0 h 68"/>
                <a:gd name="T34" fmla="*/ 12 w 61"/>
                <a:gd name="T35" fmla="*/ 1 h 68"/>
                <a:gd name="T36" fmla="*/ 12 w 61"/>
                <a:gd name="T37" fmla="*/ 1 h 68"/>
                <a:gd name="T38" fmla="*/ 5 w 61"/>
                <a:gd name="T39" fmla="*/ 8 h 68"/>
                <a:gd name="T40" fmla="*/ 0 w 61"/>
                <a:gd name="T41" fmla="*/ 68 h 68"/>
                <a:gd name="T42" fmla="*/ 8 w 61"/>
                <a:gd name="T43" fmla="*/ 68 h 68"/>
                <a:gd name="T44" fmla="*/ 8 w 61"/>
                <a:gd name="T45" fmla="*/ 68 h 68"/>
                <a:gd name="T46" fmla="*/ 9 w 61"/>
                <a:gd name="T47" fmla="*/ 68 h 68"/>
                <a:gd name="T48" fmla="*/ 18 w 61"/>
                <a:gd name="T49" fmla="*/ 68 h 68"/>
                <a:gd name="T50" fmla="*/ 18 w 61"/>
                <a:gd name="T51" fmla="*/ 68 h 68"/>
                <a:gd name="T52" fmla="*/ 43 w 61"/>
                <a:gd name="T53" fmla="*/ 68 h 68"/>
                <a:gd name="T54" fmla="*/ 43 w 61"/>
                <a:gd name="T55" fmla="*/ 68 h 68"/>
                <a:gd name="T56" fmla="*/ 52 w 61"/>
                <a:gd name="T57" fmla="*/ 68 h 68"/>
                <a:gd name="T58" fmla="*/ 52 w 61"/>
                <a:gd name="T59" fmla="*/ 68 h 68"/>
                <a:gd name="T60" fmla="*/ 52 w 61"/>
                <a:gd name="T61" fmla="*/ 68 h 68"/>
                <a:gd name="T62" fmla="*/ 61 w 61"/>
                <a:gd name="T63" fmla="*/ 68 h 68"/>
                <a:gd name="T64" fmla="*/ 56 w 61"/>
                <a:gd name="T65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" h="68">
                  <a:moveTo>
                    <a:pt x="56" y="8"/>
                  </a:moveTo>
                  <a:cubicBezTo>
                    <a:pt x="56" y="4"/>
                    <a:pt x="53" y="1"/>
                    <a:pt x="49" y="1"/>
                  </a:cubicBezTo>
                  <a:cubicBezTo>
                    <a:pt x="48" y="1"/>
                    <a:pt x="43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3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8" y="1"/>
                    <a:pt x="5" y="4"/>
                    <a:pt x="5" y="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9" y="68"/>
                    <a:pt x="9" y="68"/>
                  </a:cubicBezTo>
                  <a:cubicBezTo>
                    <a:pt x="12" y="68"/>
                    <a:pt x="15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8"/>
                    <a:pt x="35" y="68"/>
                    <a:pt x="43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6" y="68"/>
                    <a:pt x="49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5" y="68"/>
                    <a:pt x="58" y="68"/>
                    <a:pt x="61" y="68"/>
                  </a:cubicBezTo>
                  <a:lnTo>
                    <a:pt x="56" y="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75"/>
            <p:cNvSpPr>
              <a:spLocks/>
            </p:cNvSpPr>
            <p:nvPr/>
          </p:nvSpPr>
          <p:spPr bwMode="auto">
            <a:xfrm>
              <a:off x="8315754" y="3207118"/>
              <a:ext cx="16572" cy="20715"/>
            </a:xfrm>
            <a:custGeom>
              <a:avLst/>
              <a:gdLst>
                <a:gd name="T0" fmla="*/ 14 w 16"/>
                <a:gd name="T1" fmla="*/ 0 h 20"/>
                <a:gd name="T2" fmla="*/ 16 w 16"/>
                <a:gd name="T3" fmla="*/ 12 h 20"/>
                <a:gd name="T4" fmla="*/ 8 w 16"/>
                <a:gd name="T5" fmla="*/ 20 h 20"/>
                <a:gd name="T6" fmla="*/ 0 w 16"/>
                <a:gd name="T7" fmla="*/ 12 h 20"/>
                <a:gd name="T8" fmla="*/ 4 w 16"/>
                <a:gd name="T9" fmla="*/ 0 h 20"/>
                <a:gd name="T10" fmla="*/ 14 w 16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4" y="0"/>
                  </a:moveTo>
                  <a:lnTo>
                    <a:pt x="16" y="12"/>
                  </a:lnTo>
                  <a:lnTo>
                    <a:pt x="8" y="20"/>
                  </a:lnTo>
                  <a:lnTo>
                    <a:pt x="0" y="12"/>
                  </a:lnTo>
                  <a:lnTo>
                    <a:pt x="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176"/>
            <p:cNvSpPr>
              <a:spLocks/>
            </p:cNvSpPr>
            <p:nvPr/>
          </p:nvSpPr>
          <p:spPr bwMode="auto">
            <a:xfrm>
              <a:off x="8313683" y="3221619"/>
              <a:ext cx="20715" cy="79751"/>
            </a:xfrm>
            <a:custGeom>
              <a:avLst/>
              <a:gdLst>
                <a:gd name="T0" fmla="*/ 16 w 20"/>
                <a:gd name="T1" fmla="*/ 0 h 77"/>
                <a:gd name="T2" fmla="*/ 20 w 20"/>
                <a:gd name="T3" fmla="*/ 69 h 77"/>
                <a:gd name="T4" fmla="*/ 10 w 20"/>
                <a:gd name="T5" fmla="*/ 77 h 77"/>
                <a:gd name="T6" fmla="*/ 0 w 20"/>
                <a:gd name="T7" fmla="*/ 69 h 77"/>
                <a:gd name="T8" fmla="*/ 4 w 20"/>
                <a:gd name="T9" fmla="*/ 0 h 77"/>
                <a:gd name="T10" fmla="*/ 16 w 20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7">
                  <a:moveTo>
                    <a:pt x="16" y="0"/>
                  </a:moveTo>
                  <a:lnTo>
                    <a:pt x="20" y="69"/>
                  </a:lnTo>
                  <a:lnTo>
                    <a:pt x="10" y="77"/>
                  </a:lnTo>
                  <a:lnTo>
                    <a:pt x="0" y="69"/>
                  </a:lnTo>
                  <a:lnTo>
                    <a:pt x="4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177"/>
            <p:cNvSpPr>
              <a:spLocks/>
            </p:cNvSpPr>
            <p:nvPr/>
          </p:nvSpPr>
          <p:spPr bwMode="auto">
            <a:xfrm>
              <a:off x="8184217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1 w 13"/>
                <a:gd name="T3" fmla="*/ 42 h 42"/>
                <a:gd name="T4" fmla="*/ 12 w 13"/>
                <a:gd name="T5" fmla="*/ 42 h 42"/>
                <a:gd name="T6" fmla="*/ 12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3" y="28"/>
                    <a:pt x="12" y="0"/>
                    <a:pt x="12" y="0"/>
                  </a:cubicBezTo>
                  <a:cubicBezTo>
                    <a:pt x="12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178"/>
            <p:cNvSpPr>
              <a:spLocks/>
            </p:cNvSpPr>
            <p:nvPr/>
          </p:nvSpPr>
          <p:spPr bwMode="auto">
            <a:xfrm>
              <a:off x="8155216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2 w 13"/>
                <a:gd name="T3" fmla="*/ 42 h 42"/>
                <a:gd name="T4" fmla="*/ 13 w 13"/>
                <a:gd name="T5" fmla="*/ 42 h 42"/>
                <a:gd name="T6" fmla="*/ 13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2" y="42"/>
                    <a:pt x="2" y="42"/>
                    <a:pt x="2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Oval 179"/>
            <p:cNvSpPr>
              <a:spLocks noChangeArrowheads="1"/>
            </p:cNvSpPr>
            <p:nvPr/>
          </p:nvSpPr>
          <p:spPr bwMode="auto">
            <a:xfrm>
              <a:off x="8165574" y="3196761"/>
              <a:ext cx="35215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180"/>
            <p:cNvSpPr>
              <a:spLocks noChangeArrowheads="1"/>
            </p:cNvSpPr>
            <p:nvPr/>
          </p:nvSpPr>
          <p:spPr bwMode="auto">
            <a:xfrm>
              <a:off x="8182145" y="3295155"/>
              <a:ext cx="2072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181"/>
            <p:cNvSpPr>
              <a:spLocks noEditPoints="1"/>
            </p:cNvSpPr>
            <p:nvPr/>
          </p:nvSpPr>
          <p:spPr bwMode="auto">
            <a:xfrm>
              <a:off x="8136573" y="3242333"/>
              <a:ext cx="106681" cy="94252"/>
            </a:xfrm>
            <a:custGeom>
              <a:avLst/>
              <a:gdLst>
                <a:gd name="T0" fmla="*/ 51 w 52"/>
                <a:gd name="T1" fmla="*/ 17 h 46"/>
                <a:gd name="T2" fmla="*/ 51 w 52"/>
                <a:gd name="T3" fmla="*/ 17 h 46"/>
                <a:gd name="T4" fmla="*/ 51 w 52"/>
                <a:gd name="T5" fmla="*/ 17 h 46"/>
                <a:gd name="T6" fmla="*/ 37 w 52"/>
                <a:gd name="T7" fmla="*/ 2 h 46"/>
                <a:gd name="T8" fmla="*/ 34 w 52"/>
                <a:gd name="T9" fmla="*/ 0 h 46"/>
                <a:gd name="T10" fmla="*/ 29 w 52"/>
                <a:gd name="T11" fmla="*/ 0 h 46"/>
                <a:gd name="T12" fmla="*/ 29 w 52"/>
                <a:gd name="T13" fmla="*/ 0 h 46"/>
                <a:gd name="T14" fmla="*/ 33 w 52"/>
                <a:gd name="T15" fmla="*/ 3 h 46"/>
                <a:gd name="T16" fmla="*/ 29 w 52"/>
                <a:gd name="T17" fmla="*/ 5 h 46"/>
                <a:gd name="T18" fmla="*/ 31 w 52"/>
                <a:gd name="T19" fmla="*/ 9 h 46"/>
                <a:gd name="T20" fmla="*/ 23 w 52"/>
                <a:gd name="T21" fmla="*/ 26 h 46"/>
                <a:gd name="T22" fmla="*/ 23 w 52"/>
                <a:gd name="T23" fmla="*/ 26 h 46"/>
                <a:gd name="T24" fmla="*/ 22 w 52"/>
                <a:gd name="T25" fmla="*/ 26 h 46"/>
                <a:gd name="T26" fmla="*/ 22 w 52"/>
                <a:gd name="T27" fmla="*/ 26 h 46"/>
                <a:gd name="T28" fmla="*/ 22 w 52"/>
                <a:gd name="T29" fmla="*/ 26 h 46"/>
                <a:gd name="T30" fmla="*/ 14 w 52"/>
                <a:gd name="T31" fmla="*/ 9 h 46"/>
                <a:gd name="T32" fmla="*/ 16 w 52"/>
                <a:gd name="T33" fmla="*/ 5 h 46"/>
                <a:gd name="T34" fmla="*/ 12 w 52"/>
                <a:gd name="T35" fmla="*/ 3 h 46"/>
                <a:gd name="T36" fmla="*/ 16 w 52"/>
                <a:gd name="T37" fmla="*/ 0 h 46"/>
                <a:gd name="T38" fmla="*/ 16 w 52"/>
                <a:gd name="T39" fmla="*/ 0 h 46"/>
                <a:gd name="T40" fmla="*/ 11 w 52"/>
                <a:gd name="T41" fmla="*/ 0 h 46"/>
                <a:gd name="T42" fmla="*/ 7 w 52"/>
                <a:gd name="T43" fmla="*/ 4 h 46"/>
                <a:gd name="T44" fmla="*/ 0 w 52"/>
                <a:gd name="T45" fmla="*/ 23 h 46"/>
                <a:gd name="T46" fmla="*/ 8 w 52"/>
                <a:gd name="T47" fmla="*/ 46 h 46"/>
                <a:gd name="T48" fmla="*/ 13 w 52"/>
                <a:gd name="T49" fmla="*/ 44 h 46"/>
                <a:gd name="T50" fmla="*/ 37 w 52"/>
                <a:gd name="T51" fmla="*/ 44 h 46"/>
                <a:gd name="T52" fmla="*/ 37 w 52"/>
                <a:gd name="T53" fmla="*/ 43 h 46"/>
                <a:gd name="T54" fmla="*/ 36 w 52"/>
                <a:gd name="T55" fmla="*/ 38 h 46"/>
                <a:gd name="T56" fmla="*/ 43 w 52"/>
                <a:gd name="T57" fmla="*/ 41 h 46"/>
                <a:gd name="T58" fmla="*/ 47 w 52"/>
                <a:gd name="T59" fmla="*/ 32 h 46"/>
                <a:gd name="T60" fmla="*/ 49 w 52"/>
                <a:gd name="T61" fmla="*/ 27 h 46"/>
                <a:gd name="T62" fmla="*/ 51 w 52"/>
                <a:gd name="T63" fmla="*/ 25 h 46"/>
                <a:gd name="T64" fmla="*/ 51 w 52"/>
                <a:gd name="T65" fmla="*/ 24 h 46"/>
                <a:gd name="T66" fmla="*/ 51 w 52"/>
                <a:gd name="T67" fmla="*/ 23 h 46"/>
                <a:gd name="T68" fmla="*/ 52 w 52"/>
                <a:gd name="T69" fmla="*/ 23 h 46"/>
                <a:gd name="T70" fmla="*/ 52 w 52"/>
                <a:gd name="T71" fmla="*/ 23 h 46"/>
                <a:gd name="T72" fmla="*/ 52 w 52"/>
                <a:gd name="T73" fmla="*/ 23 h 46"/>
                <a:gd name="T74" fmla="*/ 52 w 52"/>
                <a:gd name="T75" fmla="*/ 23 h 46"/>
                <a:gd name="T76" fmla="*/ 51 w 52"/>
                <a:gd name="T77" fmla="*/ 17 h 46"/>
                <a:gd name="T78" fmla="*/ 40 w 52"/>
                <a:gd name="T79" fmla="*/ 22 h 46"/>
                <a:gd name="T80" fmla="*/ 38 w 52"/>
                <a:gd name="T81" fmla="*/ 27 h 46"/>
                <a:gd name="T82" fmla="*/ 36 w 52"/>
                <a:gd name="T83" fmla="*/ 29 h 46"/>
                <a:gd name="T84" fmla="*/ 36 w 52"/>
                <a:gd name="T85" fmla="*/ 15 h 46"/>
                <a:gd name="T86" fmla="*/ 41 w 52"/>
                <a:gd name="T87" fmla="*/ 21 h 46"/>
                <a:gd name="T88" fmla="*/ 40 w 52"/>
                <a:gd name="T89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" h="46">
                  <a:moveTo>
                    <a:pt x="51" y="17"/>
                  </a:move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0"/>
                  </a:cubicBezTo>
                  <a:cubicBezTo>
                    <a:pt x="34" y="0"/>
                    <a:pt x="31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37"/>
                    <a:pt x="5" y="38"/>
                    <a:pt x="8" y="46"/>
                  </a:cubicBezTo>
                  <a:cubicBezTo>
                    <a:pt x="9" y="45"/>
                    <a:pt x="11" y="44"/>
                    <a:pt x="13" y="44"/>
                  </a:cubicBezTo>
                  <a:cubicBezTo>
                    <a:pt x="21" y="44"/>
                    <a:pt x="29" y="44"/>
                    <a:pt x="37" y="44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1"/>
                    <a:pt x="36" y="39"/>
                    <a:pt x="36" y="38"/>
                  </a:cubicBezTo>
                  <a:cubicBezTo>
                    <a:pt x="38" y="39"/>
                    <a:pt x="41" y="40"/>
                    <a:pt x="43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20"/>
                    <a:pt x="52" y="29"/>
                    <a:pt x="51" y="17"/>
                  </a:cubicBezTo>
                  <a:close/>
                  <a:moveTo>
                    <a:pt x="40" y="22"/>
                  </a:moveTo>
                  <a:cubicBezTo>
                    <a:pt x="38" y="27"/>
                    <a:pt x="38" y="27"/>
                    <a:pt x="38" y="27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4"/>
                    <a:pt x="36" y="20"/>
                    <a:pt x="36" y="15"/>
                  </a:cubicBezTo>
                  <a:cubicBezTo>
                    <a:pt x="41" y="21"/>
                    <a:pt x="41" y="21"/>
                    <a:pt x="41" y="21"/>
                  </a:cubicBezTo>
                  <a:lnTo>
                    <a:pt x="40" y="2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182"/>
            <p:cNvSpPr>
              <a:spLocks/>
            </p:cNvSpPr>
            <p:nvPr/>
          </p:nvSpPr>
          <p:spPr bwMode="auto">
            <a:xfrm>
              <a:off x="8178002" y="3240261"/>
              <a:ext cx="10358" cy="12429"/>
            </a:xfrm>
            <a:custGeom>
              <a:avLst/>
              <a:gdLst>
                <a:gd name="T0" fmla="*/ 2 w 10"/>
                <a:gd name="T1" fmla="*/ 0 h 12"/>
                <a:gd name="T2" fmla="*/ 0 w 10"/>
                <a:gd name="T3" fmla="*/ 8 h 12"/>
                <a:gd name="T4" fmla="*/ 4 w 10"/>
                <a:gd name="T5" fmla="*/ 12 h 12"/>
                <a:gd name="T6" fmla="*/ 10 w 10"/>
                <a:gd name="T7" fmla="*/ 8 h 12"/>
                <a:gd name="T8" fmla="*/ 8 w 10"/>
                <a:gd name="T9" fmla="*/ 0 h 12"/>
                <a:gd name="T10" fmla="*/ 2 w 1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2" y="0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183"/>
            <p:cNvSpPr>
              <a:spLocks/>
            </p:cNvSpPr>
            <p:nvPr/>
          </p:nvSpPr>
          <p:spPr bwMode="auto">
            <a:xfrm>
              <a:off x="8175930" y="3248547"/>
              <a:ext cx="14501" cy="50751"/>
            </a:xfrm>
            <a:custGeom>
              <a:avLst/>
              <a:gdLst>
                <a:gd name="T0" fmla="*/ 4 w 14"/>
                <a:gd name="T1" fmla="*/ 0 h 49"/>
                <a:gd name="T2" fmla="*/ 0 w 14"/>
                <a:gd name="T3" fmla="*/ 45 h 49"/>
                <a:gd name="T4" fmla="*/ 6 w 14"/>
                <a:gd name="T5" fmla="*/ 49 h 49"/>
                <a:gd name="T6" fmla="*/ 14 w 14"/>
                <a:gd name="T7" fmla="*/ 45 h 49"/>
                <a:gd name="T8" fmla="*/ 10 w 14"/>
                <a:gd name="T9" fmla="*/ 0 h 49"/>
                <a:gd name="T10" fmla="*/ 4 w 1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9">
                  <a:moveTo>
                    <a:pt x="4" y="0"/>
                  </a:moveTo>
                  <a:lnTo>
                    <a:pt x="0" y="45"/>
                  </a:lnTo>
                  <a:lnTo>
                    <a:pt x="6" y="49"/>
                  </a:lnTo>
                  <a:lnTo>
                    <a:pt x="14" y="45"/>
                  </a:lnTo>
                  <a:lnTo>
                    <a:pt x="1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84"/>
            <p:cNvSpPr>
              <a:spLocks/>
            </p:cNvSpPr>
            <p:nvPr/>
          </p:nvSpPr>
          <p:spPr bwMode="auto">
            <a:xfrm>
              <a:off x="8465936" y="3326228"/>
              <a:ext cx="24857" cy="88037"/>
            </a:xfrm>
            <a:custGeom>
              <a:avLst/>
              <a:gdLst>
                <a:gd name="T0" fmla="*/ 0 w 12"/>
                <a:gd name="T1" fmla="*/ 0 h 43"/>
                <a:gd name="T2" fmla="*/ 1 w 12"/>
                <a:gd name="T3" fmla="*/ 43 h 43"/>
                <a:gd name="T4" fmla="*/ 12 w 12"/>
                <a:gd name="T5" fmla="*/ 43 h 43"/>
                <a:gd name="T6" fmla="*/ 12 w 12"/>
                <a:gd name="T7" fmla="*/ 0 h 43"/>
                <a:gd name="T8" fmla="*/ 0 w 12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28"/>
                    <a:pt x="12" y="0"/>
                    <a:pt x="12" y="0"/>
                  </a:cubicBezTo>
                  <a:cubicBezTo>
                    <a:pt x="12" y="0"/>
                    <a:pt x="4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185"/>
            <p:cNvSpPr>
              <a:spLocks/>
            </p:cNvSpPr>
            <p:nvPr/>
          </p:nvSpPr>
          <p:spPr bwMode="auto">
            <a:xfrm>
              <a:off x="8436936" y="3326228"/>
              <a:ext cx="26929" cy="88037"/>
            </a:xfrm>
            <a:custGeom>
              <a:avLst/>
              <a:gdLst>
                <a:gd name="T0" fmla="*/ 0 w 13"/>
                <a:gd name="T1" fmla="*/ 0 h 43"/>
                <a:gd name="T2" fmla="*/ 1 w 13"/>
                <a:gd name="T3" fmla="*/ 43 h 43"/>
                <a:gd name="T4" fmla="*/ 13 w 13"/>
                <a:gd name="T5" fmla="*/ 43 h 43"/>
                <a:gd name="T6" fmla="*/ 13 w 13"/>
                <a:gd name="T7" fmla="*/ 0 h 43"/>
                <a:gd name="T8" fmla="*/ 0 w 13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Oval 186"/>
            <p:cNvSpPr>
              <a:spLocks noChangeArrowheads="1"/>
            </p:cNvSpPr>
            <p:nvPr/>
          </p:nvSpPr>
          <p:spPr bwMode="auto">
            <a:xfrm>
              <a:off x="8447294" y="3198832"/>
              <a:ext cx="33143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187"/>
            <p:cNvSpPr>
              <a:spLocks noChangeArrowheads="1"/>
            </p:cNvSpPr>
            <p:nvPr/>
          </p:nvSpPr>
          <p:spPr bwMode="auto">
            <a:xfrm>
              <a:off x="8463865" y="3297227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188"/>
            <p:cNvSpPr>
              <a:spLocks/>
            </p:cNvSpPr>
            <p:nvPr/>
          </p:nvSpPr>
          <p:spPr bwMode="auto">
            <a:xfrm>
              <a:off x="8418292" y="3244404"/>
              <a:ext cx="89073" cy="94252"/>
            </a:xfrm>
            <a:custGeom>
              <a:avLst/>
              <a:gdLst>
                <a:gd name="T0" fmla="*/ 42 w 43"/>
                <a:gd name="T1" fmla="*/ 24 h 46"/>
                <a:gd name="T2" fmla="*/ 38 w 43"/>
                <a:gd name="T3" fmla="*/ 5 h 46"/>
                <a:gd name="T4" fmla="*/ 34 w 43"/>
                <a:gd name="T5" fmla="*/ 1 h 46"/>
                <a:gd name="T6" fmla="*/ 29 w 43"/>
                <a:gd name="T7" fmla="*/ 0 h 46"/>
                <a:gd name="T8" fmla="*/ 29 w 43"/>
                <a:gd name="T9" fmla="*/ 0 h 46"/>
                <a:gd name="T10" fmla="*/ 32 w 43"/>
                <a:gd name="T11" fmla="*/ 3 h 46"/>
                <a:gd name="T12" fmla="*/ 28 w 43"/>
                <a:gd name="T13" fmla="*/ 5 h 46"/>
                <a:gd name="T14" fmla="*/ 30 w 43"/>
                <a:gd name="T15" fmla="*/ 9 h 46"/>
                <a:gd name="T16" fmla="*/ 22 w 43"/>
                <a:gd name="T17" fmla="*/ 26 h 46"/>
                <a:gd name="T18" fmla="*/ 22 w 43"/>
                <a:gd name="T19" fmla="*/ 26 h 46"/>
                <a:gd name="T20" fmla="*/ 22 w 43"/>
                <a:gd name="T21" fmla="*/ 26 h 46"/>
                <a:gd name="T22" fmla="*/ 22 w 43"/>
                <a:gd name="T23" fmla="*/ 26 h 46"/>
                <a:gd name="T24" fmla="*/ 22 w 43"/>
                <a:gd name="T25" fmla="*/ 26 h 46"/>
                <a:gd name="T26" fmla="*/ 14 w 43"/>
                <a:gd name="T27" fmla="*/ 9 h 46"/>
                <a:gd name="T28" fmla="*/ 16 w 43"/>
                <a:gd name="T29" fmla="*/ 5 h 46"/>
                <a:gd name="T30" fmla="*/ 12 w 43"/>
                <a:gd name="T31" fmla="*/ 3 h 46"/>
                <a:gd name="T32" fmla="*/ 15 w 43"/>
                <a:gd name="T33" fmla="*/ 0 h 46"/>
                <a:gd name="T34" fmla="*/ 15 w 43"/>
                <a:gd name="T35" fmla="*/ 0 h 46"/>
                <a:gd name="T36" fmla="*/ 11 w 43"/>
                <a:gd name="T37" fmla="*/ 1 h 46"/>
                <a:gd name="T38" fmla="*/ 7 w 43"/>
                <a:gd name="T39" fmla="*/ 4 h 46"/>
                <a:gd name="T40" fmla="*/ 0 w 43"/>
                <a:gd name="T41" fmla="*/ 23 h 46"/>
                <a:gd name="T42" fmla="*/ 7 w 43"/>
                <a:gd name="T43" fmla="*/ 46 h 46"/>
                <a:gd name="T44" fmla="*/ 12 w 43"/>
                <a:gd name="T45" fmla="*/ 44 h 46"/>
                <a:gd name="T46" fmla="*/ 30 w 43"/>
                <a:gd name="T47" fmla="*/ 44 h 46"/>
                <a:gd name="T48" fmla="*/ 30 w 43"/>
                <a:gd name="T49" fmla="*/ 45 h 46"/>
                <a:gd name="T50" fmla="*/ 42 w 43"/>
                <a:gd name="T51" fmla="*/ 45 h 46"/>
                <a:gd name="T52" fmla="*/ 42 w 43"/>
                <a:gd name="T5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46">
                  <a:moveTo>
                    <a:pt x="42" y="24"/>
                  </a:moveTo>
                  <a:cubicBezTo>
                    <a:pt x="38" y="5"/>
                    <a:pt x="38" y="5"/>
                    <a:pt x="38" y="5"/>
                  </a:cubicBezTo>
                  <a:cubicBezTo>
                    <a:pt x="37" y="3"/>
                    <a:pt x="36" y="1"/>
                    <a:pt x="34" y="1"/>
                  </a:cubicBezTo>
                  <a:cubicBezTo>
                    <a:pt x="34" y="1"/>
                    <a:pt x="30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1" y="0"/>
                    <a:pt x="11" y="1"/>
                  </a:cubicBezTo>
                  <a:cubicBezTo>
                    <a:pt x="9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37"/>
                    <a:pt x="5" y="38"/>
                    <a:pt x="7" y="46"/>
                  </a:cubicBezTo>
                  <a:cubicBezTo>
                    <a:pt x="9" y="45"/>
                    <a:pt x="11" y="44"/>
                    <a:pt x="12" y="44"/>
                  </a:cubicBezTo>
                  <a:cubicBezTo>
                    <a:pt x="18" y="44"/>
                    <a:pt x="24" y="44"/>
                    <a:pt x="30" y="44"/>
                  </a:cubicBezTo>
                  <a:cubicBezTo>
                    <a:pt x="30" y="44"/>
                    <a:pt x="30" y="44"/>
                    <a:pt x="30" y="45"/>
                  </a:cubicBezTo>
                  <a:cubicBezTo>
                    <a:pt x="34" y="45"/>
                    <a:pt x="38" y="45"/>
                    <a:pt x="42" y="45"/>
                  </a:cubicBezTo>
                  <a:cubicBezTo>
                    <a:pt x="42" y="38"/>
                    <a:pt x="43" y="33"/>
                    <a:pt x="42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189"/>
            <p:cNvSpPr>
              <a:spLocks/>
            </p:cNvSpPr>
            <p:nvPr/>
          </p:nvSpPr>
          <p:spPr bwMode="auto">
            <a:xfrm>
              <a:off x="8457650" y="3244404"/>
              <a:ext cx="12429" cy="12429"/>
            </a:xfrm>
            <a:custGeom>
              <a:avLst/>
              <a:gdLst>
                <a:gd name="T0" fmla="*/ 2 w 12"/>
                <a:gd name="T1" fmla="*/ 0 h 12"/>
                <a:gd name="T2" fmla="*/ 0 w 12"/>
                <a:gd name="T3" fmla="*/ 8 h 12"/>
                <a:gd name="T4" fmla="*/ 6 w 12"/>
                <a:gd name="T5" fmla="*/ 12 h 12"/>
                <a:gd name="T6" fmla="*/ 12 w 12"/>
                <a:gd name="T7" fmla="*/ 8 h 12"/>
                <a:gd name="T8" fmla="*/ 10 w 12"/>
                <a:gd name="T9" fmla="*/ 0 h 12"/>
                <a:gd name="T10" fmla="*/ 2 w 1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lnTo>
                    <a:pt x="0" y="8"/>
                  </a:lnTo>
                  <a:lnTo>
                    <a:pt x="6" y="12"/>
                  </a:lnTo>
                  <a:lnTo>
                    <a:pt x="12" y="8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190"/>
            <p:cNvSpPr>
              <a:spLocks/>
            </p:cNvSpPr>
            <p:nvPr/>
          </p:nvSpPr>
          <p:spPr bwMode="auto">
            <a:xfrm>
              <a:off x="8457650" y="3252690"/>
              <a:ext cx="12429" cy="50751"/>
            </a:xfrm>
            <a:custGeom>
              <a:avLst/>
              <a:gdLst>
                <a:gd name="T0" fmla="*/ 2 w 12"/>
                <a:gd name="T1" fmla="*/ 0 h 49"/>
                <a:gd name="T2" fmla="*/ 0 w 12"/>
                <a:gd name="T3" fmla="*/ 43 h 49"/>
                <a:gd name="T4" fmla="*/ 6 w 12"/>
                <a:gd name="T5" fmla="*/ 49 h 49"/>
                <a:gd name="T6" fmla="*/ 12 w 12"/>
                <a:gd name="T7" fmla="*/ 43 h 49"/>
                <a:gd name="T8" fmla="*/ 10 w 12"/>
                <a:gd name="T9" fmla="*/ 0 h 49"/>
                <a:gd name="T10" fmla="*/ 2 w 1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9">
                  <a:moveTo>
                    <a:pt x="2" y="0"/>
                  </a:moveTo>
                  <a:lnTo>
                    <a:pt x="0" y="43"/>
                  </a:lnTo>
                  <a:lnTo>
                    <a:pt x="6" y="49"/>
                  </a:lnTo>
                  <a:lnTo>
                    <a:pt x="12" y="43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36116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>
            <a:extLst>
              <a:ext uri="{FF2B5EF4-FFF2-40B4-BE49-F238E27FC236}">
                <a16:creationId xmlns:a16="http://schemas.microsoft.com/office/drawing/2014/main" id="{3AC21815-DF78-4DD7-BB6B-746F70D8BB3F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209611" y="4322954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53FDAC54-2172-4C6D-9247-C47C1024ADCE}"/>
              </a:ext>
            </a:extLst>
          </p:cNvPr>
          <p:cNvSpPr txBox="1"/>
          <p:nvPr userDrawn="1"/>
        </p:nvSpPr>
        <p:spPr>
          <a:xfrm rot="1515553">
            <a:off x="428179" y="435207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融资计划</a:t>
            </a: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337292" y="2087912"/>
            <a:ext cx="0" cy="2148591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27553" y="3242516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29499" y="3732528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27553" y="2762483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0" name="Oval 33"/>
          <p:cNvSpPr>
            <a:spLocks noChangeArrowheads="1"/>
          </p:cNvSpPr>
          <p:nvPr/>
        </p:nvSpPr>
        <p:spPr bwMode="auto">
          <a:xfrm>
            <a:off x="230020" y="3000974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41" name="Oval 33"/>
          <p:cNvSpPr>
            <a:spLocks noChangeArrowheads="1"/>
          </p:cNvSpPr>
          <p:nvPr/>
        </p:nvSpPr>
        <p:spPr bwMode="auto">
          <a:xfrm>
            <a:off x="244107" y="3015061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0" name="Oval 33"/>
          <p:cNvSpPr>
            <a:spLocks noChangeArrowheads="1"/>
          </p:cNvSpPr>
          <p:nvPr/>
        </p:nvSpPr>
        <p:spPr bwMode="auto">
          <a:xfrm>
            <a:off x="227553" y="3484263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1" name="Oval 33"/>
          <p:cNvSpPr>
            <a:spLocks noChangeArrowheads="1"/>
          </p:cNvSpPr>
          <p:nvPr/>
        </p:nvSpPr>
        <p:spPr bwMode="auto">
          <a:xfrm>
            <a:off x="241640" y="3498350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grpSp>
        <p:nvGrpSpPr>
          <p:cNvPr id="72" name="组合 71"/>
          <p:cNvGrpSpPr/>
          <p:nvPr/>
        </p:nvGrpSpPr>
        <p:grpSpPr>
          <a:xfrm>
            <a:off x="276060" y="3056862"/>
            <a:ext cx="112696" cy="112696"/>
            <a:chOff x="5526525" y="3190546"/>
            <a:chExt cx="364578" cy="339721"/>
          </a:xfrm>
        </p:grpSpPr>
        <p:sp>
          <p:nvSpPr>
            <p:cNvPr id="73" name="Freeform 143"/>
            <p:cNvSpPr>
              <a:spLocks/>
            </p:cNvSpPr>
            <p:nvPr/>
          </p:nvSpPr>
          <p:spPr bwMode="auto">
            <a:xfrm>
              <a:off x="5574169" y="3252690"/>
              <a:ext cx="90109" cy="90109"/>
            </a:xfrm>
            <a:custGeom>
              <a:avLst/>
              <a:gdLst>
                <a:gd name="T0" fmla="*/ 0 w 44"/>
                <a:gd name="T1" fmla="*/ 22 h 44"/>
                <a:gd name="T2" fmla="*/ 22 w 44"/>
                <a:gd name="T3" fmla="*/ 44 h 44"/>
                <a:gd name="T4" fmla="*/ 44 w 44"/>
                <a:gd name="T5" fmla="*/ 25 h 44"/>
                <a:gd name="T6" fmla="*/ 19 w 44"/>
                <a:gd name="T7" fmla="*/ 25 h 44"/>
                <a:gd name="T8" fmla="*/ 19 w 44"/>
                <a:gd name="T9" fmla="*/ 0 h 44"/>
                <a:gd name="T10" fmla="*/ 0 w 44"/>
                <a:gd name="T11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3" y="44"/>
                    <a:pt x="43" y="36"/>
                    <a:pt x="44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2"/>
                    <a:pt x="0" y="11"/>
                    <a:pt x="0" y="2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144"/>
            <p:cNvSpPr>
              <a:spLocks noEditPoints="1"/>
            </p:cNvSpPr>
            <p:nvPr/>
          </p:nvSpPr>
          <p:spPr bwMode="auto">
            <a:xfrm>
              <a:off x="5619740" y="3252690"/>
              <a:ext cx="44537" cy="44537"/>
            </a:xfrm>
            <a:custGeom>
              <a:avLst/>
              <a:gdLst>
                <a:gd name="T0" fmla="*/ 0 w 22"/>
                <a:gd name="T1" fmla="*/ 0 h 22"/>
                <a:gd name="T2" fmla="*/ 0 w 22"/>
                <a:gd name="T3" fmla="*/ 0 h 22"/>
                <a:gd name="T4" fmla="*/ 0 w 22"/>
                <a:gd name="T5" fmla="*/ 22 h 22"/>
                <a:gd name="T6" fmla="*/ 22 w 22"/>
                <a:gd name="T7" fmla="*/ 22 h 22"/>
                <a:gd name="T8" fmla="*/ 0 w 22"/>
                <a:gd name="T9" fmla="*/ 0 h 22"/>
                <a:gd name="T10" fmla="*/ 2 w 22"/>
                <a:gd name="T11" fmla="*/ 3 h 22"/>
                <a:gd name="T12" fmla="*/ 19 w 22"/>
                <a:gd name="T13" fmla="*/ 20 h 22"/>
                <a:gd name="T14" fmla="*/ 2 w 22"/>
                <a:gd name="T15" fmla="*/ 20 h 22"/>
                <a:gd name="T16" fmla="*/ 2 w 22"/>
                <a:gd name="T17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0"/>
                    <a:pt x="12" y="0"/>
                    <a:pt x="0" y="0"/>
                  </a:cubicBezTo>
                  <a:close/>
                  <a:moveTo>
                    <a:pt x="2" y="3"/>
                  </a:moveTo>
                  <a:cubicBezTo>
                    <a:pt x="11" y="4"/>
                    <a:pt x="18" y="11"/>
                    <a:pt x="19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45"/>
            <p:cNvSpPr>
              <a:spLocks/>
            </p:cNvSpPr>
            <p:nvPr/>
          </p:nvSpPr>
          <p:spPr bwMode="auto">
            <a:xfrm>
              <a:off x="5684991" y="3282726"/>
              <a:ext cx="82859" cy="10358"/>
            </a:xfrm>
            <a:custGeom>
              <a:avLst/>
              <a:gdLst>
                <a:gd name="T0" fmla="*/ 0 w 80"/>
                <a:gd name="T1" fmla="*/ 6 h 10"/>
                <a:gd name="T2" fmla="*/ 30 w 80"/>
                <a:gd name="T3" fmla="*/ 10 h 10"/>
                <a:gd name="T4" fmla="*/ 72 w 80"/>
                <a:gd name="T5" fmla="*/ 10 h 10"/>
                <a:gd name="T6" fmla="*/ 80 w 80"/>
                <a:gd name="T7" fmla="*/ 0 h 10"/>
                <a:gd name="T8" fmla="*/ 0 w 80"/>
                <a:gd name="T9" fmla="*/ 0 h 10"/>
                <a:gd name="T10" fmla="*/ 0 w 80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">
                  <a:moveTo>
                    <a:pt x="0" y="6"/>
                  </a:moveTo>
                  <a:lnTo>
                    <a:pt x="30" y="10"/>
                  </a:lnTo>
                  <a:lnTo>
                    <a:pt x="72" y="10"/>
                  </a:lnTo>
                  <a:lnTo>
                    <a:pt x="8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46"/>
            <p:cNvSpPr>
              <a:spLocks/>
            </p:cNvSpPr>
            <p:nvPr/>
          </p:nvSpPr>
          <p:spPr bwMode="auto">
            <a:xfrm>
              <a:off x="5684992" y="3262011"/>
              <a:ext cx="108752" cy="10358"/>
            </a:xfrm>
            <a:custGeom>
              <a:avLst/>
              <a:gdLst>
                <a:gd name="T0" fmla="*/ 0 w 53"/>
                <a:gd name="T1" fmla="*/ 0 h 5"/>
                <a:gd name="T2" fmla="*/ 0 w 53"/>
                <a:gd name="T3" fmla="*/ 5 h 5"/>
                <a:gd name="T4" fmla="*/ 53 w 53"/>
                <a:gd name="T5" fmla="*/ 5 h 5"/>
                <a:gd name="T6" fmla="*/ 50 w 53"/>
                <a:gd name="T7" fmla="*/ 0 h 5"/>
                <a:gd name="T8" fmla="*/ 0 w 5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4"/>
                    <a:pt x="51" y="2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47"/>
            <p:cNvSpPr>
              <a:spLocks/>
            </p:cNvSpPr>
            <p:nvPr/>
          </p:nvSpPr>
          <p:spPr bwMode="auto">
            <a:xfrm>
              <a:off x="5526525" y="3190546"/>
              <a:ext cx="364578" cy="187468"/>
            </a:xfrm>
            <a:custGeom>
              <a:avLst/>
              <a:gdLst>
                <a:gd name="T0" fmla="*/ 0 w 177"/>
                <a:gd name="T1" fmla="*/ 0 h 91"/>
                <a:gd name="T2" fmla="*/ 0 w 177"/>
                <a:gd name="T3" fmla="*/ 20 h 91"/>
                <a:gd name="T4" fmla="*/ 9 w 177"/>
                <a:gd name="T5" fmla="*/ 20 h 91"/>
                <a:gd name="T6" fmla="*/ 9 w 177"/>
                <a:gd name="T7" fmla="*/ 91 h 91"/>
                <a:gd name="T8" fmla="*/ 116 w 177"/>
                <a:gd name="T9" fmla="*/ 91 h 91"/>
                <a:gd name="T10" fmla="*/ 117 w 177"/>
                <a:gd name="T11" fmla="*/ 85 h 91"/>
                <a:gd name="T12" fmla="*/ 14 w 177"/>
                <a:gd name="T13" fmla="*/ 85 h 91"/>
                <a:gd name="T14" fmla="*/ 14 w 177"/>
                <a:gd name="T15" fmla="*/ 20 h 91"/>
                <a:gd name="T16" fmla="*/ 126 w 177"/>
                <a:gd name="T17" fmla="*/ 20 h 91"/>
                <a:gd name="T18" fmla="*/ 141 w 177"/>
                <a:gd name="T19" fmla="*/ 8 h 91"/>
                <a:gd name="T20" fmla="*/ 156 w 177"/>
                <a:gd name="T21" fmla="*/ 20 h 91"/>
                <a:gd name="T22" fmla="*/ 163 w 177"/>
                <a:gd name="T23" fmla="*/ 20 h 91"/>
                <a:gd name="T24" fmla="*/ 163 w 177"/>
                <a:gd name="T25" fmla="*/ 42 h 91"/>
                <a:gd name="T26" fmla="*/ 168 w 177"/>
                <a:gd name="T27" fmla="*/ 48 h 91"/>
                <a:gd name="T28" fmla="*/ 168 w 177"/>
                <a:gd name="T29" fmla="*/ 20 h 91"/>
                <a:gd name="T30" fmla="*/ 177 w 177"/>
                <a:gd name="T31" fmla="*/ 20 h 91"/>
                <a:gd name="T32" fmla="*/ 177 w 177"/>
                <a:gd name="T33" fmla="*/ 0 h 91"/>
                <a:gd name="T34" fmla="*/ 0 w 177"/>
                <a:gd name="T3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7" h="91">
                  <a:moveTo>
                    <a:pt x="0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17" y="89"/>
                    <a:pt x="117" y="87"/>
                    <a:pt x="117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8" y="13"/>
                    <a:pt x="134" y="8"/>
                    <a:pt x="141" y="8"/>
                  </a:cubicBezTo>
                  <a:cubicBezTo>
                    <a:pt x="148" y="8"/>
                    <a:pt x="154" y="13"/>
                    <a:pt x="156" y="20"/>
                  </a:cubicBezTo>
                  <a:cubicBezTo>
                    <a:pt x="163" y="20"/>
                    <a:pt x="163" y="20"/>
                    <a:pt x="163" y="20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5" y="43"/>
                    <a:pt x="167" y="45"/>
                    <a:pt x="168" y="48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77" y="20"/>
                    <a:pt x="177" y="20"/>
                    <a:pt x="177" y="20"/>
                  </a:cubicBezTo>
                  <a:cubicBezTo>
                    <a:pt x="177" y="0"/>
                    <a:pt x="177" y="0"/>
                    <a:pt x="17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Oval 148"/>
            <p:cNvSpPr>
              <a:spLocks noChangeArrowheads="1"/>
            </p:cNvSpPr>
            <p:nvPr/>
          </p:nvSpPr>
          <p:spPr bwMode="auto">
            <a:xfrm>
              <a:off x="5791673" y="3215404"/>
              <a:ext cx="49715" cy="5903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149"/>
            <p:cNvSpPr>
              <a:spLocks/>
            </p:cNvSpPr>
            <p:nvPr/>
          </p:nvSpPr>
          <p:spPr bwMode="auto">
            <a:xfrm>
              <a:off x="5687063" y="3278583"/>
              <a:ext cx="187468" cy="251684"/>
            </a:xfrm>
            <a:custGeom>
              <a:avLst/>
              <a:gdLst>
                <a:gd name="T0" fmla="*/ 80 w 91"/>
                <a:gd name="T1" fmla="*/ 2 h 122"/>
                <a:gd name="T2" fmla="*/ 79 w 91"/>
                <a:gd name="T3" fmla="*/ 2 h 122"/>
                <a:gd name="T4" fmla="*/ 79 w 91"/>
                <a:gd name="T5" fmla="*/ 2 h 122"/>
                <a:gd name="T6" fmla="*/ 73 w 91"/>
                <a:gd name="T7" fmla="*/ 1 h 122"/>
                <a:gd name="T8" fmla="*/ 73 w 91"/>
                <a:gd name="T9" fmla="*/ 2 h 122"/>
                <a:gd name="T10" fmla="*/ 78 w 91"/>
                <a:gd name="T11" fmla="*/ 6 h 122"/>
                <a:gd name="T12" fmla="*/ 72 w 91"/>
                <a:gd name="T13" fmla="*/ 9 h 122"/>
                <a:gd name="T14" fmla="*/ 75 w 91"/>
                <a:gd name="T15" fmla="*/ 14 h 122"/>
                <a:gd name="T16" fmla="*/ 67 w 91"/>
                <a:gd name="T17" fmla="*/ 31 h 122"/>
                <a:gd name="T18" fmla="*/ 66 w 91"/>
                <a:gd name="T19" fmla="*/ 7 h 122"/>
                <a:gd name="T20" fmla="*/ 67 w 91"/>
                <a:gd name="T21" fmla="*/ 6 h 122"/>
                <a:gd name="T22" fmla="*/ 65 w 91"/>
                <a:gd name="T23" fmla="*/ 0 h 122"/>
                <a:gd name="T24" fmla="*/ 61 w 91"/>
                <a:gd name="T25" fmla="*/ 0 h 122"/>
                <a:gd name="T26" fmla="*/ 59 w 91"/>
                <a:gd name="T27" fmla="*/ 6 h 122"/>
                <a:gd name="T28" fmla="*/ 60 w 91"/>
                <a:gd name="T29" fmla="*/ 7 h 122"/>
                <a:gd name="T30" fmla="*/ 59 w 91"/>
                <a:gd name="T31" fmla="*/ 31 h 122"/>
                <a:gd name="T32" fmla="*/ 51 w 91"/>
                <a:gd name="T33" fmla="*/ 14 h 122"/>
                <a:gd name="T34" fmla="*/ 54 w 91"/>
                <a:gd name="T35" fmla="*/ 9 h 122"/>
                <a:gd name="T36" fmla="*/ 48 w 91"/>
                <a:gd name="T37" fmla="*/ 6 h 122"/>
                <a:gd name="T38" fmla="*/ 53 w 91"/>
                <a:gd name="T39" fmla="*/ 2 h 122"/>
                <a:gd name="T40" fmla="*/ 53 w 91"/>
                <a:gd name="T41" fmla="*/ 1 h 122"/>
                <a:gd name="T42" fmla="*/ 49 w 91"/>
                <a:gd name="T43" fmla="*/ 2 h 122"/>
                <a:gd name="T44" fmla="*/ 47 w 91"/>
                <a:gd name="T45" fmla="*/ 2 h 122"/>
                <a:gd name="T46" fmla="*/ 47 w 91"/>
                <a:gd name="T47" fmla="*/ 2 h 122"/>
                <a:gd name="T48" fmla="*/ 46 w 91"/>
                <a:gd name="T49" fmla="*/ 2 h 122"/>
                <a:gd name="T50" fmla="*/ 44 w 91"/>
                <a:gd name="T51" fmla="*/ 4 h 122"/>
                <a:gd name="T52" fmla="*/ 34 w 91"/>
                <a:gd name="T53" fmla="*/ 13 h 122"/>
                <a:gd name="T54" fmla="*/ 34 w 91"/>
                <a:gd name="T55" fmla="*/ 14 h 122"/>
                <a:gd name="T56" fmla="*/ 29 w 91"/>
                <a:gd name="T57" fmla="*/ 13 h 122"/>
                <a:gd name="T58" fmla="*/ 2 w 91"/>
                <a:gd name="T59" fmla="*/ 9 h 122"/>
                <a:gd name="T60" fmla="*/ 0 w 91"/>
                <a:gd name="T61" fmla="*/ 26 h 122"/>
                <a:gd name="T62" fmla="*/ 27 w 91"/>
                <a:gd name="T63" fmla="*/ 28 h 122"/>
                <a:gd name="T64" fmla="*/ 34 w 91"/>
                <a:gd name="T65" fmla="*/ 29 h 122"/>
                <a:gd name="T66" fmla="*/ 35 w 91"/>
                <a:gd name="T67" fmla="*/ 29 h 122"/>
                <a:gd name="T68" fmla="*/ 36 w 91"/>
                <a:gd name="T69" fmla="*/ 29 h 122"/>
                <a:gd name="T70" fmla="*/ 43 w 91"/>
                <a:gd name="T71" fmla="*/ 26 h 122"/>
                <a:gd name="T72" fmla="*/ 43 w 91"/>
                <a:gd name="T73" fmla="*/ 25 h 122"/>
                <a:gd name="T74" fmla="*/ 42 w 91"/>
                <a:gd name="T75" fmla="*/ 65 h 122"/>
                <a:gd name="T76" fmla="*/ 42 w 91"/>
                <a:gd name="T77" fmla="*/ 65 h 122"/>
                <a:gd name="T78" fmla="*/ 44 w 91"/>
                <a:gd name="T79" fmla="*/ 65 h 122"/>
                <a:gd name="T80" fmla="*/ 46 w 91"/>
                <a:gd name="T81" fmla="*/ 122 h 122"/>
                <a:gd name="T82" fmla="*/ 62 w 91"/>
                <a:gd name="T83" fmla="*/ 122 h 122"/>
                <a:gd name="T84" fmla="*/ 62 w 91"/>
                <a:gd name="T85" fmla="*/ 65 h 122"/>
                <a:gd name="T86" fmla="*/ 64 w 91"/>
                <a:gd name="T87" fmla="*/ 65 h 122"/>
                <a:gd name="T88" fmla="*/ 66 w 91"/>
                <a:gd name="T89" fmla="*/ 122 h 122"/>
                <a:gd name="T90" fmla="*/ 82 w 91"/>
                <a:gd name="T91" fmla="*/ 122 h 122"/>
                <a:gd name="T92" fmla="*/ 82 w 91"/>
                <a:gd name="T93" fmla="*/ 65 h 122"/>
                <a:gd name="T94" fmla="*/ 84 w 91"/>
                <a:gd name="T95" fmla="*/ 65 h 122"/>
                <a:gd name="T96" fmla="*/ 84 w 91"/>
                <a:gd name="T97" fmla="*/ 65 h 122"/>
                <a:gd name="T98" fmla="*/ 91 w 91"/>
                <a:gd name="T99" fmla="*/ 64 h 122"/>
                <a:gd name="T100" fmla="*/ 87 w 91"/>
                <a:gd name="T101" fmla="*/ 9 h 122"/>
                <a:gd name="T102" fmla="*/ 80 w 91"/>
                <a:gd name="T103" fmla="*/ 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" h="122">
                  <a:moveTo>
                    <a:pt x="80" y="2"/>
                  </a:moveTo>
                  <a:cubicBezTo>
                    <a:pt x="79" y="2"/>
                    <a:pt x="79" y="2"/>
                    <a:pt x="79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7" y="2"/>
                    <a:pt x="75" y="2"/>
                    <a:pt x="73" y="1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2"/>
                    <a:pt x="50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5" y="3"/>
                    <a:pt x="45" y="3"/>
                    <a:pt x="44" y="4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4"/>
                    <a:pt x="1" y="20"/>
                    <a:pt x="0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8"/>
                    <a:pt x="43" y="26"/>
                    <a:pt x="43" y="26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38"/>
                    <a:pt x="43" y="51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3" y="65"/>
                    <a:pt x="44" y="65"/>
                    <a:pt x="44" y="65"/>
                  </a:cubicBezTo>
                  <a:cubicBezTo>
                    <a:pt x="46" y="122"/>
                    <a:pt x="46" y="122"/>
                    <a:pt x="46" y="122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3" y="105"/>
                    <a:pt x="62" y="76"/>
                    <a:pt x="62" y="65"/>
                  </a:cubicBezTo>
                  <a:cubicBezTo>
                    <a:pt x="63" y="65"/>
                    <a:pt x="63" y="65"/>
                    <a:pt x="64" y="65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2" y="105"/>
                    <a:pt x="82" y="76"/>
                    <a:pt x="82" y="65"/>
                  </a:cubicBezTo>
                  <a:cubicBezTo>
                    <a:pt x="82" y="65"/>
                    <a:pt x="83" y="65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6" y="65"/>
                    <a:pt x="89" y="64"/>
                    <a:pt x="91" y="64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5"/>
                    <a:pt x="83" y="2"/>
                    <a:pt x="8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6" name="组合 85"/>
          <p:cNvGrpSpPr/>
          <p:nvPr userDrawn="1"/>
        </p:nvGrpSpPr>
        <p:grpSpPr>
          <a:xfrm>
            <a:off x="228274" y="2514760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28275" y="2016209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28473" y="2264720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103042" y="4016628"/>
            <a:ext cx="468000" cy="468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42" name="组合 41"/>
          <p:cNvGrpSpPr/>
          <p:nvPr/>
        </p:nvGrpSpPr>
        <p:grpSpPr>
          <a:xfrm>
            <a:off x="268958" y="3529496"/>
            <a:ext cx="131478" cy="122087"/>
            <a:chOff x="8111715" y="3136688"/>
            <a:chExt cx="425687" cy="391508"/>
          </a:xfrm>
        </p:grpSpPr>
        <p:sp>
          <p:nvSpPr>
            <p:cNvPr id="43" name="Freeform 165"/>
            <p:cNvSpPr>
              <a:spLocks noEditPoints="1"/>
            </p:cNvSpPr>
            <p:nvPr/>
          </p:nvSpPr>
          <p:spPr bwMode="auto">
            <a:xfrm>
              <a:off x="8111715" y="3388371"/>
              <a:ext cx="141896" cy="48680"/>
            </a:xfrm>
            <a:custGeom>
              <a:avLst/>
              <a:gdLst>
                <a:gd name="T0" fmla="*/ 66 w 69"/>
                <a:gd name="T1" fmla="*/ 10 h 24"/>
                <a:gd name="T2" fmla="*/ 35 w 69"/>
                <a:gd name="T3" fmla="*/ 0 h 24"/>
                <a:gd name="T4" fmla="*/ 3 w 69"/>
                <a:gd name="T5" fmla="*/ 10 h 24"/>
                <a:gd name="T6" fmla="*/ 34 w 69"/>
                <a:gd name="T7" fmla="*/ 24 h 24"/>
                <a:gd name="T8" fmla="*/ 66 w 69"/>
                <a:gd name="T9" fmla="*/ 10 h 24"/>
                <a:gd name="T10" fmla="*/ 35 w 69"/>
                <a:gd name="T11" fmla="*/ 19 h 24"/>
                <a:gd name="T12" fmla="*/ 11 w 69"/>
                <a:gd name="T13" fmla="*/ 9 h 24"/>
                <a:gd name="T14" fmla="*/ 35 w 69"/>
                <a:gd name="T15" fmla="*/ 2 h 24"/>
                <a:gd name="T16" fmla="*/ 58 w 69"/>
                <a:gd name="T17" fmla="*/ 9 h 24"/>
                <a:gd name="T18" fmla="*/ 35 w 69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66" y="10"/>
                  </a:moveTo>
                  <a:cubicBezTo>
                    <a:pt x="63" y="3"/>
                    <a:pt x="49" y="0"/>
                    <a:pt x="35" y="0"/>
                  </a:cubicBezTo>
                  <a:cubicBezTo>
                    <a:pt x="21" y="0"/>
                    <a:pt x="6" y="4"/>
                    <a:pt x="3" y="10"/>
                  </a:cubicBezTo>
                  <a:cubicBezTo>
                    <a:pt x="0" y="16"/>
                    <a:pt x="14" y="24"/>
                    <a:pt x="34" y="24"/>
                  </a:cubicBezTo>
                  <a:cubicBezTo>
                    <a:pt x="55" y="24"/>
                    <a:pt x="69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4" y="2"/>
                    <a:pt x="35" y="2"/>
                  </a:cubicBezTo>
                  <a:cubicBezTo>
                    <a:pt x="46" y="2"/>
                    <a:pt x="57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66"/>
            <p:cNvSpPr>
              <a:spLocks/>
            </p:cNvSpPr>
            <p:nvPr/>
          </p:nvSpPr>
          <p:spPr bwMode="auto">
            <a:xfrm>
              <a:off x="8211146" y="3426693"/>
              <a:ext cx="36251" cy="20715"/>
            </a:xfrm>
            <a:custGeom>
              <a:avLst/>
              <a:gdLst>
                <a:gd name="T0" fmla="*/ 10 w 35"/>
                <a:gd name="T1" fmla="*/ 0 h 20"/>
                <a:gd name="T2" fmla="*/ 35 w 35"/>
                <a:gd name="T3" fmla="*/ 8 h 20"/>
                <a:gd name="T4" fmla="*/ 20 w 35"/>
                <a:gd name="T5" fmla="*/ 20 h 20"/>
                <a:gd name="T6" fmla="*/ 0 w 35"/>
                <a:gd name="T7" fmla="*/ 4 h 20"/>
                <a:gd name="T8" fmla="*/ 10 w 3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10" y="0"/>
                  </a:moveTo>
                  <a:lnTo>
                    <a:pt x="35" y="8"/>
                  </a:lnTo>
                  <a:lnTo>
                    <a:pt x="20" y="20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67"/>
            <p:cNvSpPr>
              <a:spLocks noEditPoints="1"/>
            </p:cNvSpPr>
            <p:nvPr/>
          </p:nvSpPr>
          <p:spPr bwMode="auto">
            <a:xfrm>
              <a:off x="8393435" y="3388371"/>
              <a:ext cx="143967" cy="48680"/>
            </a:xfrm>
            <a:custGeom>
              <a:avLst/>
              <a:gdLst>
                <a:gd name="T0" fmla="*/ 66 w 70"/>
                <a:gd name="T1" fmla="*/ 10 h 24"/>
                <a:gd name="T2" fmla="*/ 35 w 70"/>
                <a:gd name="T3" fmla="*/ 0 h 24"/>
                <a:gd name="T4" fmla="*/ 3 w 70"/>
                <a:gd name="T5" fmla="*/ 10 h 24"/>
                <a:gd name="T6" fmla="*/ 35 w 70"/>
                <a:gd name="T7" fmla="*/ 24 h 24"/>
                <a:gd name="T8" fmla="*/ 66 w 70"/>
                <a:gd name="T9" fmla="*/ 10 h 24"/>
                <a:gd name="T10" fmla="*/ 35 w 70"/>
                <a:gd name="T11" fmla="*/ 19 h 24"/>
                <a:gd name="T12" fmla="*/ 11 w 70"/>
                <a:gd name="T13" fmla="*/ 9 h 24"/>
                <a:gd name="T14" fmla="*/ 35 w 70"/>
                <a:gd name="T15" fmla="*/ 2 h 24"/>
                <a:gd name="T16" fmla="*/ 58 w 70"/>
                <a:gd name="T17" fmla="*/ 9 h 24"/>
                <a:gd name="T18" fmla="*/ 35 w 70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24">
                  <a:moveTo>
                    <a:pt x="66" y="10"/>
                  </a:moveTo>
                  <a:cubicBezTo>
                    <a:pt x="63" y="4"/>
                    <a:pt x="49" y="0"/>
                    <a:pt x="35" y="0"/>
                  </a:cubicBezTo>
                  <a:cubicBezTo>
                    <a:pt x="21" y="0"/>
                    <a:pt x="7" y="3"/>
                    <a:pt x="3" y="10"/>
                  </a:cubicBezTo>
                  <a:cubicBezTo>
                    <a:pt x="0" y="16"/>
                    <a:pt x="14" y="24"/>
                    <a:pt x="35" y="24"/>
                  </a:cubicBezTo>
                  <a:cubicBezTo>
                    <a:pt x="56" y="24"/>
                    <a:pt x="70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3" y="2"/>
                    <a:pt x="35" y="2"/>
                  </a:cubicBezTo>
                  <a:cubicBezTo>
                    <a:pt x="46" y="2"/>
                    <a:pt x="56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168"/>
            <p:cNvSpPr>
              <a:spLocks/>
            </p:cNvSpPr>
            <p:nvPr/>
          </p:nvSpPr>
          <p:spPr bwMode="auto">
            <a:xfrm>
              <a:off x="8401720" y="3426693"/>
              <a:ext cx="35215" cy="20715"/>
            </a:xfrm>
            <a:custGeom>
              <a:avLst/>
              <a:gdLst>
                <a:gd name="T0" fmla="*/ 24 w 34"/>
                <a:gd name="T1" fmla="*/ 0 h 20"/>
                <a:gd name="T2" fmla="*/ 0 w 34"/>
                <a:gd name="T3" fmla="*/ 8 h 20"/>
                <a:gd name="T4" fmla="*/ 14 w 34"/>
                <a:gd name="T5" fmla="*/ 20 h 20"/>
                <a:gd name="T6" fmla="*/ 34 w 34"/>
                <a:gd name="T7" fmla="*/ 4 h 20"/>
                <a:gd name="T8" fmla="*/ 24 w 34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24" y="0"/>
                  </a:moveTo>
                  <a:lnTo>
                    <a:pt x="0" y="8"/>
                  </a:lnTo>
                  <a:lnTo>
                    <a:pt x="14" y="20"/>
                  </a:lnTo>
                  <a:lnTo>
                    <a:pt x="34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69"/>
            <p:cNvSpPr>
              <a:spLocks noEditPoints="1"/>
            </p:cNvSpPr>
            <p:nvPr/>
          </p:nvSpPr>
          <p:spPr bwMode="auto">
            <a:xfrm>
              <a:off x="8184216" y="3422551"/>
              <a:ext cx="279648" cy="105645"/>
            </a:xfrm>
            <a:custGeom>
              <a:avLst/>
              <a:gdLst>
                <a:gd name="T0" fmla="*/ 129 w 136"/>
                <a:gd name="T1" fmla="*/ 21 h 51"/>
                <a:gd name="T2" fmla="*/ 69 w 136"/>
                <a:gd name="T3" fmla="*/ 0 h 51"/>
                <a:gd name="T4" fmla="*/ 7 w 136"/>
                <a:gd name="T5" fmla="*/ 21 h 51"/>
                <a:gd name="T6" fmla="*/ 68 w 136"/>
                <a:gd name="T7" fmla="*/ 51 h 51"/>
                <a:gd name="T8" fmla="*/ 129 w 136"/>
                <a:gd name="T9" fmla="*/ 21 h 51"/>
                <a:gd name="T10" fmla="*/ 68 w 136"/>
                <a:gd name="T11" fmla="*/ 39 h 51"/>
                <a:gd name="T12" fmla="*/ 22 w 136"/>
                <a:gd name="T13" fmla="*/ 19 h 51"/>
                <a:gd name="T14" fmla="*/ 69 w 136"/>
                <a:gd name="T15" fmla="*/ 5 h 51"/>
                <a:gd name="T16" fmla="*/ 115 w 136"/>
                <a:gd name="T17" fmla="*/ 19 h 51"/>
                <a:gd name="T18" fmla="*/ 68 w 136"/>
                <a:gd name="T19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51">
                  <a:moveTo>
                    <a:pt x="129" y="21"/>
                  </a:moveTo>
                  <a:cubicBezTo>
                    <a:pt x="123" y="8"/>
                    <a:pt x="96" y="0"/>
                    <a:pt x="69" y="0"/>
                  </a:cubicBezTo>
                  <a:cubicBezTo>
                    <a:pt x="41" y="0"/>
                    <a:pt x="13" y="8"/>
                    <a:pt x="7" y="21"/>
                  </a:cubicBezTo>
                  <a:cubicBezTo>
                    <a:pt x="0" y="33"/>
                    <a:pt x="28" y="51"/>
                    <a:pt x="68" y="51"/>
                  </a:cubicBezTo>
                  <a:cubicBezTo>
                    <a:pt x="108" y="51"/>
                    <a:pt x="136" y="33"/>
                    <a:pt x="129" y="21"/>
                  </a:cubicBezTo>
                  <a:close/>
                  <a:moveTo>
                    <a:pt x="68" y="39"/>
                  </a:moveTo>
                  <a:cubicBezTo>
                    <a:pt x="39" y="39"/>
                    <a:pt x="19" y="28"/>
                    <a:pt x="22" y="19"/>
                  </a:cubicBezTo>
                  <a:cubicBezTo>
                    <a:pt x="26" y="10"/>
                    <a:pt x="47" y="5"/>
                    <a:pt x="69" y="5"/>
                  </a:cubicBezTo>
                  <a:cubicBezTo>
                    <a:pt x="91" y="5"/>
                    <a:pt x="111" y="10"/>
                    <a:pt x="115" y="19"/>
                  </a:cubicBezTo>
                  <a:cubicBezTo>
                    <a:pt x="118" y="28"/>
                    <a:pt x="98" y="39"/>
                    <a:pt x="68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70"/>
            <p:cNvSpPr>
              <a:spLocks/>
            </p:cNvSpPr>
            <p:nvPr/>
          </p:nvSpPr>
          <p:spPr bwMode="auto">
            <a:xfrm>
              <a:off x="82826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71"/>
            <p:cNvSpPr>
              <a:spLocks/>
            </p:cNvSpPr>
            <p:nvPr/>
          </p:nvSpPr>
          <p:spPr bwMode="auto">
            <a:xfrm>
              <a:off x="8326112" y="3338655"/>
              <a:ext cx="41429" cy="137753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Oval 172"/>
            <p:cNvSpPr>
              <a:spLocks noChangeArrowheads="1"/>
            </p:cNvSpPr>
            <p:nvPr/>
          </p:nvSpPr>
          <p:spPr bwMode="auto">
            <a:xfrm>
              <a:off x="8297112" y="3136688"/>
              <a:ext cx="53858" cy="64216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tangle 173"/>
            <p:cNvSpPr>
              <a:spLocks noChangeArrowheads="1"/>
            </p:cNvSpPr>
            <p:nvPr/>
          </p:nvSpPr>
          <p:spPr bwMode="auto">
            <a:xfrm>
              <a:off x="8324041" y="3293084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74"/>
            <p:cNvSpPr>
              <a:spLocks/>
            </p:cNvSpPr>
            <p:nvPr/>
          </p:nvSpPr>
          <p:spPr bwMode="auto">
            <a:xfrm>
              <a:off x="8261896" y="3209189"/>
              <a:ext cx="125324" cy="139824"/>
            </a:xfrm>
            <a:custGeom>
              <a:avLst/>
              <a:gdLst>
                <a:gd name="T0" fmla="*/ 56 w 61"/>
                <a:gd name="T1" fmla="*/ 8 h 68"/>
                <a:gd name="T2" fmla="*/ 49 w 61"/>
                <a:gd name="T3" fmla="*/ 1 h 68"/>
                <a:gd name="T4" fmla="*/ 41 w 61"/>
                <a:gd name="T5" fmla="*/ 0 h 68"/>
                <a:gd name="T6" fmla="*/ 41 w 61"/>
                <a:gd name="T7" fmla="*/ 0 h 68"/>
                <a:gd name="T8" fmla="*/ 46 w 61"/>
                <a:gd name="T9" fmla="*/ 5 h 68"/>
                <a:gd name="T10" fmla="*/ 40 w 61"/>
                <a:gd name="T11" fmla="*/ 8 h 68"/>
                <a:gd name="T12" fmla="*/ 43 w 61"/>
                <a:gd name="T13" fmla="*/ 13 h 68"/>
                <a:gd name="T14" fmla="*/ 30 w 61"/>
                <a:gd name="T15" fmla="*/ 41 h 68"/>
                <a:gd name="T16" fmla="*/ 30 w 61"/>
                <a:gd name="T17" fmla="*/ 41 h 68"/>
                <a:gd name="T18" fmla="*/ 30 w 61"/>
                <a:gd name="T19" fmla="*/ 41 h 68"/>
                <a:gd name="T20" fmla="*/ 30 w 61"/>
                <a:gd name="T21" fmla="*/ 41 h 68"/>
                <a:gd name="T22" fmla="*/ 30 w 61"/>
                <a:gd name="T23" fmla="*/ 41 h 68"/>
                <a:gd name="T24" fmla="*/ 17 w 61"/>
                <a:gd name="T25" fmla="*/ 13 h 68"/>
                <a:gd name="T26" fmla="*/ 20 w 61"/>
                <a:gd name="T27" fmla="*/ 8 h 68"/>
                <a:gd name="T28" fmla="*/ 14 w 61"/>
                <a:gd name="T29" fmla="*/ 5 h 68"/>
                <a:gd name="T30" fmla="*/ 19 w 61"/>
                <a:gd name="T31" fmla="*/ 0 h 68"/>
                <a:gd name="T32" fmla="*/ 19 w 61"/>
                <a:gd name="T33" fmla="*/ 0 h 68"/>
                <a:gd name="T34" fmla="*/ 12 w 61"/>
                <a:gd name="T35" fmla="*/ 1 h 68"/>
                <a:gd name="T36" fmla="*/ 12 w 61"/>
                <a:gd name="T37" fmla="*/ 1 h 68"/>
                <a:gd name="T38" fmla="*/ 5 w 61"/>
                <a:gd name="T39" fmla="*/ 8 h 68"/>
                <a:gd name="T40" fmla="*/ 0 w 61"/>
                <a:gd name="T41" fmla="*/ 68 h 68"/>
                <a:gd name="T42" fmla="*/ 8 w 61"/>
                <a:gd name="T43" fmla="*/ 68 h 68"/>
                <a:gd name="T44" fmla="*/ 8 w 61"/>
                <a:gd name="T45" fmla="*/ 68 h 68"/>
                <a:gd name="T46" fmla="*/ 9 w 61"/>
                <a:gd name="T47" fmla="*/ 68 h 68"/>
                <a:gd name="T48" fmla="*/ 18 w 61"/>
                <a:gd name="T49" fmla="*/ 68 h 68"/>
                <a:gd name="T50" fmla="*/ 18 w 61"/>
                <a:gd name="T51" fmla="*/ 68 h 68"/>
                <a:gd name="T52" fmla="*/ 43 w 61"/>
                <a:gd name="T53" fmla="*/ 68 h 68"/>
                <a:gd name="T54" fmla="*/ 43 w 61"/>
                <a:gd name="T55" fmla="*/ 68 h 68"/>
                <a:gd name="T56" fmla="*/ 52 w 61"/>
                <a:gd name="T57" fmla="*/ 68 h 68"/>
                <a:gd name="T58" fmla="*/ 52 w 61"/>
                <a:gd name="T59" fmla="*/ 68 h 68"/>
                <a:gd name="T60" fmla="*/ 52 w 61"/>
                <a:gd name="T61" fmla="*/ 68 h 68"/>
                <a:gd name="T62" fmla="*/ 61 w 61"/>
                <a:gd name="T63" fmla="*/ 68 h 68"/>
                <a:gd name="T64" fmla="*/ 56 w 61"/>
                <a:gd name="T65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" h="68">
                  <a:moveTo>
                    <a:pt x="56" y="8"/>
                  </a:moveTo>
                  <a:cubicBezTo>
                    <a:pt x="56" y="4"/>
                    <a:pt x="53" y="1"/>
                    <a:pt x="49" y="1"/>
                  </a:cubicBezTo>
                  <a:cubicBezTo>
                    <a:pt x="48" y="1"/>
                    <a:pt x="43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3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8" y="1"/>
                    <a:pt x="5" y="4"/>
                    <a:pt x="5" y="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9" y="68"/>
                    <a:pt x="9" y="68"/>
                  </a:cubicBezTo>
                  <a:cubicBezTo>
                    <a:pt x="12" y="68"/>
                    <a:pt x="15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8"/>
                    <a:pt x="35" y="68"/>
                    <a:pt x="43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6" y="68"/>
                    <a:pt x="49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5" y="68"/>
                    <a:pt x="58" y="68"/>
                    <a:pt x="61" y="68"/>
                  </a:cubicBezTo>
                  <a:lnTo>
                    <a:pt x="56" y="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75"/>
            <p:cNvSpPr>
              <a:spLocks/>
            </p:cNvSpPr>
            <p:nvPr/>
          </p:nvSpPr>
          <p:spPr bwMode="auto">
            <a:xfrm>
              <a:off x="8315754" y="3207118"/>
              <a:ext cx="16572" cy="20715"/>
            </a:xfrm>
            <a:custGeom>
              <a:avLst/>
              <a:gdLst>
                <a:gd name="T0" fmla="*/ 14 w 16"/>
                <a:gd name="T1" fmla="*/ 0 h 20"/>
                <a:gd name="T2" fmla="*/ 16 w 16"/>
                <a:gd name="T3" fmla="*/ 12 h 20"/>
                <a:gd name="T4" fmla="*/ 8 w 16"/>
                <a:gd name="T5" fmla="*/ 20 h 20"/>
                <a:gd name="T6" fmla="*/ 0 w 16"/>
                <a:gd name="T7" fmla="*/ 12 h 20"/>
                <a:gd name="T8" fmla="*/ 4 w 16"/>
                <a:gd name="T9" fmla="*/ 0 h 20"/>
                <a:gd name="T10" fmla="*/ 14 w 16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4" y="0"/>
                  </a:moveTo>
                  <a:lnTo>
                    <a:pt x="16" y="12"/>
                  </a:lnTo>
                  <a:lnTo>
                    <a:pt x="8" y="20"/>
                  </a:lnTo>
                  <a:lnTo>
                    <a:pt x="0" y="12"/>
                  </a:lnTo>
                  <a:lnTo>
                    <a:pt x="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176"/>
            <p:cNvSpPr>
              <a:spLocks/>
            </p:cNvSpPr>
            <p:nvPr/>
          </p:nvSpPr>
          <p:spPr bwMode="auto">
            <a:xfrm>
              <a:off x="8313683" y="3221619"/>
              <a:ext cx="20715" cy="79751"/>
            </a:xfrm>
            <a:custGeom>
              <a:avLst/>
              <a:gdLst>
                <a:gd name="T0" fmla="*/ 16 w 20"/>
                <a:gd name="T1" fmla="*/ 0 h 77"/>
                <a:gd name="T2" fmla="*/ 20 w 20"/>
                <a:gd name="T3" fmla="*/ 69 h 77"/>
                <a:gd name="T4" fmla="*/ 10 w 20"/>
                <a:gd name="T5" fmla="*/ 77 h 77"/>
                <a:gd name="T6" fmla="*/ 0 w 20"/>
                <a:gd name="T7" fmla="*/ 69 h 77"/>
                <a:gd name="T8" fmla="*/ 4 w 20"/>
                <a:gd name="T9" fmla="*/ 0 h 77"/>
                <a:gd name="T10" fmla="*/ 16 w 20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7">
                  <a:moveTo>
                    <a:pt x="16" y="0"/>
                  </a:moveTo>
                  <a:lnTo>
                    <a:pt x="20" y="69"/>
                  </a:lnTo>
                  <a:lnTo>
                    <a:pt x="10" y="77"/>
                  </a:lnTo>
                  <a:lnTo>
                    <a:pt x="0" y="69"/>
                  </a:lnTo>
                  <a:lnTo>
                    <a:pt x="4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177"/>
            <p:cNvSpPr>
              <a:spLocks/>
            </p:cNvSpPr>
            <p:nvPr/>
          </p:nvSpPr>
          <p:spPr bwMode="auto">
            <a:xfrm>
              <a:off x="8184217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1 w 13"/>
                <a:gd name="T3" fmla="*/ 42 h 42"/>
                <a:gd name="T4" fmla="*/ 12 w 13"/>
                <a:gd name="T5" fmla="*/ 42 h 42"/>
                <a:gd name="T6" fmla="*/ 12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3" y="28"/>
                    <a:pt x="12" y="0"/>
                    <a:pt x="12" y="0"/>
                  </a:cubicBezTo>
                  <a:cubicBezTo>
                    <a:pt x="12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178"/>
            <p:cNvSpPr>
              <a:spLocks/>
            </p:cNvSpPr>
            <p:nvPr/>
          </p:nvSpPr>
          <p:spPr bwMode="auto">
            <a:xfrm>
              <a:off x="8155216" y="3324156"/>
              <a:ext cx="26929" cy="85966"/>
            </a:xfrm>
            <a:custGeom>
              <a:avLst/>
              <a:gdLst>
                <a:gd name="T0" fmla="*/ 0 w 13"/>
                <a:gd name="T1" fmla="*/ 0 h 42"/>
                <a:gd name="T2" fmla="*/ 2 w 13"/>
                <a:gd name="T3" fmla="*/ 42 h 42"/>
                <a:gd name="T4" fmla="*/ 13 w 13"/>
                <a:gd name="T5" fmla="*/ 42 h 42"/>
                <a:gd name="T6" fmla="*/ 13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2" y="42"/>
                    <a:pt x="2" y="42"/>
                    <a:pt x="2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Oval 179"/>
            <p:cNvSpPr>
              <a:spLocks noChangeArrowheads="1"/>
            </p:cNvSpPr>
            <p:nvPr/>
          </p:nvSpPr>
          <p:spPr bwMode="auto">
            <a:xfrm>
              <a:off x="8165574" y="3196761"/>
              <a:ext cx="35215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180"/>
            <p:cNvSpPr>
              <a:spLocks noChangeArrowheads="1"/>
            </p:cNvSpPr>
            <p:nvPr/>
          </p:nvSpPr>
          <p:spPr bwMode="auto">
            <a:xfrm>
              <a:off x="8182145" y="3295155"/>
              <a:ext cx="2072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181"/>
            <p:cNvSpPr>
              <a:spLocks noEditPoints="1"/>
            </p:cNvSpPr>
            <p:nvPr/>
          </p:nvSpPr>
          <p:spPr bwMode="auto">
            <a:xfrm>
              <a:off x="8136573" y="3242333"/>
              <a:ext cx="106681" cy="94252"/>
            </a:xfrm>
            <a:custGeom>
              <a:avLst/>
              <a:gdLst>
                <a:gd name="T0" fmla="*/ 51 w 52"/>
                <a:gd name="T1" fmla="*/ 17 h 46"/>
                <a:gd name="T2" fmla="*/ 51 w 52"/>
                <a:gd name="T3" fmla="*/ 17 h 46"/>
                <a:gd name="T4" fmla="*/ 51 w 52"/>
                <a:gd name="T5" fmla="*/ 17 h 46"/>
                <a:gd name="T6" fmla="*/ 37 w 52"/>
                <a:gd name="T7" fmla="*/ 2 h 46"/>
                <a:gd name="T8" fmla="*/ 34 w 52"/>
                <a:gd name="T9" fmla="*/ 0 h 46"/>
                <a:gd name="T10" fmla="*/ 29 w 52"/>
                <a:gd name="T11" fmla="*/ 0 h 46"/>
                <a:gd name="T12" fmla="*/ 29 w 52"/>
                <a:gd name="T13" fmla="*/ 0 h 46"/>
                <a:gd name="T14" fmla="*/ 33 w 52"/>
                <a:gd name="T15" fmla="*/ 3 h 46"/>
                <a:gd name="T16" fmla="*/ 29 w 52"/>
                <a:gd name="T17" fmla="*/ 5 h 46"/>
                <a:gd name="T18" fmla="*/ 31 w 52"/>
                <a:gd name="T19" fmla="*/ 9 h 46"/>
                <a:gd name="T20" fmla="*/ 23 w 52"/>
                <a:gd name="T21" fmla="*/ 26 h 46"/>
                <a:gd name="T22" fmla="*/ 23 w 52"/>
                <a:gd name="T23" fmla="*/ 26 h 46"/>
                <a:gd name="T24" fmla="*/ 22 w 52"/>
                <a:gd name="T25" fmla="*/ 26 h 46"/>
                <a:gd name="T26" fmla="*/ 22 w 52"/>
                <a:gd name="T27" fmla="*/ 26 h 46"/>
                <a:gd name="T28" fmla="*/ 22 w 52"/>
                <a:gd name="T29" fmla="*/ 26 h 46"/>
                <a:gd name="T30" fmla="*/ 14 w 52"/>
                <a:gd name="T31" fmla="*/ 9 h 46"/>
                <a:gd name="T32" fmla="*/ 16 w 52"/>
                <a:gd name="T33" fmla="*/ 5 h 46"/>
                <a:gd name="T34" fmla="*/ 12 w 52"/>
                <a:gd name="T35" fmla="*/ 3 h 46"/>
                <a:gd name="T36" fmla="*/ 16 w 52"/>
                <a:gd name="T37" fmla="*/ 0 h 46"/>
                <a:gd name="T38" fmla="*/ 16 w 52"/>
                <a:gd name="T39" fmla="*/ 0 h 46"/>
                <a:gd name="T40" fmla="*/ 11 w 52"/>
                <a:gd name="T41" fmla="*/ 0 h 46"/>
                <a:gd name="T42" fmla="*/ 7 w 52"/>
                <a:gd name="T43" fmla="*/ 4 h 46"/>
                <a:gd name="T44" fmla="*/ 0 w 52"/>
                <a:gd name="T45" fmla="*/ 23 h 46"/>
                <a:gd name="T46" fmla="*/ 8 w 52"/>
                <a:gd name="T47" fmla="*/ 46 h 46"/>
                <a:gd name="T48" fmla="*/ 13 w 52"/>
                <a:gd name="T49" fmla="*/ 44 h 46"/>
                <a:gd name="T50" fmla="*/ 37 w 52"/>
                <a:gd name="T51" fmla="*/ 44 h 46"/>
                <a:gd name="T52" fmla="*/ 37 w 52"/>
                <a:gd name="T53" fmla="*/ 43 h 46"/>
                <a:gd name="T54" fmla="*/ 36 w 52"/>
                <a:gd name="T55" fmla="*/ 38 h 46"/>
                <a:gd name="T56" fmla="*/ 43 w 52"/>
                <a:gd name="T57" fmla="*/ 41 h 46"/>
                <a:gd name="T58" fmla="*/ 47 w 52"/>
                <a:gd name="T59" fmla="*/ 32 h 46"/>
                <a:gd name="T60" fmla="*/ 49 w 52"/>
                <a:gd name="T61" fmla="*/ 27 h 46"/>
                <a:gd name="T62" fmla="*/ 51 w 52"/>
                <a:gd name="T63" fmla="*/ 25 h 46"/>
                <a:gd name="T64" fmla="*/ 51 w 52"/>
                <a:gd name="T65" fmla="*/ 24 h 46"/>
                <a:gd name="T66" fmla="*/ 51 w 52"/>
                <a:gd name="T67" fmla="*/ 23 h 46"/>
                <a:gd name="T68" fmla="*/ 52 w 52"/>
                <a:gd name="T69" fmla="*/ 23 h 46"/>
                <a:gd name="T70" fmla="*/ 52 w 52"/>
                <a:gd name="T71" fmla="*/ 23 h 46"/>
                <a:gd name="T72" fmla="*/ 52 w 52"/>
                <a:gd name="T73" fmla="*/ 23 h 46"/>
                <a:gd name="T74" fmla="*/ 52 w 52"/>
                <a:gd name="T75" fmla="*/ 23 h 46"/>
                <a:gd name="T76" fmla="*/ 51 w 52"/>
                <a:gd name="T77" fmla="*/ 17 h 46"/>
                <a:gd name="T78" fmla="*/ 40 w 52"/>
                <a:gd name="T79" fmla="*/ 22 h 46"/>
                <a:gd name="T80" fmla="*/ 38 w 52"/>
                <a:gd name="T81" fmla="*/ 27 h 46"/>
                <a:gd name="T82" fmla="*/ 36 w 52"/>
                <a:gd name="T83" fmla="*/ 29 h 46"/>
                <a:gd name="T84" fmla="*/ 36 w 52"/>
                <a:gd name="T85" fmla="*/ 15 h 46"/>
                <a:gd name="T86" fmla="*/ 41 w 52"/>
                <a:gd name="T87" fmla="*/ 21 h 46"/>
                <a:gd name="T88" fmla="*/ 40 w 52"/>
                <a:gd name="T89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" h="46">
                  <a:moveTo>
                    <a:pt x="51" y="17"/>
                  </a:move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0"/>
                  </a:cubicBezTo>
                  <a:cubicBezTo>
                    <a:pt x="34" y="0"/>
                    <a:pt x="31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37"/>
                    <a:pt x="5" y="38"/>
                    <a:pt x="8" y="46"/>
                  </a:cubicBezTo>
                  <a:cubicBezTo>
                    <a:pt x="9" y="45"/>
                    <a:pt x="11" y="44"/>
                    <a:pt x="13" y="44"/>
                  </a:cubicBezTo>
                  <a:cubicBezTo>
                    <a:pt x="21" y="44"/>
                    <a:pt x="29" y="44"/>
                    <a:pt x="37" y="44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1"/>
                    <a:pt x="36" y="39"/>
                    <a:pt x="36" y="38"/>
                  </a:cubicBezTo>
                  <a:cubicBezTo>
                    <a:pt x="38" y="39"/>
                    <a:pt x="41" y="40"/>
                    <a:pt x="43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20"/>
                    <a:pt x="52" y="29"/>
                    <a:pt x="51" y="17"/>
                  </a:cubicBezTo>
                  <a:close/>
                  <a:moveTo>
                    <a:pt x="40" y="22"/>
                  </a:moveTo>
                  <a:cubicBezTo>
                    <a:pt x="38" y="27"/>
                    <a:pt x="38" y="27"/>
                    <a:pt x="38" y="27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4"/>
                    <a:pt x="36" y="20"/>
                    <a:pt x="36" y="15"/>
                  </a:cubicBezTo>
                  <a:cubicBezTo>
                    <a:pt x="41" y="21"/>
                    <a:pt x="41" y="21"/>
                    <a:pt x="41" y="21"/>
                  </a:cubicBezTo>
                  <a:lnTo>
                    <a:pt x="40" y="2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182"/>
            <p:cNvSpPr>
              <a:spLocks/>
            </p:cNvSpPr>
            <p:nvPr/>
          </p:nvSpPr>
          <p:spPr bwMode="auto">
            <a:xfrm>
              <a:off x="8178002" y="3240261"/>
              <a:ext cx="10358" cy="12429"/>
            </a:xfrm>
            <a:custGeom>
              <a:avLst/>
              <a:gdLst>
                <a:gd name="T0" fmla="*/ 2 w 10"/>
                <a:gd name="T1" fmla="*/ 0 h 12"/>
                <a:gd name="T2" fmla="*/ 0 w 10"/>
                <a:gd name="T3" fmla="*/ 8 h 12"/>
                <a:gd name="T4" fmla="*/ 4 w 10"/>
                <a:gd name="T5" fmla="*/ 12 h 12"/>
                <a:gd name="T6" fmla="*/ 10 w 10"/>
                <a:gd name="T7" fmla="*/ 8 h 12"/>
                <a:gd name="T8" fmla="*/ 8 w 10"/>
                <a:gd name="T9" fmla="*/ 0 h 12"/>
                <a:gd name="T10" fmla="*/ 2 w 1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2" y="0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183"/>
            <p:cNvSpPr>
              <a:spLocks/>
            </p:cNvSpPr>
            <p:nvPr/>
          </p:nvSpPr>
          <p:spPr bwMode="auto">
            <a:xfrm>
              <a:off x="8175930" y="3248547"/>
              <a:ext cx="14501" cy="50751"/>
            </a:xfrm>
            <a:custGeom>
              <a:avLst/>
              <a:gdLst>
                <a:gd name="T0" fmla="*/ 4 w 14"/>
                <a:gd name="T1" fmla="*/ 0 h 49"/>
                <a:gd name="T2" fmla="*/ 0 w 14"/>
                <a:gd name="T3" fmla="*/ 45 h 49"/>
                <a:gd name="T4" fmla="*/ 6 w 14"/>
                <a:gd name="T5" fmla="*/ 49 h 49"/>
                <a:gd name="T6" fmla="*/ 14 w 14"/>
                <a:gd name="T7" fmla="*/ 45 h 49"/>
                <a:gd name="T8" fmla="*/ 10 w 14"/>
                <a:gd name="T9" fmla="*/ 0 h 49"/>
                <a:gd name="T10" fmla="*/ 4 w 1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9">
                  <a:moveTo>
                    <a:pt x="4" y="0"/>
                  </a:moveTo>
                  <a:lnTo>
                    <a:pt x="0" y="45"/>
                  </a:lnTo>
                  <a:lnTo>
                    <a:pt x="6" y="49"/>
                  </a:lnTo>
                  <a:lnTo>
                    <a:pt x="14" y="45"/>
                  </a:lnTo>
                  <a:lnTo>
                    <a:pt x="1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84"/>
            <p:cNvSpPr>
              <a:spLocks/>
            </p:cNvSpPr>
            <p:nvPr/>
          </p:nvSpPr>
          <p:spPr bwMode="auto">
            <a:xfrm>
              <a:off x="8465936" y="3326228"/>
              <a:ext cx="24857" cy="88037"/>
            </a:xfrm>
            <a:custGeom>
              <a:avLst/>
              <a:gdLst>
                <a:gd name="T0" fmla="*/ 0 w 12"/>
                <a:gd name="T1" fmla="*/ 0 h 43"/>
                <a:gd name="T2" fmla="*/ 1 w 12"/>
                <a:gd name="T3" fmla="*/ 43 h 43"/>
                <a:gd name="T4" fmla="*/ 12 w 12"/>
                <a:gd name="T5" fmla="*/ 43 h 43"/>
                <a:gd name="T6" fmla="*/ 12 w 12"/>
                <a:gd name="T7" fmla="*/ 0 h 43"/>
                <a:gd name="T8" fmla="*/ 0 w 12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28"/>
                    <a:pt x="12" y="0"/>
                    <a:pt x="12" y="0"/>
                  </a:cubicBezTo>
                  <a:cubicBezTo>
                    <a:pt x="12" y="0"/>
                    <a:pt x="4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185"/>
            <p:cNvSpPr>
              <a:spLocks/>
            </p:cNvSpPr>
            <p:nvPr/>
          </p:nvSpPr>
          <p:spPr bwMode="auto">
            <a:xfrm>
              <a:off x="8436936" y="3326228"/>
              <a:ext cx="26929" cy="88037"/>
            </a:xfrm>
            <a:custGeom>
              <a:avLst/>
              <a:gdLst>
                <a:gd name="T0" fmla="*/ 0 w 13"/>
                <a:gd name="T1" fmla="*/ 0 h 43"/>
                <a:gd name="T2" fmla="*/ 1 w 13"/>
                <a:gd name="T3" fmla="*/ 43 h 43"/>
                <a:gd name="T4" fmla="*/ 13 w 13"/>
                <a:gd name="T5" fmla="*/ 43 h 43"/>
                <a:gd name="T6" fmla="*/ 13 w 13"/>
                <a:gd name="T7" fmla="*/ 0 h 43"/>
                <a:gd name="T8" fmla="*/ 0 w 13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Oval 186"/>
            <p:cNvSpPr>
              <a:spLocks noChangeArrowheads="1"/>
            </p:cNvSpPr>
            <p:nvPr/>
          </p:nvSpPr>
          <p:spPr bwMode="auto">
            <a:xfrm>
              <a:off x="8447294" y="3198832"/>
              <a:ext cx="33143" cy="4142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187"/>
            <p:cNvSpPr>
              <a:spLocks noChangeArrowheads="1"/>
            </p:cNvSpPr>
            <p:nvPr/>
          </p:nvSpPr>
          <p:spPr bwMode="auto">
            <a:xfrm>
              <a:off x="8463865" y="3297227"/>
              <a:ext cx="1036" cy="10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188"/>
            <p:cNvSpPr>
              <a:spLocks/>
            </p:cNvSpPr>
            <p:nvPr/>
          </p:nvSpPr>
          <p:spPr bwMode="auto">
            <a:xfrm>
              <a:off x="8418292" y="3244404"/>
              <a:ext cx="89073" cy="94252"/>
            </a:xfrm>
            <a:custGeom>
              <a:avLst/>
              <a:gdLst>
                <a:gd name="T0" fmla="*/ 42 w 43"/>
                <a:gd name="T1" fmla="*/ 24 h 46"/>
                <a:gd name="T2" fmla="*/ 38 w 43"/>
                <a:gd name="T3" fmla="*/ 5 h 46"/>
                <a:gd name="T4" fmla="*/ 34 w 43"/>
                <a:gd name="T5" fmla="*/ 1 h 46"/>
                <a:gd name="T6" fmla="*/ 29 w 43"/>
                <a:gd name="T7" fmla="*/ 0 h 46"/>
                <a:gd name="T8" fmla="*/ 29 w 43"/>
                <a:gd name="T9" fmla="*/ 0 h 46"/>
                <a:gd name="T10" fmla="*/ 32 w 43"/>
                <a:gd name="T11" fmla="*/ 3 h 46"/>
                <a:gd name="T12" fmla="*/ 28 w 43"/>
                <a:gd name="T13" fmla="*/ 5 h 46"/>
                <a:gd name="T14" fmla="*/ 30 w 43"/>
                <a:gd name="T15" fmla="*/ 9 h 46"/>
                <a:gd name="T16" fmla="*/ 22 w 43"/>
                <a:gd name="T17" fmla="*/ 26 h 46"/>
                <a:gd name="T18" fmla="*/ 22 w 43"/>
                <a:gd name="T19" fmla="*/ 26 h 46"/>
                <a:gd name="T20" fmla="*/ 22 w 43"/>
                <a:gd name="T21" fmla="*/ 26 h 46"/>
                <a:gd name="T22" fmla="*/ 22 w 43"/>
                <a:gd name="T23" fmla="*/ 26 h 46"/>
                <a:gd name="T24" fmla="*/ 22 w 43"/>
                <a:gd name="T25" fmla="*/ 26 h 46"/>
                <a:gd name="T26" fmla="*/ 14 w 43"/>
                <a:gd name="T27" fmla="*/ 9 h 46"/>
                <a:gd name="T28" fmla="*/ 16 w 43"/>
                <a:gd name="T29" fmla="*/ 5 h 46"/>
                <a:gd name="T30" fmla="*/ 12 w 43"/>
                <a:gd name="T31" fmla="*/ 3 h 46"/>
                <a:gd name="T32" fmla="*/ 15 w 43"/>
                <a:gd name="T33" fmla="*/ 0 h 46"/>
                <a:gd name="T34" fmla="*/ 15 w 43"/>
                <a:gd name="T35" fmla="*/ 0 h 46"/>
                <a:gd name="T36" fmla="*/ 11 w 43"/>
                <a:gd name="T37" fmla="*/ 1 h 46"/>
                <a:gd name="T38" fmla="*/ 7 w 43"/>
                <a:gd name="T39" fmla="*/ 4 h 46"/>
                <a:gd name="T40" fmla="*/ 0 w 43"/>
                <a:gd name="T41" fmla="*/ 23 h 46"/>
                <a:gd name="T42" fmla="*/ 7 w 43"/>
                <a:gd name="T43" fmla="*/ 46 h 46"/>
                <a:gd name="T44" fmla="*/ 12 w 43"/>
                <a:gd name="T45" fmla="*/ 44 h 46"/>
                <a:gd name="T46" fmla="*/ 30 w 43"/>
                <a:gd name="T47" fmla="*/ 44 h 46"/>
                <a:gd name="T48" fmla="*/ 30 w 43"/>
                <a:gd name="T49" fmla="*/ 45 h 46"/>
                <a:gd name="T50" fmla="*/ 42 w 43"/>
                <a:gd name="T51" fmla="*/ 45 h 46"/>
                <a:gd name="T52" fmla="*/ 42 w 43"/>
                <a:gd name="T5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46">
                  <a:moveTo>
                    <a:pt x="42" y="24"/>
                  </a:moveTo>
                  <a:cubicBezTo>
                    <a:pt x="38" y="5"/>
                    <a:pt x="38" y="5"/>
                    <a:pt x="38" y="5"/>
                  </a:cubicBezTo>
                  <a:cubicBezTo>
                    <a:pt x="37" y="3"/>
                    <a:pt x="36" y="1"/>
                    <a:pt x="34" y="1"/>
                  </a:cubicBezTo>
                  <a:cubicBezTo>
                    <a:pt x="34" y="1"/>
                    <a:pt x="30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1" y="0"/>
                    <a:pt x="11" y="1"/>
                  </a:cubicBezTo>
                  <a:cubicBezTo>
                    <a:pt x="9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37"/>
                    <a:pt x="5" y="38"/>
                    <a:pt x="7" y="46"/>
                  </a:cubicBezTo>
                  <a:cubicBezTo>
                    <a:pt x="9" y="45"/>
                    <a:pt x="11" y="44"/>
                    <a:pt x="12" y="44"/>
                  </a:cubicBezTo>
                  <a:cubicBezTo>
                    <a:pt x="18" y="44"/>
                    <a:pt x="24" y="44"/>
                    <a:pt x="30" y="44"/>
                  </a:cubicBezTo>
                  <a:cubicBezTo>
                    <a:pt x="30" y="44"/>
                    <a:pt x="30" y="44"/>
                    <a:pt x="30" y="45"/>
                  </a:cubicBezTo>
                  <a:cubicBezTo>
                    <a:pt x="34" y="45"/>
                    <a:pt x="38" y="45"/>
                    <a:pt x="42" y="45"/>
                  </a:cubicBezTo>
                  <a:cubicBezTo>
                    <a:pt x="42" y="38"/>
                    <a:pt x="43" y="33"/>
                    <a:pt x="42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189"/>
            <p:cNvSpPr>
              <a:spLocks/>
            </p:cNvSpPr>
            <p:nvPr/>
          </p:nvSpPr>
          <p:spPr bwMode="auto">
            <a:xfrm>
              <a:off x="8457650" y="3244404"/>
              <a:ext cx="12429" cy="12429"/>
            </a:xfrm>
            <a:custGeom>
              <a:avLst/>
              <a:gdLst>
                <a:gd name="T0" fmla="*/ 2 w 12"/>
                <a:gd name="T1" fmla="*/ 0 h 12"/>
                <a:gd name="T2" fmla="*/ 0 w 12"/>
                <a:gd name="T3" fmla="*/ 8 h 12"/>
                <a:gd name="T4" fmla="*/ 6 w 12"/>
                <a:gd name="T5" fmla="*/ 12 h 12"/>
                <a:gd name="T6" fmla="*/ 12 w 12"/>
                <a:gd name="T7" fmla="*/ 8 h 12"/>
                <a:gd name="T8" fmla="*/ 10 w 12"/>
                <a:gd name="T9" fmla="*/ 0 h 12"/>
                <a:gd name="T10" fmla="*/ 2 w 1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lnTo>
                    <a:pt x="0" y="8"/>
                  </a:lnTo>
                  <a:lnTo>
                    <a:pt x="6" y="12"/>
                  </a:lnTo>
                  <a:lnTo>
                    <a:pt x="12" y="8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190"/>
            <p:cNvSpPr>
              <a:spLocks/>
            </p:cNvSpPr>
            <p:nvPr/>
          </p:nvSpPr>
          <p:spPr bwMode="auto">
            <a:xfrm>
              <a:off x="8457650" y="3252690"/>
              <a:ext cx="12429" cy="50751"/>
            </a:xfrm>
            <a:custGeom>
              <a:avLst/>
              <a:gdLst>
                <a:gd name="T0" fmla="*/ 2 w 12"/>
                <a:gd name="T1" fmla="*/ 0 h 49"/>
                <a:gd name="T2" fmla="*/ 0 w 12"/>
                <a:gd name="T3" fmla="*/ 43 h 49"/>
                <a:gd name="T4" fmla="*/ 6 w 12"/>
                <a:gd name="T5" fmla="*/ 49 h 49"/>
                <a:gd name="T6" fmla="*/ 12 w 12"/>
                <a:gd name="T7" fmla="*/ 43 h 49"/>
                <a:gd name="T8" fmla="*/ 10 w 12"/>
                <a:gd name="T9" fmla="*/ 0 h 49"/>
                <a:gd name="T10" fmla="*/ 2 w 1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9">
                  <a:moveTo>
                    <a:pt x="2" y="0"/>
                  </a:moveTo>
                  <a:lnTo>
                    <a:pt x="0" y="43"/>
                  </a:lnTo>
                  <a:lnTo>
                    <a:pt x="6" y="49"/>
                  </a:lnTo>
                  <a:lnTo>
                    <a:pt x="12" y="43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3413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>
            <a:extLst>
              <a:ext uri="{FF2B5EF4-FFF2-40B4-BE49-F238E27FC236}">
                <a16:creationId xmlns:a16="http://schemas.microsoft.com/office/drawing/2014/main" id="{591F6A1E-2CFE-415A-A8C4-E21A8E2C2D50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203399" y="4262925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3941350D-04B7-4861-8039-F0605726AA8B}"/>
              </a:ext>
            </a:extLst>
          </p:cNvPr>
          <p:cNvSpPr txBox="1"/>
          <p:nvPr userDrawn="1"/>
        </p:nvSpPr>
        <p:spPr>
          <a:xfrm rot="1515553">
            <a:off x="544356" y="431062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里程碑</a:t>
            </a: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45838" y="2070820"/>
            <a:ext cx="0" cy="2520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36099" y="3225424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38045" y="3715436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36099" y="2745391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0" name="Oval 33"/>
          <p:cNvSpPr>
            <a:spLocks noChangeArrowheads="1"/>
          </p:cNvSpPr>
          <p:nvPr/>
        </p:nvSpPr>
        <p:spPr bwMode="auto">
          <a:xfrm>
            <a:off x="238566" y="2983882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41" name="Oval 33"/>
          <p:cNvSpPr>
            <a:spLocks noChangeArrowheads="1"/>
          </p:cNvSpPr>
          <p:nvPr/>
        </p:nvSpPr>
        <p:spPr bwMode="auto">
          <a:xfrm>
            <a:off x="252653" y="2997969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0" name="Oval 33"/>
          <p:cNvSpPr>
            <a:spLocks noChangeArrowheads="1"/>
          </p:cNvSpPr>
          <p:nvPr/>
        </p:nvSpPr>
        <p:spPr bwMode="auto">
          <a:xfrm>
            <a:off x="236099" y="3467171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71" name="Oval 33"/>
          <p:cNvSpPr>
            <a:spLocks noChangeArrowheads="1"/>
          </p:cNvSpPr>
          <p:nvPr/>
        </p:nvSpPr>
        <p:spPr bwMode="auto">
          <a:xfrm>
            <a:off x="250186" y="3481258"/>
            <a:ext cx="187826" cy="187826"/>
          </a:xfrm>
          <a:prstGeom prst="ellipse">
            <a:avLst/>
          </a:pr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zh-CN" sz="16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grpSp>
        <p:nvGrpSpPr>
          <p:cNvPr id="72" name="组合 71"/>
          <p:cNvGrpSpPr/>
          <p:nvPr/>
        </p:nvGrpSpPr>
        <p:grpSpPr>
          <a:xfrm>
            <a:off x="282006" y="3046373"/>
            <a:ext cx="112696" cy="112696"/>
            <a:chOff x="5526525" y="3190546"/>
            <a:chExt cx="364578" cy="339721"/>
          </a:xfrm>
        </p:grpSpPr>
        <p:sp>
          <p:nvSpPr>
            <p:cNvPr id="73" name="Freeform 143"/>
            <p:cNvSpPr>
              <a:spLocks/>
            </p:cNvSpPr>
            <p:nvPr/>
          </p:nvSpPr>
          <p:spPr bwMode="auto">
            <a:xfrm>
              <a:off x="5574169" y="3252690"/>
              <a:ext cx="90109" cy="90109"/>
            </a:xfrm>
            <a:custGeom>
              <a:avLst/>
              <a:gdLst>
                <a:gd name="T0" fmla="*/ 0 w 44"/>
                <a:gd name="T1" fmla="*/ 22 h 44"/>
                <a:gd name="T2" fmla="*/ 22 w 44"/>
                <a:gd name="T3" fmla="*/ 44 h 44"/>
                <a:gd name="T4" fmla="*/ 44 w 44"/>
                <a:gd name="T5" fmla="*/ 25 h 44"/>
                <a:gd name="T6" fmla="*/ 19 w 44"/>
                <a:gd name="T7" fmla="*/ 25 h 44"/>
                <a:gd name="T8" fmla="*/ 19 w 44"/>
                <a:gd name="T9" fmla="*/ 0 h 44"/>
                <a:gd name="T10" fmla="*/ 0 w 44"/>
                <a:gd name="T11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44">
                  <a:moveTo>
                    <a:pt x="0" y="22"/>
                  </a:moveTo>
                  <a:cubicBezTo>
                    <a:pt x="0" y="34"/>
                    <a:pt x="10" y="44"/>
                    <a:pt x="22" y="44"/>
                  </a:cubicBezTo>
                  <a:cubicBezTo>
                    <a:pt x="33" y="44"/>
                    <a:pt x="43" y="36"/>
                    <a:pt x="44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2"/>
                    <a:pt x="0" y="11"/>
                    <a:pt x="0" y="2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144"/>
            <p:cNvSpPr>
              <a:spLocks noEditPoints="1"/>
            </p:cNvSpPr>
            <p:nvPr/>
          </p:nvSpPr>
          <p:spPr bwMode="auto">
            <a:xfrm>
              <a:off x="5619740" y="3252690"/>
              <a:ext cx="44537" cy="44537"/>
            </a:xfrm>
            <a:custGeom>
              <a:avLst/>
              <a:gdLst>
                <a:gd name="T0" fmla="*/ 0 w 22"/>
                <a:gd name="T1" fmla="*/ 0 h 22"/>
                <a:gd name="T2" fmla="*/ 0 w 22"/>
                <a:gd name="T3" fmla="*/ 0 h 22"/>
                <a:gd name="T4" fmla="*/ 0 w 22"/>
                <a:gd name="T5" fmla="*/ 22 h 22"/>
                <a:gd name="T6" fmla="*/ 22 w 22"/>
                <a:gd name="T7" fmla="*/ 22 h 22"/>
                <a:gd name="T8" fmla="*/ 0 w 22"/>
                <a:gd name="T9" fmla="*/ 0 h 22"/>
                <a:gd name="T10" fmla="*/ 2 w 22"/>
                <a:gd name="T11" fmla="*/ 3 h 22"/>
                <a:gd name="T12" fmla="*/ 19 w 22"/>
                <a:gd name="T13" fmla="*/ 20 h 22"/>
                <a:gd name="T14" fmla="*/ 2 w 22"/>
                <a:gd name="T15" fmla="*/ 20 h 22"/>
                <a:gd name="T16" fmla="*/ 2 w 22"/>
                <a:gd name="T17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0"/>
                    <a:pt x="12" y="0"/>
                    <a:pt x="0" y="0"/>
                  </a:cubicBezTo>
                  <a:close/>
                  <a:moveTo>
                    <a:pt x="2" y="3"/>
                  </a:moveTo>
                  <a:cubicBezTo>
                    <a:pt x="11" y="4"/>
                    <a:pt x="18" y="11"/>
                    <a:pt x="19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45"/>
            <p:cNvSpPr>
              <a:spLocks/>
            </p:cNvSpPr>
            <p:nvPr/>
          </p:nvSpPr>
          <p:spPr bwMode="auto">
            <a:xfrm>
              <a:off x="5684991" y="3282726"/>
              <a:ext cx="82859" cy="10358"/>
            </a:xfrm>
            <a:custGeom>
              <a:avLst/>
              <a:gdLst>
                <a:gd name="T0" fmla="*/ 0 w 80"/>
                <a:gd name="T1" fmla="*/ 6 h 10"/>
                <a:gd name="T2" fmla="*/ 30 w 80"/>
                <a:gd name="T3" fmla="*/ 10 h 10"/>
                <a:gd name="T4" fmla="*/ 72 w 80"/>
                <a:gd name="T5" fmla="*/ 10 h 10"/>
                <a:gd name="T6" fmla="*/ 80 w 80"/>
                <a:gd name="T7" fmla="*/ 0 h 10"/>
                <a:gd name="T8" fmla="*/ 0 w 80"/>
                <a:gd name="T9" fmla="*/ 0 h 10"/>
                <a:gd name="T10" fmla="*/ 0 w 80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">
                  <a:moveTo>
                    <a:pt x="0" y="6"/>
                  </a:moveTo>
                  <a:lnTo>
                    <a:pt x="30" y="10"/>
                  </a:lnTo>
                  <a:lnTo>
                    <a:pt x="72" y="10"/>
                  </a:lnTo>
                  <a:lnTo>
                    <a:pt x="8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46"/>
            <p:cNvSpPr>
              <a:spLocks/>
            </p:cNvSpPr>
            <p:nvPr/>
          </p:nvSpPr>
          <p:spPr bwMode="auto">
            <a:xfrm>
              <a:off x="5684992" y="3262011"/>
              <a:ext cx="108752" cy="10358"/>
            </a:xfrm>
            <a:custGeom>
              <a:avLst/>
              <a:gdLst>
                <a:gd name="T0" fmla="*/ 0 w 53"/>
                <a:gd name="T1" fmla="*/ 0 h 5"/>
                <a:gd name="T2" fmla="*/ 0 w 53"/>
                <a:gd name="T3" fmla="*/ 5 h 5"/>
                <a:gd name="T4" fmla="*/ 53 w 53"/>
                <a:gd name="T5" fmla="*/ 5 h 5"/>
                <a:gd name="T6" fmla="*/ 50 w 53"/>
                <a:gd name="T7" fmla="*/ 0 h 5"/>
                <a:gd name="T8" fmla="*/ 0 w 5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4"/>
                    <a:pt x="51" y="2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47"/>
            <p:cNvSpPr>
              <a:spLocks/>
            </p:cNvSpPr>
            <p:nvPr/>
          </p:nvSpPr>
          <p:spPr bwMode="auto">
            <a:xfrm>
              <a:off x="5526525" y="3190546"/>
              <a:ext cx="364578" cy="187468"/>
            </a:xfrm>
            <a:custGeom>
              <a:avLst/>
              <a:gdLst>
                <a:gd name="T0" fmla="*/ 0 w 177"/>
                <a:gd name="T1" fmla="*/ 0 h 91"/>
                <a:gd name="T2" fmla="*/ 0 w 177"/>
                <a:gd name="T3" fmla="*/ 20 h 91"/>
                <a:gd name="T4" fmla="*/ 9 w 177"/>
                <a:gd name="T5" fmla="*/ 20 h 91"/>
                <a:gd name="T6" fmla="*/ 9 w 177"/>
                <a:gd name="T7" fmla="*/ 91 h 91"/>
                <a:gd name="T8" fmla="*/ 116 w 177"/>
                <a:gd name="T9" fmla="*/ 91 h 91"/>
                <a:gd name="T10" fmla="*/ 117 w 177"/>
                <a:gd name="T11" fmla="*/ 85 h 91"/>
                <a:gd name="T12" fmla="*/ 14 w 177"/>
                <a:gd name="T13" fmla="*/ 85 h 91"/>
                <a:gd name="T14" fmla="*/ 14 w 177"/>
                <a:gd name="T15" fmla="*/ 20 h 91"/>
                <a:gd name="T16" fmla="*/ 126 w 177"/>
                <a:gd name="T17" fmla="*/ 20 h 91"/>
                <a:gd name="T18" fmla="*/ 141 w 177"/>
                <a:gd name="T19" fmla="*/ 8 h 91"/>
                <a:gd name="T20" fmla="*/ 156 w 177"/>
                <a:gd name="T21" fmla="*/ 20 h 91"/>
                <a:gd name="T22" fmla="*/ 163 w 177"/>
                <a:gd name="T23" fmla="*/ 20 h 91"/>
                <a:gd name="T24" fmla="*/ 163 w 177"/>
                <a:gd name="T25" fmla="*/ 42 h 91"/>
                <a:gd name="T26" fmla="*/ 168 w 177"/>
                <a:gd name="T27" fmla="*/ 48 h 91"/>
                <a:gd name="T28" fmla="*/ 168 w 177"/>
                <a:gd name="T29" fmla="*/ 20 h 91"/>
                <a:gd name="T30" fmla="*/ 177 w 177"/>
                <a:gd name="T31" fmla="*/ 20 h 91"/>
                <a:gd name="T32" fmla="*/ 177 w 177"/>
                <a:gd name="T33" fmla="*/ 0 h 91"/>
                <a:gd name="T34" fmla="*/ 0 w 177"/>
                <a:gd name="T3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7" h="91">
                  <a:moveTo>
                    <a:pt x="0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17" y="89"/>
                    <a:pt x="117" y="87"/>
                    <a:pt x="117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8" y="13"/>
                    <a:pt x="134" y="8"/>
                    <a:pt x="141" y="8"/>
                  </a:cubicBezTo>
                  <a:cubicBezTo>
                    <a:pt x="148" y="8"/>
                    <a:pt x="154" y="13"/>
                    <a:pt x="156" y="20"/>
                  </a:cubicBezTo>
                  <a:cubicBezTo>
                    <a:pt x="163" y="20"/>
                    <a:pt x="163" y="20"/>
                    <a:pt x="163" y="20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5" y="43"/>
                    <a:pt x="167" y="45"/>
                    <a:pt x="168" y="48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77" y="20"/>
                    <a:pt x="177" y="20"/>
                    <a:pt x="177" y="20"/>
                  </a:cubicBezTo>
                  <a:cubicBezTo>
                    <a:pt x="177" y="0"/>
                    <a:pt x="177" y="0"/>
                    <a:pt x="17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Oval 148"/>
            <p:cNvSpPr>
              <a:spLocks noChangeArrowheads="1"/>
            </p:cNvSpPr>
            <p:nvPr/>
          </p:nvSpPr>
          <p:spPr bwMode="auto">
            <a:xfrm>
              <a:off x="5791673" y="3215404"/>
              <a:ext cx="49715" cy="5903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149"/>
            <p:cNvSpPr>
              <a:spLocks/>
            </p:cNvSpPr>
            <p:nvPr/>
          </p:nvSpPr>
          <p:spPr bwMode="auto">
            <a:xfrm>
              <a:off x="5687063" y="3278583"/>
              <a:ext cx="187468" cy="251684"/>
            </a:xfrm>
            <a:custGeom>
              <a:avLst/>
              <a:gdLst>
                <a:gd name="T0" fmla="*/ 80 w 91"/>
                <a:gd name="T1" fmla="*/ 2 h 122"/>
                <a:gd name="T2" fmla="*/ 79 w 91"/>
                <a:gd name="T3" fmla="*/ 2 h 122"/>
                <a:gd name="T4" fmla="*/ 79 w 91"/>
                <a:gd name="T5" fmla="*/ 2 h 122"/>
                <a:gd name="T6" fmla="*/ 73 w 91"/>
                <a:gd name="T7" fmla="*/ 1 h 122"/>
                <a:gd name="T8" fmla="*/ 73 w 91"/>
                <a:gd name="T9" fmla="*/ 2 h 122"/>
                <a:gd name="T10" fmla="*/ 78 w 91"/>
                <a:gd name="T11" fmla="*/ 6 h 122"/>
                <a:gd name="T12" fmla="*/ 72 w 91"/>
                <a:gd name="T13" fmla="*/ 9 h 122"/>
                <a:gd name="T14" fmla="*/ 75 w 91"/>
                <a:gd name="T15" fmla="*/ 14 h 122"/>
                <a:gd name="T16" fmla="*/ 67 w 91"/>
                <a:gd name="T17" fmla="*/ 31 h 122"/>
                <a:gd name="T18" fmla="*/ 66 w 91"/>
                <a:gd name="T19" fmla="*/ 7 h 122"/>
                <a:gd name="T20" fmla="*/ 67 w 91"/>
                <a:gd name="T21" fmla="*/ 6 h 122"/>
                <a:gd name="T22" fmla="*/ 65 w 91"/>
                <a:gd name="T23" fmla="*/ 0 h 122"/>
                <a:gd name="T24" fmla="*/ 61 w 91"/>
                <a:gd name="T25" fmla="*/ 0 h 122"/>
                <a:gd name="T26" fmla="*/ 59 w 91"/>
                <a:gd name="T27" fmla="*/ 6 h 122"/>
                <a:gd name="T28" fmla="*/ 60 w 91"/>
                <a:gd name="T29" fmla="*/ 7 h 122"/>
                <a:gd name="T30" fmla="*/ 59 w 91"/>
                <a:gd name="T31" fmla="*/ 31 h 122"/>
                <a:gd name="T32" fmla="*/ 51 w 91"/>
                <a:gd name="T33" fmla="*/ 14 h 122"/>
                <a:gd name="T34" fmla="*/ 54 w 91"/>
                <a:gd name="T35" fmla="*/ 9 h 122"/>
                <a:gd name="T36" fmla="*/ 48 w 91"/>
                <a:gd name="T37" fmla="*/ 6 h 122"/>
                <a:gd name="T38" fmla="*/ 53 w 91"/>
                <a:gd name="T39" fmla="*/ 2 h 122"/>
                <a:gd name="T40" fmla="*/ 53 w 91"/>
                <a:gd name="T41" fmla="*/ 1 h 122"/>
                <a:gd name="T42" fmla="*/ 49 w 91"/>
                <a:gd name="T43" fmla="*/ 2 h 122"/>
                <a:gd name="T44" fmla="*/ 47 w 91"/>
                <a:gd name="T45" fmla="*/ 2 h 122"/>
                <a:gd name="T46" fmla="*/ 47 w 91"/>
                <a:gd name="T47" fmla="*/ 2 h 122"/>
                <a:gd name="T48" fmla="*/ 46 w 91"/>
                <a:gd name="T49" fmla="*/ 2 h 122"/>
                <a:gd name="T50" fmla="*/ 44 w 91"/>
                <a:gd name="T51" fmla="*/ 4 h 122"/>
                <a:gd name="T52" fmla="*/ 34 w 91"/>
                <a:gd name="T53" fmla="*/ 13 h 122"/>
                <a:gd name="T54" fmla="*/ 34 w 91"/>
                <a:gd name="T55" fmla="*/ 14 h 122"/>
                <a:gd name="T56" fmla="*/ 29 w 91"/>
                <a:gd name="T57" fmla="*/ 13 h 122"/>
                <a:gd name="T58" fmla="*/ 2 w 91"/>
                <a:gd name="T59" fmla="*/ 9 h 122"/>
                <a:gd name="T60" fmla="*/ 0 w 91"/>
                <a:gd name="T61" fmla="*/ 26 h 122"/>
                <a:gd name="T62" fmla="*/ 27 w 91"/>
                <a:gd name="T63" fmla="*/ 28 h 122"/>
                <a:gd name="T64" fmla="*/ 34 w 91"/>
                <a:gd name="T65" fmla="*/ 29 h 122"/>
                <a:gd name="T66" fmla="*/ 35 w 91"/>
                <a:gd name="T67" fmla="*/ 29 h 122"/>
                <a:gd name="T68" fmla="*/ 36 w 91"/>
                <a:gd name="T69" fmla="*/ 29 h 122"/>
                <a:gd name="T70" fmla="*/ 43 w 91"/>
                <a:gd name="T71" fmla="*/ 26 h 122"/>
                <a:gd name="T72" fmla="*/ 43 w 91"/>
                <a:gd name="T73" fmla="*/ 25 h 122"/>
                <a:gd name="T74" fmla="*/ 42 w 91"/>
                <a:gd name="T75" fmla="*/ 65 h 122"/>
                <a:gd name="T76" fmla="*/ 42 w 91"/>
                <a:gd name="T77" fmla="*/ 65 h 122"/>
                <a:gd name="T78" fmla="*/ 44 w 91"/>
                <a:gd name="T79" fmla="*/ 65 h 122"/>
                <a:gd name="T80" fmla="*/ 46 w 91"/>
                <a:gd name="T81" fmla="*/ 122 h 122"/>
                <a:gd name="T82" fmla="*/ 62 w 91"/>
                <a:gd name="T83" fmla="*/ 122 h 122"/>
                <a:gd name="T84" fmla="*/ 62 w 91"/>
                <a:gd name="T85" fmla="*/ 65 h 122"/>
                <a:gd name="T86" fmla="*/ 64 w 91"/>
                <a:gd name="T87" fmla="*/ 65 h 122"/>
                <a:gd name="T88" fmla="*/ 66 w 91"/>
                <a:gd name="T89" fmla="*/ 122 h 122"/>
                <a:gd name="T90" fmla="*/ 82 w 91"/>
                <a:gd name="T91" fmla="*/ 122 h 122"/>
                <a:gd name="T92" fmla="*/ 82 w 91"/>
                <a:gd name="T93" fmla="*/ 65 h 122"/>
                <a:gd name="T94" fmla="*/ 84 w 91"/>
                <a:gd name="T95" fmla="*/ 65 h 122"/>
                <a:gd name="T96" fmla="*/ 84 w 91"/>
                <a:gd name="T97" fmla="*/ 65 h 122"/>
                <a:gd name="T98" fmla="*/ 91 w 91"/>
                <a:gd name="T99" fmla="*/ 64 h 122"/>
                <a:gd name="T100" fmla="*/ 87 w 91"/>
                <a:gd name="T101" fmla="*/ 9 h 122"/>
                <a:gd name="T102" fmla="*/ 80 w 91"/>
                <a:gd name="T103" fmla="*/ 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" h="122">
                  <a:moveTo>
                    <a:pt x="80" y="2"/>
                  </a:moveTo>
                  <a:cubicBezTo>
                    <a:pt x="79" y="2"/>
                    <a:pt x="79" y="2"/>
                    <a:pt x="79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7" y="2"/>
                    <a:pt x="75" y="2"/>
                    <a:pt x="73" y="1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2"/>
                    <a:pt x="50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5" y="3"/>
                    <a:pt x="45" y="3"/>
                    <a:pt x="44" y="4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4"/>
                    <a:pt x="1" y="20"/>
                    <a:pt x="0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8"/>
                    <a:pt x="43" y="26"/>
                    <a:pt x="43" y="26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38"/>
                    <a:pt x="43" y="51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3" y="65"/>
                    <a:pt x="44" y="65"/>
                    <a:pt x="44" y="65"/>
                  </a:cubicBezTo>
                  <a:cubicBezTo>
                    <a:pt x="46" y="122"/>
                    <a:pt x="46" y="122"/>
                    <a:pt x="46" y="122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3" y="105"/>
                    <a:pt x="62" y="76"/>
                    <a:pt x="62" y="65"/>
                  </a:cubicBezTo>
                  <a:cubicBezTo>
                    <a:pt x="63" y="65"/>
                    <a:pt x="63" y="65"/>
                    <a:pt x="64" y="65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2" y="105"/>
                    <a:pt x="82" y="76"/>
                    <a:pt x="82" y="65"/>
                  </a:cubicBezTo>
                  <a:cubicBezTo>
                    <a:pt x="82" y="65"/>
                    <a:pt x="83" y="65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6" y="65"/>
                    <a:pt x="89" y="64"/>
                    <a:pt x="91" y="64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5"/>
                    <a:pt x="83" y="2"/>
                    <a:pt x="8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113682" y="3970175"/>
            <a:ext cx="468000" cy="468000"/>
            <a:chOff x="7065459" y="4699865"/>
            <a:chExt cx="828000" cy="828000"/>
          </a:xfrm>
        </p:grpSpPr>
        <p:sp>
          <p:nvSpPr>
            <p:cNvPr id="81" name="Oval 33"/>
            <p:cNvSpPr>
              <a:spLocks noChangeArrowheads="1"/>
            </p:cNvSpPr>
            <p:nvPr/>
          </p:nvSpPr>
          <p:spPr bwMode="auto">
            <a:xfrm>
              <a:off x="7065459" y="469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2" name="Oval 33"/>
            <p:cNvSpPr>
              <a:spLocks noChangeArrowheads="1"/>
            </p:cNvSpPr>
            <p:nvPr/>
          </p:nvSpPr>
          <p:spPr bwMode="auto">
            <a:xfrm>
              <a:off x="7119459" y="475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3" name="组合 82"/>
            <p:cNvGrpSpPr/>
            <p:nvPr/>
          </p:nvGrpSpPr>
          <p:grpSpPr>
            <a:xfrm>
              <a:off x="7299459" y="4897865"/>
              <a:ext cx="360000" cy="432000"/>
              <a:chOff x="6098443" y="4495115"/>
              <a:chExt cx="378388" cy="476437"/>
            </a:xfrm>
          </p:grpSpPr>
          <p:sp>
            <p:nvSpPr>
              <p:cNvPr id="84" name="Freeform 66"/>
              <p:cNvSpPr>
                <a:spLocks noEditPoints="1"/>
              </p:cNvSpPr>
              <p:nvPr/>
            </p:nvSpPr>
            <p:spPr bwMode="auto">
              <a:xfrm>
                <a:off x="6098443" y="4495115"/>
                <a:ext cx="378388" cy="476437"/>
              </a:xfrm>
              <a:custGeom>
                <a:avLst/>
                <a:gdLst>
                  <a:gd name="T0" fmla="*/ 0 w 138"/>
                  <a:gd name="T1" fmla="*/ 69 h 174"/>
                  <a:gd name="T2" fmla="*/ 138 w 138"/>
                  <a:gd name="T3" fmla="*/ 69 h 174"/>
                  <a:gd name="T4" fmla="*/ 114 w 138"/>
                  <a:gd name="T5" fmla="*/ 81 h 174"/>
                  <a:gd name="T6" fmla="*/ 110 w 138"/>
                  <a:gd name="T7" fmla="*/ 89 h 174"/>
                  <a:gd name="T8" fmla="*/ 101 w 138"/>
                  <a:gd name="T9" fmla="*/ 89 h 174"/>
                  <a:gd name="T10" fmla="*/ 101 w 138"/>
                  <a:gd name="T11" fmla="*/ 101 h 174"/>
                  <a:gd name="T12" fmla="*/ 94 w 138"/>
                  <a:gd name="T13" fmla="*/ 107 h 174"/>
                  <a:gd name="T14" fmla="*/ 85 w 138"/>
                  <a:gd name="T15" fmla="*/ 102 h 174"/>
                  <a:gd name="T16" fmla="*/ 79 w 138"/>
                  <a:gd name="T17" fmla="*/ 112 h 174"/>
                  <a:gd name="T18" fmla="*/ 70 w 138"/>
                  <a:gd name="T19" fmla="*/ 114 h 174"/>
                  <a:gd name="T20" fmla="*/ 65 w 138"/>
                  <a:gd name="T21" fmla="*/ 105 h 174"/>
                  <a:gd name="T22" fmla="*/ 55 w 138"/>
                  <a:gd name="T23" fmla="*/ 111 h 174"/>
                  <a:gd name="T24" fmla="*/ 47 w 138"/>
                  <a:gd name="T25" fmla="*/ 108 h 174"/>
                  <a:gd name="T26" fmla="*/ 47 w 138"/>
                  <a:gd name="T27" fmla="*/ 98 h 174"/>
                  <a:gd name="T28" fmla="*/ 35 w 138"/>
                  <a:gd name="T29" fmla="*/ 98 h 174"/>
                  <a:gd name="T30" fmla="*/ 29 w 138"/>
                  <a:gd name="T31" fmla="*/ 91 h 174"/>
                  <a:gd name="T32" fmla="*/ 34 w 138"/>
                  <a:gd name="T33" fmla="*/ 83 h 174"/>
                  <a:gd name="T34" fmla="*/ 24 w 138"/>
                  <a:gd name="T35" fmla="*/ 77 h 174"/>
                  <a:gd name="T36" fmla="*/ 23 w 138"/>
                  <a:gd name="T37" fmla="*/ 68 h 174"/>
                  <a:gd name="T38" fmla="*/ 31 w 138"/>
                  <a:gd name="T39" fmla="*/ 63 h 174"/>
                  <a:gd name="T40" fmla="*/ 25 w 138"/>
                  <a:gd name="T41" fmla="*/ 53 h 174"/>
                  <a:gd name="T42" fmla="*/ 28 w 138"/>
                  <a:gd name="T43" fmla="*/ 45 h 174"/>
                  <a:gd name="T44" fmla="*/ 38 w 138"/>
                  <a:gd name="T45" fmla="*/ 44 h 174"/>
                  <a:gd name="T46" fmla="*/ 38 w 138"/>
                  <a:gd name="T47" fmla="*/ 32 h 174"/>
                  <a:gd name="T48" fmla="*/ 45 w 138"/>
                  <a:gd name="T49" fmla="*/ 27 h 174"/>
                  <a:gd name="T50" fmla="*/ 54 w 138"/>
                  <a:gd name="T51" fmla="*/ 32 h 174"/>
                  <a:gd name="T52" fmla="*/ 59 w 138"/>
                  <a:gd name="T53" fmla="*/ 21 h 174"/>
                  <a:gd name="T54" fmla="*/ 68 w 138"/>
                  <a:gd name="T55" fmla="*/ 20 h 174"/>
                  <a:gd name="T56" fmla="*/ 73 w 138"/>
                  <a:gd name="T57" fmla="*/ 29 h 174"/>
                  <a:gd name="T58" fmla="*/ 83 w 138"/>
                  <a:gd name="T59" fmla="*/ 22 h 174"/>
                  <a:gd name="T60" fmla="*/ 92 w 138"/>
                  <a:gd name="T61" fmla="*/ 26 h 174"/>
                  <a:gd name="T62" fmla="*/ 92 w 138"/>
                  <a:gd name="T63" fmla="*/ 36 h 174"/>
                  <a:gd name="T64" fmla="*/ 104 w 138"/>
                  <a:gd name="T65" fmla="*/ 35 h 174"/>
                  <a:gd name="T66" fmla="*/ 109 w 138"/>
                  <a:gd name="T67" fmla="*/ 43 h 174"/>
                  <a:gd name="T68" fmla="*/ 105 w 138"/>
                  <a:gd name="T69" fmla="*/ 51 h 174"/>
                  <a:gd name="T70" fmla="*/ 115 w 138"/>
                  <a:gd name="T71" fmla="*/ 57 h 174"/>
                  <a:gd name="T72" fmla="*/ 116 w 138"/>
                  <a:gd name="T73" fmla="*/ 66 h 174"/>
                  <a:gd name="T74" fmla="*/ 108 w 138"/>
                  <a:gd name="T75" fmla="*/ 71 h 174"/>
                  <a:gd name="T76" fmla="*/ 114 w 138"/>
                  <a:gd name="T77" fmla="*/ 81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8" h="174">
                    <a:moveTo>
                      <a:pt x="69" y="0"/>
                    </a:moveTo>
                    <a:cubicBezTo>
                      <a:pt x="31" y="0"/>
                      <a:pt x="0" y="31"/>
                      <a:pt x="0" y="69"/>
                    </a:cubicBezTo>
                    <a:cubicBezTo>
                      <a:pt x="0" y="107"/>
                      <a:pt x="69" y="174"/>
                      <a:pt x="69" y="174"/>
                    </a:cubicBezTo>
                    <a:cubicBezTo>
                      <a:pt x="69" y="174"/>
                      <a:pt x="138" y="107"/>
                      <a:pt x="138" y="69"/>
                    </a:cubicBezTo>
                    <a:cubicBezTo>
                      <a:pt x="138" y="31"/>
                      <a:pt x="107" y="0"/>
                      <a:pt x="69" y="0"/>
                    </a:cubicBezTo>
                    <a:close/>
                    <a:moveTo>
                      <a:pt x="114" y="81"/>
                    </a:moveTo>
                    <a:cubicBezTo>
                      <a:pt x="113" y="83"/>
                      <a:pt x="113" y="83"/>
                      <a:pt x="113" y="83"/>
                    </a:cubicBezTo>
                    <a:cubicBezTo>
                      <a:pt x="110" y="89"/>
                      <a:pt x="110" y="89"/>
                      <a:pt x="110" y="89"/>
                    </a:cubicBezTo>
                    <a:cubicBezTo>
                      <a:pt x="109" y="92"/>
                      <a:pt x="109" y="92"/>
                      <a:pt x="109" y="92"/>
                    </a:cubicBezTo>
                    <a:cubicBezTo>
                      <a:pt x="101" y="89"/>
                      <a:pt x="101" y="89"/>
                      <a:pt x="101" y="89"/>
                    </a:cubicBezTo>
                    <a:cubicBezTo>
                      <a:pt x="99" y="91"/>
                      <a:pt x="98" y="93"/>
                      <a:pt x="97" y="94"/>
                    </a:cubicBezTo>
                    <a:cubicBezTo>
                      <a:pt x="101" y="101"/>
                      <a:pt x="101" y="101"/>
                      <a:pt x="101" y="101"/>
                    </a:cubicBezTo>
                    <a:cubicBezTo>
                      <a:pt x="99" y="103"/>
                      <a:pt x="99" y="103"/>
                      <a:pt x="99" y="103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2" y="108"/>
                      <a:pt x="92" y="108"/>
                      <a:pt x="92" y="108"/>
                    </a:cubicBezTo>
                    <a:cubicBezTo>
                      <a:pt x="85" y="102"/>
                      <a:pt x="85" y="102"/>
                      <a:pt x="85" y="102"/>
                    </a:cubicBezTo>
                    <a:cubicBezTo>
                      <a:pt x="83" y="103"/>
                      <a:pt x="81" y="103"/>
                      <a:pt x="79" y="104"/>
                    </a:cubicBezTo>
                    <a:cubicBezTo>
                      <a:pt x="79" y="112"/>
                      <a:pt x="79" y="112"/>
                      <a:pt x="79" y="112"/>
                    </a:cubicBezTo>
                    <a:cubicBezTo>
                      <a:pt x="77" y="113"/>
                      <a:pt x="77" y="113"/>
                      <a:pt x="77" y="113"/>
                    </a:cubicBezTo>
                    <a:cubicBezTo>
                      <a:pt x="70" y="114"/>
                      <a:pt x="70" y="114"/>
                      <a:pt x="70" y="114"/>
                    </a:cubicBezTo>
                    <a:cubicBezTo>
                      <a:pt x="68" y="114"/>
                      <a:pt x="68" y="114"/>
                      <a:pt x="68" y="114"/>
                    </a:cubicBezTo>
                    <a:cubicBezTo>
                      <a:pt x="65" y="105"/>
                      <a:pt x="65" y="105"/>
                      <a:pt x="65" y="105"/>
                    </a:cubicBezTo>
                    <a:cubicBezTo>
                      <a:pt x="63" y="105"/>
                      <a:pt x="61" y="105"/>
                      <a:pt x="60" y="104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3" y="110"/>
                      <a:pt x="53" y="110"/>
                      <a:pt x="53" y="110"/>
                    </a:cubicBezTo>
                    <a:cubicBezTo>
                      <a:pt x="47" y="108"/>
                      <a:pt x="47" y="108"/>
                      <a:pt x="47" y="108"/>
                    </a:cubicBezTo>
                    <a:cubicBezTo>
                      <a:pt x="45" y="107"/>
                      <a:pt x="45" y="107"/>
                      <a:pt x="45" y="107"/>
                    </a:cubicBezTo>
                    <a:cubicBezTo>
                      <a:pt x="47" y="98"/>
                      <a:pt x="47" y="98"/>
                      <a:pt x="47" y="98"/>
                    </a:cubicBezTo>
                    <a:cubicBezTo>
                      <a:pt x="45" y="97"/>
                      <a:pt x="44" y="96"/>
                      <a:pt x="42" y="94"/>
                    </a:cubicBezTo>
                    <a:cubicBezTo>
                      <a:pt x="35" y="98"/>
                      <a:pt x="35" y="98"/>
                      <a:pt x="35" y="98"/>
                    </a:cubicBezTo>
                    <a:cubicBezTo>
                      <a:pt x="33" y="96"/>
                      <a:pt x="33" y="96"/>
                      <a:pt x="33" y="96"/>
                    </a:cubicBezTo>
                    <a:cubicBezTo>
                      <a:pt x="29" y="91"/>
                      <a:pt x="29" y="91"/>
                      <a:pt x="29" y="91"/>
                    </a:cubicBezTo>
                    <a:cubicBezTo>
                      <a:pt x="28" y="89"/>
                      <a:pt x="28" y="89"/>
                      <a:pt x="28" y="89"/>
                    </a:cubicBezTo>
                    <a:cubicBezTo>
                      <a:pt x="34" y="83"/>
                      <a:pt x="34" y="83"/>
                      <a:pt x="34" y="83"/>
                    </a:cubicBezTo>
                    <a:cubicBezTo>
                      <a:pt x="33" y="81"/>
                      <a:pt x="32" y="79"/>
                      <a:pt x="32" y="77"/>
                    </a:cubicBezTo>
                    <a:cubicBezTo>
                      <a:pt x="24" y="77"/>
                      <a:pt x="24" y="77"/>
                      <a:pt x="24" y="77"/>
                    </a:cubicBezTo>
                    <a:cubicBezTo>
                      <a:pt x="23" y="74"/>
                      <a:pt x="23" y="74"/>
                      <a:pt x="23" y="74"/>
                    </a:cubicBezTo>
                    <a:cubicBezTo>
                      <a:pt x="23" y="68"/>
                      <a:pt x="23" y="68"/>
                      <a:pt x="23" y="68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31" y="63"/>
                      <a:pt x="31" y="63"/>
                      <a:pt x="31" y="63"/>
                    </a:cubicBezTo>
                    <a:cubicBezTo>
                      <a:pt x="31" y="61"/>
                      <a:pt x="31" y="59"/>
                      <a:pt x="32" y="57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29" y="42"/>
                      <a:pt x="29" y="42"/>
                      <a:pt x="29" y="42"/>
                    </a:cubicBezTo>
                    <a:cubicBezTo>
                      <a:pt x="38" y="44"/>
                      <a:pt x="38" y="44"/>
                      <a:pt x="38" y="44"/>
                    </a:cubicBezTo>
                    <a:cubicBezTo>
                      <a:pt x="39" y="43"/>
                      <a:pt x="41" y="41"/>
                      <a:pt x="42" y="40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55" y="31"/>
                      <a:pt x="57" y="30"/>
                      <a:pt x="59" y="30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62" y="21"/>
                      <a:pt x="62" y="21"/>
                      <a:pt x="62" y="21"/>
                    </a:cubicBezTo>
                    <a:cubicBezTo>
                      <a:pt x="68" y="20"/>
                      <a:pt x="68" y="20"/>
                      <a:pt x="68" y="20"/>
                    </a:cubicBezTo>
                    <a:cubicBezTo>
                      <a:pt x="71" y="20"/>
                      <a:pt x="71" y="20"/>
                      <a:pt x="71" y="20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5" y="29"/>
                      <a:pt x="77" y="29"/>
                      <a:pt x="79" y="30"/>
                    </a:cubicBezTo>
                    <a:cubicBezTo>
                      <a:pt x="83" y="22"/>
                      <a:pt x="83" y="22"/>
                      <a:pt x="83" y="22"/>
                    </a:cubicBezTo>
                    <a:cubicBezTo>
                      <a:pt x="86" y="23"/>
                      <a:pt x="86" y="23"/>
                      <a:pt x="86" y="23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4" y="27"/>
                      <a:pt x="94" y="27"/>
                      <a:pt x="94" y="27"/>
                    </a:cubicBezTo>
                    <a:cubicBezTo>
                      <a:pt x="92" y="36"/>
                      <a:pt x="92" y="36"/>
                      <a:pt x="92" y="36"/>
                    </a:cubicBezTo>
                    <a:cubicBezTo>
                      <a:pt x="93" y="37"/>
                      <a:pt x="95" y="38"/>
                      <a:pt x="96" y="39"/>
                    </a:cubicBezTo>
                    <a:cubicBezTo>
                      <a:pt x="104" y="35"/>
                      <a:pt x="104" y="35"/>
                      <a:pt x="104" y="35"/>
                    </a:cubicBezTo>
                    <a:cubicBezTo>
                      <a:pt x="105" y="37"/>
                      <a:pt x="105" y="37"/>
                      <a:pt x="105" y="3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111" y="45"/>
                      <a:pt x="111" y="45"/>
                      <a:pt x="111" y="45"/>
                    </a:cubicBezTo>
                    <a:cubicBezTo>
                      <a:pt x="105" y="51"/>
                      <a:pt x="105" y="51"/>
                      <a:pt x="105" y="51"/>
                    </a:cubicBezTo>
                    <a:cubicBezTo>
                      <a:pt x="105" y="53"/>
                      <a:pt x="106" y="55"/>
                      <a:pt x="107" y="57"/>
                    </a:cubicBezTo>
                    <a:cubicBezTo>
                      <a:pt x="115" y="57"/>
                      <a:pt x="115" y="57"/>
                      <a:pt x="115" y="57"/>
                    </a:cubicBezTo>
                    <a:cubicBezTo>
                      <a:pt x="115" y="59"/>
                      <a:pt x="115" y="59"/>
                      <a:pt x="115" y="59"/>
                    </a:cubicBezTo>
                    <a:cubicBezTo>
                      <a:pt x="116" y="66"/>
                      <a:pt x="116" y="66"/>
                      <a:pt x="116" y="66"/>
                    </a:cubicBezTo>
                    <a:cubicBezTo>
                      <a:pt x="116" y="68"/>
                      <a:pt x="116" y="68"/>
                      <a:pt x="116" y="68"/>
                    </a:cubicBezTo>
                    <a:cubicBezTo>
                      <a:pt x="108" y="71"/>
                      <a:pt x="108" y="71"/>
                      <a:pt x="108" y="71"/>
                    </a:cubicBezTo>
                    <a:cubicBezTo>
                      <a:pt x="108" y="73"/>
                      <a:pt x="107" y="75"/>
                      <a:pt x="107" y="77"/>
                    </a:cubicBezTo>
                    <a:lnTo>
                      <a:pt x="114" y="81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67"/>
              <p:cNvSpPr>
                <a:spLocks noEditPoints="1"/>
              </p:cNvSpPr>
              <p:nvPr/>
            </p:nvSpPr>
            <p:spPr bwMode="auto">
              <a:xfrm>
                <a:off x="6202016" y="4590402"/>
                <a:ext cx="174003" cy="172622"/>
              </a:xfrm>
              <a:custGeom>
                <a:avLst/>
                <a:gdLst>
                  <a:gd name="T0" fmla="*/ 31 w 63"/>
                  <a:gd name="T1" fmla="*/ 0 h 63"/>
                  <a:gd name="T2" fmla="*/ 0 w 63"/>
                  <a:gd name="T3" fmla="*/ 32 h 63"/>
                  <a:gd name="T4" fmla="*/ 31 w 63"/>
                  <a:gd name="T5" fmla="*/ 63 h 63"/>
                  <a:gd name="T6" fmla="*/ 63 w 63"/>
                  <a:gd name="T7" fmla="*/ 32 h 63"/>
                  <a:gd name="T8" fmla="*/ 31 w 63"/>
                  <a:gd name="T9" fmla="*/ 0 h 63"/>
                  <a:gd name="T10" fmla="*/ 31 w 63"/>
                  <a:gd name="T11" fmla="*/ 46 h 63"/>
                  <a:gd name="T12" fmla="*/ 17 w 63"/>
                  <a:gd name="T13" fmla="*/ 32 h 63"/>
                  <a:gd name="T14" fmla="*/ 31 w 63"/>
                  <a:gd name="T15" fmla="*/ 18 h 63"/>
                  <a:gd name="T16" fmla="*/ 46 w 63"/>
                  <a:gd name="T17" fmla="*/ 32 h 63"/>
                  <a:gd name="T18" fmla="*/ 31 w 63"/>
                  <a:gd name="T19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" h="63">
                    <a:moveTo>
                      <a:pt x="31" y="0"/>
                    </a:moveTo>
                    <a:cubicBezTo>
                      <a:pt x="14" y="0"/>
                      <a:pt x="0" y="14"/>
                      <a:pt x="0" y="32"/>
                    </a:cubicBezTo>
                    <a:cubicBezTo>
                      <a:pt x="0" y="49"/>
                      <a:pt x="14" y="63"/>
                      <a:pt x="31" y="63"/>
                    </a:cubicBezTo>
                    <a:cubicBezTo>
                      <a:pt x="49" y="63"/>
                      <a:pt x="63" y="49"/>
                      <a:pt x="63" y="32"/>
                    </a:cubicBezTo>
                    <a:cubicBezTo>
                      <a:pt x="63" y="14"/>
                      <a:pt x="49" y="0"/>
                      <a:pt x="31" y="0"/>
                    </a:cubicBezTo>
                    <a:close/>
                    <a:moveTo>
                      <a:pt x="31" y="46"/>
                    </a:moveTo>
                    <a:cubicBezTo>
                      <a:pt x="23" y="46"/>
                      <a:pt x="17" y="40"/>
                      <a:pt x="17" y="32"/>
                    </a:cubicBezTo>
                    <a:cubicBezTo>
                      <a:pt x="17" y="24"/>
                      <a:pt x="23" y="18"/>
                      <a:pt x="31" y="18"/>
                    </a:cubicBezTo>
                    <a:cubicBezTo>
                      <a:pt x="39" y="18"/>
                      <a:pt x="46" y="24"/>
                      <a:pt x="46" y="32"/>
                    </a:cubicBezTo>
                    <a:cubicBezTo>
                      <a:pt x="46" y="40"/>
                      <a:pt x="39" y="46"/>
                      <a:pt x="31" y="4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6" name="组合 85"/>
          <p:cNvGrpSpPr/>
          <p:nvPr/>
        </p:nvGrpSpPr>
        <p:grpSpPr>
          <a:xfrm>
            <a:off x="236820" y="2497668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/>
        </p:nvGrpSpPr>
        <p:grpSpPr>
          <a:xfrm>
            <a:off x="236821" y="1999117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/>
        </p:nvGrpSpPr>
        <p:grpSpPr>
          <a:xfrm>
            <a:off x="237019" y="2247628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/>
        </p:nvGrpSpPr>
        <p:grpSpPr>
          <a:xfrm>
            <a:off x="241137" y="4474274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4" name="组合 3"/>
          <p:cNvGrpSpPr/>
          <p:nvPr userDrawn="1"/>
        </p:nvGrpSpPr>
        <p:grpSpPr>
          <a:xfrm>
            <a:off x="274137" y="3515655"/>
            <a:ext cx="131478" cy="122087"/>
            <a:chOff x="280827" y="3030839"/>
            <a:chExt cx="131478" cy="122087"/>
          </a:xfrm>
        </p:grpSpPr>
        <p:sp>
          <p:nvSpPr>
            <p:cNvPr id="43" name="Freeform 165"/>
            <p:cNvSpPr>
              <a:spLocks noEditPoints="1"/>
            </p:cNvSpPr>
            <p:nvPr/>
          </p:nvSpPr>
          <p:spPr bwMode="auto">
            <a:xfrm>
              <a:off x="280827" y="3109323"/>
              <a:ext cx="43826" cy="15180"/>
            </a:xfrm>
            <a:custGeom>
              <a:avLst/>
              <a:gdLst>
                <a:gd name="T0" fmla="*/ 66 w 69"/>
                <a:gd name="T1" fmla="*/ 10 h 24"/>
                <a:gd name="T2" fmla="*/ 35 w 69"/>
                <a:gd name="T3" fmla="*/ 0 h 24"/>
                <a:gd name="T4" fmla="*/ 3 w 69"/>
                <a:gd name="T5" fmla="*/ 10 h 24"/>
                <a:gd name="T6" fmla="*/ 34 w 69"/>
                <a:gd name="T7" fmla="*/ 24 h 24"/>
                <a:gd name="T8" fmla="*/ 66 w 69"/>
                <a:gd name="T9" fmla="*/ 10 h 24"/>
                <a:gd name="T10" fmla="*/ 35 w 69"/>
                <a:gd name="T11" fmla="*/ 19 h 24"/>
                <a:gd name="T12" fmla="*/ 11 w 69"/>
                <a:gd name="T13" fmla="*/ 9 h 24"/>
                <a:gd name="T14" fmla="*/ 35 w 69"/>
                <a:gd name="T15" fmla="*/ 2 h 24"/>
                <a:gd name="T16" fmla="*/ 58 w 69"/>
                <a:gd name="T17" fmla="*/ 9 h 24"/>
                <a:gd name="T18" fmla="*/ 35 w 69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24">
                  <a:moveTo>
                    <a:pt x="66" y="10"/>
                  </a:moveTo>
                  <a:cubicBezTo>
                    <a:pt x="63" y="3"/>
                    <a:pt x="49" y="0"/>
                    <a:pt x="35" y="0"/>
                  </a:cubicBezTo>
                  <a:cubicBezTo>
                    <a:pt x="21" y="0"/>
                    <a:pt x="6" y="4"/>
                    <a:pt x="3" y="10"/>
                  </a:cubicBezTo>
                  <a:cubicBezTo>
                    <a:pt x="0" y="16"/>
                    <a:pt x="14" y="24"/>
                    <a:pt x="34" y="24"/>
                  </a:cubicBezTo>
                  <a:cubicBezTo>
                    <a:pt x="55" y="24"/>
                    <a:pt x="69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4" y="2"/>
                    <a:pt x="35" y="2"/>
                  </a:cubicBezTo>
                  <a:cubicBezTo>
                    <a:pt x="46" y="2"/>
                    <a:pt x="57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66"/>
            <p:cNvSpPr>
              <a:spLocks/>
            </p:cNvSpPr>
            <p:nvPr/>
          </p:nvSpPr>
          <p:spPr bwMode="auto">
            <a:xfrm>
              <a:off x="311537" y="3121274"/>
              <a:ext cx="11197" cy="6460"/>
            </a:xfrm>
            <a:custGeom>
              <a:avLst/>
              <a:gdLst>
                <a:gd name="T0" fmla="*/ 10 w 35"/>
                <a:gd name="T1" fmla="*/ 0 h 20"/>
                <a:gd name="T2" fmla="*/ 35 w 35"/>
                <a:gd name="T3" fmla="*/ 8 h 20"/>
                <a:gd name="T4" fmla="*/ 20 w 35"/>
                <a:gd name="T5" fmla="*/ 20 h 20"/>
                <a:gd name="T6" fmla="*/ 0 w 35"/>
                <a:gd name="T7" fmla="*/ 4 h 20"/>
                <a:gd name="T8" fmla="*/ 10 w 35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10" y="0"/>
                  </a:moveTo>
                  <a:lnTo>
                    <a:pt x="35" y="8"/>
                  </a:lnTo>
                  <a:lnTo>
                    <a:pt x="20" y="20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67"/>
            <p:cNvSpPr>
              <a:spLocks noEditPoints="1"/>
            </p:cNvSpPr>
            <p:nvPr/>
          </p:nvSpPr>
          <p:spPr bwMode="auto">
            <a:xfrm>
              <a:off x="367839" y="3109323"/>
              <a:ext cx="44466" cy="15180"/>
            </a:xfrm>
            <a:custGeom>
              <a:avLst/>
              <a:gdLst>
                <a:gd name="T0" fmla="*/ 66 w 70"/>
                <a:gd name="T1" fmla="*/ 10 h 24"/>
                <a:gd name="T2" fmla="*/ 35 w 70"/>
                <a:gd name="T3" fmla="*/ 0 h 24"/>
                <a:gd name="T4" fmla="*/ 3 w 70"/>
                <a:gd name="T5" fmla="*/ 10 h 24"/>
                <a:gd name="T6" fmla="*/ 35 w 70"/>
                <a:gd name="T7" fmla="*/ 24 h 24"/>
                <a:gd name="T8" fmla="*/ 66 w 70"/>
                <a:gd name="T9" fmla="*/ 10 h 24"/>
                <a:gd name="T10" fmla="*/ 35 w 70"/>
                <a:gd name="T11" fmla="*/ 19 h 24"/>
                <a:gd name="T12" fmla="*/ 11 w 70"/>
                <a:gd name="T13" fmla="*/ 9 h 24"/>
                <a:gd name="T14" fmla="*/ 35 w 70"/>
                <a:gd name="T15" fmla="*/ 2 h 24"/>
                <a:gd name="T16" fmla="*/ 58 w 70"/>
                <a:gd name="T17" fmla="*/ 9 h 24"/>
                <a:gd name="T18" fmla="*/ 35 w 70"/>
                <a:gd name="T1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24">
                  <a:moveTo>
                    <a:pt x="66" y="10"/>
                  </a:moveTo>
                  <a:cubicBezTo>
                    <a:pt x="63" y="4"/>
                    <a:pt x="49" y="0"/>
                    <a:pt x="35" y="0"/>
                  </a:cubicBezTo>
                  <a:cubicBezTo>
                    <a:pt x="21" y="0"/>
                    <a:pt x="7" y="3"/>
                    <a:pt x="3" y="10"/>
                  </a:cubicBezTo>
                  <a:cubicBezTo>
                    <a:pt x="0" y="16"/>
                    <a:pt x="14" y="24"/>
                    <a:pt x="35" y="24"/>
                  </a:cubicBezTo>
                  <a:cubicBezTo>
                    <a:pt x="56" y="24"/>
                    <a:pt x="70" y="16"/>
                    <a:pt x="66" y="10"/>
                  </a:cubicBezTo>
                  <a:close/>
                  <a:moveTo>
                    <a:pt x="35" y="19"/>
                  </a:moveTo>
                  <a:cubicBezTo>
                    <a:pt x="20" y="19"/>
                    <a:pt x="9" y="13"/>
                    <a:pt x="11" y="9"/>
                  </a:cubicBezTo>
                  <a:cubicBezTo>
                    <a:pt x="13" y="5"/>
                    <a:pt x="23" y="2"/>
                    <a:pt x="35" y="2"/>
                  </a:cubicBezTo>
                  <a:cubicBezTo>
                    <a:pt x="46" y="2"/>
                    <a:pt x="56" y="5"/>
                    <a:pt x="58" y="9"/>
                  </a:cubicBezTo>
                  <a:cubicBezTo>
                    <a:pt x="60" y="13"/>
                    <a:pt x="50" y="19"/>
                    <a:pt x="35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168"/>
            <p:cNvSpPr>
              <a:spLocks/>
            </p:cNvSpPr>
            <p:nvPr/>
          </p:nvSpPr>
          <p:spPr bwMode="auto">
            <a:xfrm>
              <a:off x="370398" y="3121274"/>
              <a:ext cx="10877" cy="6460"/>
            </a:xfrm>
            <a:custGeom>
              <a:avLst/>
              <a:gdLst>
                <a:gd name="T0" fmla="*/ 24 w 34"/>
                <a:gd name="T1" fmla="*/ 0 h 20"/>
                <a:gd name="T2" fmla="*/ 0 w 34"/>
                <a:gd name="T3" fmla="*/ 8 h 20"/>
                <a:gd name="T4" fmla="*/ 14 w 34"/>
                <a:gd name="T5" fmla="*/ 20 h 20"/>
                <a:gd name="T6" fmla="*/ 34 w 34"/>
                <a:gd name="T7" fmla="*/ 4 h 20"/>
                <a:gd name="T8" fmla="*/ 24 w 34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24" y="0"/>
                  </a:moveTo>
                  <a:lnTo>
                    <a:pt x="0" y="8"/>
                  </a:lnTo>
                  <a:lnTo>
                    <a:pt x="14" y="20"/>
                  </a:lnTo>
                  <a:lnTo>
                    <a:pt x="34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69"/>
            <p:cNvSpPr>
              <a:spLocks noEditPoints="1"/>
            </p:cNvSpPr>
            <p:nvPr/>
          </p:nvSpPr>
          <p:spPr bwMode="auto">
            <a:xfrm>
              <a:off x="303220" y="3119982"/>
              <a:ext cx="86372" cy="32944"/>
            </a:xfrm>
            <a:custGeom>
              <a:avLst/>
              <a:gdLst>
                <a:gd name="T0" fmla="*/ 129 w 136"/>
                <a:gd name="T1" fmla="*/ 21 h 51"/>
                <a:gd name="T2" fmla="*/ 69 w 136"/>
                <a:gd name="T3" fmla="*/ 0 h 51"/>
                <a:gd name="T4" fmla="*/ 7 w 136"/>
                <a:gd name="T5" fmla="*/ 21 h 51"/>
                <a:gd name="T6" fmla="*/ 68 w 136"/>
                <a:gd name="T7" fmla="*/ 51 h 51"/>
                <a:gd name="T8" fmla="*/ 129 w 136"/>
                <a:gd name="T9" fmla="*/ 21 h 51"/>
                <a:gd name="T10" fmla="*/ 68 w 136"/>
                <a:gd name="T11" fmla="*/ 39 h 51"/>
                <a:gd name="T12" fmla="*/ 22 w 136"/>
                <a:gd name="T13" fmla="*/ 19 h 51"/>
                <a:gd name="T14" fmla="*/ 69 w 136"/>
                <a:gd name="T15" fmla="*/ 5 h 51"/>
                <a:gd name="T16" fmla="*/ 115 w 136"/>
                <a:gd name="T17" fmla="*/ 19 h 51"/>
                <a:gd name="T18" fmla="*/ 68 w 136"/>
                <a:gd name="T19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51">
                  <a:moveTo>
                    <a:pt x="129" y="21"/>
                  </a:moveTo>
                  <a:cubicBezTo>
                    <a:pt x="123" y="8"/>
                    <a:pt x="96" y="0"/>
                    <a:pt x="69" y="0"/>
                  </a:cubicBezTo>
                  <a:cubicBezTo>
                    <a:pt x="41" y="0"/>
                    <a:pt x="13" y="8"/>
                    <a:pt x="7" y="21"/>
                  </a:cubicBezTo>
                  <a:cubicBezTo>
                    <a:pt x="0" y="33"/>
                    <a:pt x="28" y="51"/>
                    <a:pt x="68" y="51"/>
                  </a:cubicBezTo>
                  <a:cubicBezTo>
                    <a:pt x="108" y="51"/>
                    <a:pt x="136" y="33"/>
                    <a:pt x="129" y="21"/>
                  </a:cubicBezTo>
                  <a:close/>
                  <a:moveTo>
                    <a:pt x="68" y="39"/>
                  </a:moveTo>
                  <a:cubicBezTo>
                    <a:pt x="39" y="39"/>
                    <a:pt x="19" y="28"/>
                    <a:pt x="22" y="19"/>
                  </a:cubicBezTo>
                  <a:cubicBezTo>
                    <a:pt x="26" y="10"/>
                    <a:pt x="47" y="5"/>
                    <a:pt x="69" y="5"/>
                  </a:cubicBezTo>
                  <a:cubicBezTo>
                    <a:pt x="91" y="5"/>
                    <a:pt x="111" y="10"/>
                    <a:pt x="115" y="19"/>
                  </a:cubicBezTo>
                  <a:cubicBezTo>
                    <a:pt x="118" y="28"/>
                    <a:pt x="98" y="39"/>
                    <a:pt x="68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70"/>
            <p:cNvSpPr>
              <a:spLocks/>
            </p:cNvSpPr>
            <p:nvPr/>
          </p:nvSpPr>
          <p:spPr bwMode="auto">
            <a:xfrm>
              <a:off x="333610" y="3093820"/>
              <a:ext cx="12796" cy="42957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71"/>
            <p:cNvSpPr>
              <a:spLocks/>
            </p:cNvSpPr>
            <p:nvPr/>
          </p:nvSpPr>
          <p:spPr bwMode="auto">
            <a:xfrm>
              <a:off x="347046" y="3093820"/>
              <a:ext cx="12796" cy="42957"/>
            </a:xfrm>
            <a:custGeom>
              <a:avLst/>
              <a:gdLst>
                <a:gd name="T0" fmla="*/ 0 w 20"/>
                <a:gd name="T1" fmla="*/ 0 h 67"/>
                <a:gd name="T2" fmla="*/ 2 w 20"/>
                <a:gd name="T3" fmla="*/ 67 h 67"/>
                <a:gd name="T4" fmla="*/ 19 w 20"/>
                <a:gd name="T5" fmla="*/ 67 h 67"/>
                <a:gd name="T6" fmla="*/ 19 w 20"/>
                <a:gd name="T7" fmla="*/ 0 h 67"/>
                <a:gd name="T8" fmla="*/ 0 w 2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7">
                  <a:moveTo>
                    <a:pt x="0" y="0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44"/>
                    <a:pt x="19" y="0"/>
                    <a:pt x="19" y="0"/>
                  </a:cubicBezTo>
                  <a:cubicBezTo>
                    <a:pt x="19" y="0"/>
                    <a:pt x="7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Oval 172"/>
            <p:cNvSpPr>
              <a:spLocks noChangeArrowheads="1"/>
            </p:cNvSpPr>
            <p:nvPr/>
          </p:nvSpPr>
          <p:spPr bwMode="auto">
            <a:xfrm>
              <a:off x="338089" y="3030839"/>
              <a:ext cx="16635" cy="2002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tangle 173"/>
            <p:cNvSpPr>
              <a:spLocks noChangeArrowheads="1"/>
            </p:cNvSpPr>
            <p:nvPr/>
          </p:nvSpPr>
          <p:spPr bwMode="auto">
            <a:xfrm>
              <a:off x="346406" y="3079609"/>
              <a:ext cx="320" cy="32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74"/>
            <p:cNvSpPr>
              <a:spLocks/>
            </p:cNvSpPr>
            <p:nvPr/>
          </p:nvSpPr>
          <p:spPr bwMode="auto">
            <a:xfrm>
              <a:off x="327212" y="3053448"/>
              <a:ext cx="38708" cy="43602"/>
            </a:xfrm>
            <a:custGeom>
              <a:avLst/>
              <a:gdLst>
                <a:gd name="T0" fmla="*/ 56 w 61"/>
                <a:gd name="T1" fmla="*/ 8 h 68"/>
                <a:gd name="T2" fmla="*/ 49 w 61"/>
                <a:gd name="T3" fmla="*/ 1 h 68"/>
                <a:gd name="T4" fmla="*/ 41 w 61"/>
                <a:gd name="T5" fmla="*/ 0 h 68"/>
                <a:gd name="T6" fmla="*/ 41 w 61"/>
                <a:gd name="T7" fmla="*/ 0 h 68"/>
                <a:gd name="T8" fmla="*/ 46 w 61"/>
                <a:gd name="T9" fmla="*/ 5 h 68"/>
                <a:gd name="T10" fmla="*/ 40 w 61"/>
                <a:gd name="T11" fmla="*/ 8 h 68"/>
                <a:gd name="T12" fmla="*/ 43 w 61"/>
                <a:gd name="T13" fmla="*/ 13 h 68"/>
                <a:gd name="T14" fmla="*/ 30 w 61"/>
                <a:gd name="T15" fmla="*/ 41 h 68"/>
                <a:gd name="T16" fmla="*/ 30 w 61"/>
                <a:gd name="T17" fmla="*/ 41 h 68"/>
                <a:gd name="T18" fmla="*/ 30 w 61"/>
                <a:gd name="T19" fmla="*/ 41 h 68"/>
                <a:gd name="T20" fmla="*/ 30 w 61"/>
                <a:gd name="T21" fmla="*/ 41 h 68"/>
                <a:gd name="T22" fmla="*/ 30 w 61"/>
                <a:gd name="T23" fmla="*/ 41 h 68"/>
                <a:gd name="T24" fmla="*/ 17 w 61"/>
                <a:gd name="T25" fmla="*/ 13 h 68"/>
                <a:gd name="T26" fmla="*/ 20 w 61"/>
                <a:gd name="T27" fmla="*/ 8 h 68"/>
                <a:gd name="T28" fmla="*/ 14 w 61"/>
                <a:gd name="T29" fmla="*/ 5 h 68"/>
                <a:gd name="T30" fmla="*/ 19 w 61"/>
                <a:gd name="T31" fmla="*/ 0 h 68"/>
                <a:gd name="T32" fmla="*/ 19 w 61"/>
                <a:gd name="T33" fmla="*/ 0 h 68"/>
                <a:gd name="T34" fmla="*/ 12 w 61"/>
                <a:gd name="T35" fmla="*/ 1 h 68"/>
                <a:gd name="T36" fmla="*/ 12 w 61"/>
                <a:gd name="T37" fmla="*/ 1 h 68"/>
                <a:gd name="T38" fmla="*/ 5 w 61"/>
                <a:gd name="T39" fmla="*/ 8 h 68"/>
                <a:gd name="T40" fmla="*/ 0 w 61"/>
                <a:gd name="T41" fmla="*/ 68 h 68"/>
                <a:gd name="T42" fmla="*/ 8 w 61"/>
                <a:gd name="T43" fmla="*/ 68 h 68"/>
                <a:gd name="T44" fmla="*/ 8 w 61"/>
                <a:gd name="T45" fmla="*/ 68 h 68"/>
                <a:gd name="T46" fmla="*/ 9 w 61"/>
                <a:gd name="T47" fmla="*/ 68 h 68"/>
                <a:gd name="T48" fmla="*/ 18 w 61"/>
                <a:gd name="T49" fmla="*/ 68 h 68"/>
                <a:gd name="T50" fmla="*/ 18 w 61"/>
                <a:gd name="T51" fmla="*/ 68 h 68"/>
                <a:gd name="T52" fmla="*/ 43 w 61"/>
                <a:gd name="T53" fmla="*/ 68 h 68"/>
                <a:gd name="T54" fmla="*/ 43 w 61"/>
                <a:gd name="T55" fmla="*/ 68 h 68"/>
                <a:gd name="T56" fmla="*/ 52 w 61"/>
                <a:gd name="T57" fmla="*/ 68 h 68"/>
                <a:gd name="T58" fmla="*/ 52 w 61"/>
                <a:gd name="T59" fmla="*/ 68 h 68"/>
                <a:gd name="T60" fmla="*/ 52 w 61"/>
                <a:gd name="T61" fmla="*/ 68 h 68"/>
                <a:gd name="T62" fmla="*/ 61 w 61"/>
                <a:gd name="T63" fmla="*/ 68 h 68"/>
                <a:gd name="T64" fmla="*/ 56 w 61"/>
                <a:gd name="T65" fmla="*/ 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" h="68">
                  <a:moveTo>
                    <a:pt x="56" y="8"/>
                  </a:moveTo>
                  <a:cubicBezTo>
                    <a:pt x="56" y="4"/>
                    <a:pt x="53" y="1"/>
                    <a:pt x="49" y="1"/>
                  </a:cubicBezTo>
                  <a:cubicBezTo>
                    <a:pt x="48" y="1"/>
                    <a:pt x="43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3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8" y="1"/>
                    <a:pt x="5" y="4"/>
                    <a:pt x="5" y="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68"/>
                    <a:pt x="5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9" y="68"/>
                    <a:pt x="9" y="68"/>
                  </a:cubicBezTo>
                  <a:cubicBezTo>
                    <a:pt x="12" y="68"/>
                    <a:pt x="15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8"/>
                    <a:pt x="35" y="68"/>
                    <a:pt x="43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6" y="68"/>
                    <a:pt x="49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5" y="68"/>
                    <a:pt x="58" y="68"/>
                    <a:pt x="61" y="68"/>
                  </a:cubicBezTo>
                  <a:lnTo>
                    <a:pt x="56" y="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75"/>
            <p:cNvSpPr>
              <a:spLocks/>
            </p:cNvSpPr>
            <p:nvPr/>
          </p:nvSpPr>
          <p:spPr bwMode="auto">
            <a:xfrm>
              <a:off x="343847" y="3052802"/>
              <a:ext cx="5118" cy="6460"/>
            </a:xfrm>
            <a:custGeom>
              <a:avLst/>
              <a:gdLst>
                <a:gd name="T0" fmla="*/ 14 w 16"/>
                <a:gd name="T1" fmla="*/ 0 h 20"/>
                <a:gd name="T2" fmla="*/ 16 w 16"/>
                <a:gd name="T3" fmla="*/ 12 h 20"/>
                <a:gd name="T4" fmla="*/ 8 w 16"/>
                <a:gd name="T5" fmla="*/ 20 h 20"/>
                <a:gd name="T6" fmla="*/ 0 w 16"/>
                <a:gd name="T7" fmla="*/ 12 h 20"/>
                <a:gd name="T8" fmla="*/ 4 w 16"/>
                <a:gd name="T9" fmla="*/ 0 h 20"/>
                <a:gd name="T10" fmla="*/ 14 w 16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4" y="0"/>
                  </a:moveTo>
                  <a:lnTo>
                    <a:pt x="16" y="12"/>
                  </a:lnTo>
                  <a:lnTo>
                    <a:pt x="8" y="20"/>
                  </a:lnTo>
                  <a:lnTo>
                    <a:pt x="0" y="12"/>
                  </a:lnTo>
                  <a:lnTo>
                    <a:pt x="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176"/>
            <p:cNvSpPr>
              <a:spLocks/>
            </p:cNvSpPr>
            <p:nvPr/>
          </p:nvSpPr>
          <p:spPr bwMode="auto">
            <a:xfrm>
              <a:off x="343207" y="3057324"/>
              <a:ext cx="6398" cy="24869"/>
            </a:xfrm>
            <a:custGeom>
              <a:avLst/>
              <a:gdLst>
                <a:gd name="T0" fmla="*/ 16 w 20"/>
                <a:gd name="T1" fmla="*/ 0 h 77"/>
                <a:gd name="T2" fmla="*/ 20 w 20"/>
                <a:gd name="T3" fmla="*/ 69 h 77"/>
                <a:gd name="T4" fmla="*/ 10 w 20"/>
                <a:gd name="T5" fmla="*/ 77 h 77"/>
                <a:gd name="T6" fmla="*/ 0 w 20"/>
                <a:gd name="T7" fmla="*/ 69 h 77"/>
                <a:gd name="T8" fmla="*/ 4 w 20"/>
                <a:gd name="T9" fmla="*/ 0 h 77"/>
                <a:gd name="T10" fmla="*/ 16 w 20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7">
                  <a:moveTo>
                    <a:pt x="16" y="0"/>
                  </a:moveTo>
                  <a:lnTo>
                    <a:pt x="20" y="69"/>
                  </a:lnTo>
                  <a:lnTo>
                    <a:pt x="10" y="77"/>
                  </a:lnTo>
                  <a:lnTo>
                    <a:pt x="0" y="69"/>
                  </a:lnTo>
                  <a:lnTo>
                    <a:pt x="4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177"/>
            <p:cNvSpPr>
              <a:spLocks/>
            </p:cNvSpPr>
            <p:nvPr/>
          </p:nvSpPr>
          <p:spPr bwMode="auto">
            <a:xfrm>
              <a:off x="303220" y="3089299"/>
              <a:ext cx="8317" cy="26807"/>
            </a:xfrm>
            <a:custGeom>
              <a:avLst/>
              <a:gdLst>
                <a:gd name="T0" fmla="*/ 0 w 13"/>
                <a:gd name="T1" fmla="*/ 0 h 42"/>
                <a:gd name="T2" fmla="*/ 1 w 13"/>
                <a:gd name="T3" fmla="*/ 42 h 42"/>
                <a:gd name="T4" fmla="*/ 12 w 13"/>
                <a:gd name="T5" fmla="*/ 42 h 42"/>
                <a:gd name="T6" fmla="*/ 12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3" y="28"/>
                    <a:pt x="12" y="0"/>
                    <a:pt x="12" y="0"/>
                  </a:cubicBezTo>
                  <a:cubicBezTo>
                    <a:pt x="12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178"/>
            <p:cNvSpPr>
              <a:spLocks/>
            </p:cNvSpPr>
            <p:nvPr/>
          </p:nvSpPr>
          <p:spPr bwMode="auto">
            <a:xfrm>
              <a:off x="294263" y="3089299"/>
              <a:ext cx="8317" cy="26807"/>
            </a:xfrm>
            <a:custGeom>
              <a:avLst/>
              <a:gdLst>
                <a:gd name="T0" fmla="*/ 0 w 13"/>
                <a:gd name="T1" fmla="*/ 0 h 42"/>
                <a:gd name="T2" fmla="*/ 2 w 13"/>
                <a:gd name="T3" fmla="*/ 42 h 42"/>
                <a:gd name="T4" fmla="*/ 13 w 13"/>
                <a:gd name="T5" fmla="*/ 42 h 42"/>
                <a:gd name="T6" fmla="*/ 13 w 13"/>
                <a:gd name="T7" fmla="*/ 0 h 42"/>
                <a:gd name="T8" fmla="*/ 0 w 1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2">
                  <a:moveTo>
                    <a:pt x="0" y="0"/>
                  </a:moveTo>
                  <a:cubicBezTo>
                    <a:pt x="2" y="42"/>
                    <a:pt x="2" y="42"/>
                    <a:pt x="2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Oval 179"/>
            <p:cNvSpPr>
              <a:spLocks noChangeArrowheads="1"/>
            </p:cNvSpPr>
            <p:nvPr/>
          </p:nvSpPr>
          <p:spPr bwMode="auto">
            <a:xfrm>
              <a:off x="297462" y="3049572"/>
              <a:ext cx="10877" cy="1291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180"/>
            <p:cNvSpPr>
              <a:spLocks noChangeArrowheads="1"/>
            </p:cNvSpPr>
            <p:nvPr/>
          </p:nvSpPr>
          <p:spPr bwMode="auto">
            <a:xfrm>
              <a:off x="302580" y="3080255"/>
              <a:ext cx="640" cy="32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181"/>
            <p:cNvSpPr>
              <a:spLocks noEditPoints="1"/>
            </p:cNvSpPr>
            <p:nvPr/>
          </p:nvSpPr>
          <p:spPr bwMode="auto">
            <a:xfrm>
              <a:off x="288505" y="3063783"/>
              <a:ext cx="32950" cy="29391"/>
            </a:xfrm>
            <a:custGeom>
              <a:avLst/>
              <a:gdLst>
                <a:gd name="T0" fmla="*/ 51 w 52"/>
                <a:gd name="T1" fmla="*/ 17 h 46"/>
                <a:gd name="T2" fmla="*/ 51 w 52"/>
                <a:gd name="T3" fmla="*/ 17 h 46"/>
                <a:gd name="T4" fmla="*/ 51 w 52"/>
                <a:gd name="T5" fmla="*/ 17 h 46"/>
                <a:gd name="T6" fmla="*/ 37 w 52"/>
                <a:gd name="T7" fmla="*/ 2 h 46"/>
                <a:gd name="T8" fmla="*/ 34 w 52"/>
                <a:gd name="T9" fmla="*/ 0 h 46"/>
                <a:gd name="T10" fmla="*/ 29 w 52"/>
                <a:gd name="T11" fmla="*/ 0 h 46"/>
                <a:gd name="T12" fmla="*/ 29 w 52"/>
                <a:gd name="T13" fmla="*/ 0 h 46"/>
                <a:gd name="T14" fmla="*/ 33 w 52"/>
                <a:gd name="T15" fmla="*/ 3 h 46"/>
                <a:gd name="T16" fmla="*/ 29 w 52"/>
                <a:gd name="T17" fmla="*/ 5 h 46"/>
                <a:gd name="T18" fmla="*/ 31 w 52"/>
                <a:gd name="T19" fmla="*/ 9 h 46"/>
                <a:gd name="T20" fmla="*/ 23 w 52"/>
                <a:gd name="T21" fmla="*/ 26 h 46"/>
                <a:gd name="T22" fmla="*/ 23 w 52"/>
                <a:gd name="T23" fmla="*/ 26 h 46"/>
                <a:gd name="T24" fmla="*/ 22 w 52"/>
                <a:gd name="T25" fmla="*/ 26 h 46"/>
                <a:gd name="T26" fmla="*/ 22 w 52"/>
                <a:gd name="T27" fmla="*/ 26 h 46"/>
                <a:gd name="T28" fmla="*/ 22 w 52"/>
                <a:gd name="T29" fmla="*/ 26 h 46"/>
                <a:gd name="T30" fmla="*/ 14 w 52"/>
                <a:gd name="T31" fmla="*/ 9 h 46"/>
                <a:gd name="T32" fmla="*/ 16 w 52"/>
                <a:gd name="T33" fmla="*/ 5 h 46"/>
                <a:gd name="T34" fmla="*/ 12 w 52"/>
                <a:gd name="T35" fmla="*/ 3 h 46"/>
                <a:gd name="T36" fmla="*/ 16 w 52"/>
                <a:gd name="T37" fmla="*/ 0 h 46"/>
                <a:gd name="T38" fmla="*/ 16 w 52"/>
                <a:gd name="T39" fmla="*/ 0 h 46"/>
                <a:gd name="T40" fmla="*/ 11 w 52"/>
                <a:gd name="T41" fmla="*/ 0 h 46"/>
                <a:gd name="T42" fmla="*/ 7 w 52"/>
                <a:gd name="T43" fmla="*/ 4 h 46"/>
                <a:gd name="T44" fmla="*/ 0 w 52"/>
                <a:gd name="T45" fmla="*/ 23 h 46"/>
                <a:gd name="T46" fmla="*/ 8 w 52"/>
                <a:gd name="T47" fmla="*/ 46 h 46"/>
                <a:gd name="T48" fmla="*/ 13 w 52"/>
                <a:gd name="T49" fmla="*/ 44 h 46"/>
                <a:gd name="T50" fmla="*/ 37 w 52"/>
                <a:gd name="T51" fmla="*/ 44 h 46"/>
                <a:gd name="T52" fmla="*/ 37 w 52"/>
                <a:gd name="T53" fmla="*/ 43 h 46"/>
                <a:gd name="T54" fmla="*/ 36 w 52"/>
                <a:gd name="T55" fmla="*/ 38 h 46"/>
                <a:gd name="T56" fmla="*/ 43 w 52"/>
                <a:gd name="T57" fmla="*/ 41 h 46"/>
                <a:gd name="T58" fmla="*/ 47 w 52"/>
                <a:gd name="T59" fmla="*/ 32 h 46"/>
                <a:gd name="T60" fmla="*/ 49 w 52"/>
                <a:gd name="T61" fmla="*/ 27 h 46"/>
                <a:gd name="T62" fmla="*/ 51 w 52"/>
                <a:gd name="T63" fmla="*/ 25 h 46"/>
                <a:gd name="T64" fmla="*/ 51 w 52"/>
                <a:gd name="T65" fmla="*/ 24 h 46"/>
                <a:gd name="T66" fmla="*/ 51 w 52"/>
                <a:gd name="T67" fmla="*/ 23 h 46"/>
                <a:gd name="T68" fmla="*/ 52 w 52"/>
                <a:gd name="T69" fmla="*/ 23 h 46"/>
                <a:gd name="T70" fmla="*/ 52 w 52"/>
                <a:gd name="T71" fmla="*/ 23 h 46"/>
                <a:gd name="T72" fmla="*/ 52 w 52"/>
                <a:gd name="T73" fmla="*/ 23 h 46"/>
                <a:gd name="T74" fmla="*/ 52 w 52"/>
                <a:gd name="T75" fmla="*/ 23 h 46"/>
                <a:gd name="T76" fmla="*/ 51 w 52"/>
                <a:gd name="T77" fmla="*/ 17 h 46"/>
                <a:gd name="T78" fmla="*/ 40 w 52"/>
                <a:gd name="T79" fmla="*/ 22 h 46"/>
                <a:gd name="T80" fmla="*/ 38 w 52"/>
                <a:gd name="T81" fmla="*/ 27 h 46"/>
                <a:gd name="T82" fmla="*/ 36 w 52"/>
                <a:gd name="T83" fmla="*/ 29 h 46"/>
                <a:gd name="T84" fmla="*/ 36 w 52"/>
                <a:gd name="T85" fmla="*/ 15 h 46"/>
                <a:gd name="T86" fmla="*/ 41 w 52"/>
                <a:gd name="T87" fmla="*/ 21 h 46"/>
                <a:gd name="T88" fmla="*/ 40 w 52"/>
                <a:gd name="T89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" h="46">
                  <a:moveTo>
                    <a:pt x="51" y="17"/>
                  </a:move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1"/>
                    <a:pt x="35" y="1"/>
                    <a:pt x="34" y="0"/>
                  </a:cubicBezTo>
                  <a:cubicBezTo>
                    <a:pt x="34" y="0"/>
                    <a:pt x="31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37"/>
                    <a:pt x="5" y="38"/>
                    <a:pt x="8" y="46"/>
                  </a:cubicBezTo>
                  <a:cubicBezTo>
                    <a:pt x="9" y="45"/>
                    <a:pt x="11" y="44"/>
                    <a:pt x="13" y="44"/>
                  </a:cubicBezTo>
                  <a:cubicBezTo>
                    <a:pt x="21" y="44"/>
                    <a:pt x="29" y="44"/>
                    <a:pt x="37" y="44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1"/>
                    <a:pt x="36" y="39"/>
                    <a:pt x="36" y="38"/>
                  </a:cubicBezTo>
                  <a:cubicBezTo>
                    <a:pt x="38" y="39"/>
                    <a:pt x="41" y="40"/>
                    <a:pt x="43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20"/>
                    <a:pt x="52" y="29"/>
                    <a:pt x="51" y="17"/>
                  </a:cubicBezTo>
                  <a:close/>
                  <a:moveTo>
                    <a:pt x="40" y="22"/>
                  </a:moveTo>
                  <a:cubicBezTo>
                    <a:pt x="38" y="27"/>
                    <a:pt x="38" y="27"/>
                    <a:pt x="38" y="27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4"/>
                    <a:pt x="36" y="20"/>
                    <a:pt x="36" y="15"/>
                  </a:cubicBezTo>
                  <a:cubicBezTo>
                    <a:pt x="41" y="21"/>
                    <a:pt x="41" y="21"/>
                    <a:pt x="41" y="21"/>
                  </a:cubicBezTo>
                  <a:lnTo>
                    <a:pt x="40" y="2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182"/>
            <p:cNvSpPr>
              <a:spLocks/>
            </p:cNvSpPr>
            <p:nvPr/>
          </p:nvSpPr>
          <p:spPr bwMode="auto">
            <a:xfrm>
              <a:off x="301300" y="3063137"/>
              <a:ext cx="3199" cy="3876"/>
            </a:xfrm>
            <a:custGeom>
              <a:avLst/>
              <a:gdLst>
                <a:gd name="T0" fmla="*/ 2 w 10"/>
                <a:gd name="T1" fmla="*/ 0 h 12"/>
                <a:gd name="T2" fmla="*/ 0 w 10"/>
                <a:gd name="T3" fmla="*/ 8 h 12"/>
                <a:gd name="T4" fmla="*/ 4 w 10"/>
                <a:gd name="T5" fmla="*/ 12 h 12"/>
                <a:gd name="T6" fmla="*/ 10 w 10"/>
                <a:gd name="T7" fmla="*/ 8 h 12"/>
                <a:gd name="T8" fmla="*/ 8 w 10"/>
                <a:gd name="T9" fmla="*/ 0 h 12"/>
                <a:gd name="T10" fmla="*/ 2 w 1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2" y="0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183"/>
            <p:cNvSpPr>
              <a:spLocks/>
            </p:cNvSpPr>
            <p:nvPr/>
          </p:nvSpPr>
          <p:spPr bwMode="auto">
            <a:xfrm>
              <a:off x="300660" y="3065721"/>
              <a:ext cx="4479" cy="15826"/>
            </a:xfrm>
            <a:custGeom>
              <a:avLst/>
              <a:gdLst>
                <a:gd name="T0" fmla="*/ 4 w 14"/>
                <a:gd name="T1" fmla="*/ 0 h 49"/>
                <a:gd name="T2" fmla="*/ 0 w 14"/>
                <a:gd name="T3" fmla="*/ 45 h 49"/>
                <a:gd name="T4" fmla="*/ 6 w 14"/>
                <a:gd name="T5" fmla="*/ 49 h 49"/>
                <a:gd name="T6" fmla="*/ 14 w 14"/>
                <a:gd name="T7" fmla="*/ 45 h 49"/>
                <a:gd name="T8" fmla="*/ 10 w 14"/>
                <a:gd name="T9" fmla="*/ 0 h 49"/>
                <a:gd name="T10" fmla="*/ 4 w 14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9">
                  <a:moveTo>
                    <a:pt x="4" y="0"/>
                  </a:moveTo>
                  <a:lnTo>
                    <a:pt x="0" y="45"/>
                  </a:lnTo>
                  <a:lnTo>
                    <a:pt x="6" y="49"/>
                  </a:lnTo>
                  <a:lnTo>
                    <a:pt x="14" y="45"/>
                  </a:lnTo>
                  <a:lnTo>
                    <a:pt x="1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84"/>
            <p:cNvSpPr>
              <a:spLocks/>
            </p:cNvSpPr>
            <p:nvPr/>
          </p:nvSpPr>
          <p:spPr bwMode="auto">
            <a:xfrm>
              <a:off x="390232" y="3089945"/>
              <a:ext cx="7677" cy="27453"/>
            </a:xfrm>
            <a:custGeom>
              <a:avLst/>
              <a:gdLst>
                <a:gd name="T0" fmla="*/ 0 w 12"/>
                <a:gd name="T1" fmla="*/ 0 h 43"/>
                <a:gd name="T2" fmla="*/ 1 w 12"/>
                <a:gd name="T3" fmla="*/ 43 h 43"/>
                <a:gd name="T4" fmla="*/ 12 w 12"/>
                <a:gd name="T5" fmla="*/ 43 h 43"/>
                <a:gd name="T6" fmla="*/ 12 w 12"/>
                <a:gd name="T7" fmla="*/ 0 h 43"/>
                <a:gd name="T8" fmla="*/ 0 w 12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28"/>
                    <a:pt x="12" y="0"/>
                    <a:pt x="12" y="0"/>
                  </a:cubicBezTo>
                  <a:cubicBezTo>
                    <a:pt x="12" y="0"/>
                    <a:pt x="4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185"/>
            <p:cNvSpPr>
              <a:spLocks/>
            </p:cNvSpPr>
            <p:nvPr/>
          </p:nvSpPr>
          <p:spPr bwMode="auto">
            <a:xfrm>
              <a:off x="381275" y="3089945"/>
              <a:ext cx="8317" cy="27453"/>
            </a:xfrm>
            <a:custGeom>
              <a:avLst/>
              <a:gdLst>
                <a:gd name="T0" fmla="*/ 0 w 13"/>
                <a:gd name="T1" fmla="*/ 0 h 43"/>
                <a:gd name="T2" fmla="*/ 1 w 13"/>
                <a:gd name="T3" fmla="*/ 43 h 43"/>
                <a:gd name="T4" fmla="*/ 13 w 13"/>
                <a:gd name="T5" fmla="*/ 43 h 43"/>
                <a:gd name="T6" fmla="*/ 13 w 13"/>
                <a:gd name="T7" fmla="*/ 0 h 43"/>
                <a:gd name="T8" fmla="*/ 0 w 13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3">
                  <a:moveTo>
                    <a:pt x="0" y="0"/>
                  </a:moveTo>
                  <a:cubicBezTo>
                    <a:pt x="1" y="43"/>
                    <a:pt x="1" y="43"/>
                    <a:pt x="1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28"/>
                    <a:pt x="13" y="0"/>
                    <a:pt x="13" y="0"/>
                  </a:cubicBezTo>
                  <a:cubicBezTo>
                    <a:pt x="13" y="0"/>
                    <a:pt x="5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Oval 186"/>
            <p:cNvSpPr>
              <a:spLocks noChangeArrowheads="1"/>
            </p:cNvSpPr>
            <p:nvPr/>
          </p:nvSpPr>
          <p:spPr bwMode="auto">
            <a:xfrm>
              <a:off x="384474" y="3050218"/>
              <a:ext cx="10237" cy="12919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187"/>
            <p:cNvSpPr>
              <a:spLocks noChangeArrowheads="1"/>
            </p:cNvSpPr>
            <p:nvPr/>
          </p:nvSpPr>
          <p:spPr bwMode="auto">
            <a:xfrm>
              <a:off x="389592" y="3080901"/>
              <a:ext cx="320" cy="32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188"/>
            <p:cNvSpPr>
              <a:spLocks/>
            </p:cNvSpPr>
            <p:nvPr/>
          </p:nvSpPr>
          <p:spPr bwMode="auto">
            <a:xfrm>
              <a:off x="375517" y="3064429"/>
              <a:ext cx="27511" cy="29391"/>
            </a:xfrm>
            <a:custGeom>
              <a:avLst/>
              <a:gdLst>
                <a:gd name="T0" fmla="*/ 42 w 43"/>
                <a:gd name="T1" fmla="*/ 24 h 46"/>
                <a:gd name="T2" fmla="*/ 38 w 43"/>
                <a:gd name="T3" fmla="*/ 5 h 46"/>
                <a:gd name="T4" fmla="*/ 34 w 43"/>
                <a:gd name="T5" fmla="*/ 1 h 46"/>
                <a:gd name="T6" fmla="*/ 29 w 43"/>
                <a:gd name="T7" fmla="*/ 0 h 46"/>
                <a:gd name="T8" fmla="*/ 29 w 43"/>
                <a:gd name="T9" fmla="*/ 0 h 46"/>
                <a:gd name="T10" fmla="*/ 32 w 43"/>
                <a:gd name="T11" fmla="*/ 3 h 46"/>
                <a:gd name="T12" fmla="*/ 28 w 43"/>
                <a:gd name="T13" fmla="*/ 5 h 46"/>
                <a:gd name="T14" fmla="*/ 30 w 43"/>
                <a:gd name="T15" fmla="*/ 9 h 46"/>
                <a:gd name="T16" fmla="*/ 22 w 43"/>
                <a:gd name="T17" fmla="*/ 26 h 46"/>
                <a:gd name="T18" fmla="*/ 22 w 43"/>
                <a:gd name="T19" fmla="*/ 26 h 46"/>
                <a:gd name="T20" fmla="*/ 22 w 43"/>
                <a:gd name="T21" fmla="*/ 26 h 46"/>
                <a:gd name="T22" fmla="*/ 22 w 43"/>
                <a:gd name="T23" fmla="*/ 26 h 46"/>
                <a:gd name="T24" fmla="*/ 22 w 43"/>
                <a:gd name="T25" fmla="*/ 26 h 46"/>
                <a:gd name="T26" fmla="*/ 14 w 43"/>
                <a:gd name="T27" fmla="*/ 9 h 46"/>
                <a:gd name="T28" fmla="*/ 16 w 43"/>
                <a:gd name="T29" fmla="*/ 5 h 46"/>
                <a:gd name="T30" fmla="*/ 12 w 43"/>
                <a:gd name="T31" fmla="*/ 3 h 46"/>
                <a:gd name="T32" fmla="*/ 15 w 43"/>
                <a:gd name="T33" fmla="*/ 0 h 46"/>
                <a:gd name="T34" fmla="*/ 15 w 43"/>
                <a:gd name="T35" fmla="*/ 0 h 46"/>
                <a:gd name="T36" fmla="*/ 11 w 43"/>
                <a:gd name="T37" fmla="*/ 1 h 46"/>
                <a:gd name="T38" fmla="*/ 7 w 43"/>
                <a:gd name="T39" fmla="*/ 4 h 46"/>
                <a:gd name="T40" fmla="*/ 0 w 43"/>
                <a:gd name="T41" fmla="*/ 23 h 46"/>
                <a:gd name="T42" fmla="*/ 7 w 43"/>
                <a:gd name="T43" fmla="*/ 46 h 46"/>
                <a:gd name="T44" fmla="*/ 12 w 43"/>
                <a:gd name="T45" fmla="*/ 44 h 46"/>
                <a:gd name="T46" fmla="*/ 30 w 43"/>
                <a:gd name="T47" fmla="*/ 44 h 46"/>
                <a:gd name="T48" fmla="*/ 30 w 43"/>
                <a:gd name="T49" fmla="*/ 45 h 46"/>
                <a:gd name="T50" fmla="*/ 42 w 43"/>
                <a:gd name="T51" fmla="*/ 45 h 46"/>
                <a:gd name="T52" fmla="*/ 42 w 43"/>
                <a:gd name="T5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46">
                  <a:moveTo>
                    <a:pt x="42" y="24"/>
                  </a:moveTo>
                  <a:cubicBezTo>
                    <a:pt x="38" y="5"/>
                    <a:pt x="38" y="5"/>
                    <a:pt x="38" y="5"/>
                  </a:cubicBezTo>
                  <a:cubicBezTo>
                    <a:pt x="37" y="3"/>
                    <a:pt x="36" y="1"/>
                    <a:pt x="34" y="1"/>
                  </a:cubicBezTo>
                  <a:cubicBezTo>
                    <a:pt x="34" y="1"/>
                    <a:pt x="30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1" y="0"/>
                    <a:pt x="11" y="1"/>
                  </a:cubicBezTo>
                  <a:cubicBezTo>
                    <a:pt x="9" y="1"/>
                    <a:pt x="8" y="2"/>
                    <a:pt x="7" y="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37"/>
                    <a:pt x="5" y="38"/>
                    <a:pt x="7" y="46"/>
                  </a:cubicBezTo>
                  <a:cubicBezTo>
                    <a:pt x="9" y="45"/>
                    <a:pt x="11" y="44"/>
                    <a:pt x="12" y="44"/>
                  </a:cubicBezTo>
                  <a:cubicBezTo>
                    <a:pt x="18" y="44"/>
                    <a:pt x="24" y="44"/>
                    <a:pt x="30" y="44"/>
                  </a:cubicBezTo>
                  <a:cubicBezTo>
                    <a:pt x="30" y="44"/>
                    <a:pt x="30" y="44"/>
                    <a:pt x="30" y="45"/>
                  </a:cubicBezTo>
                  <a:cubicBezTo>
                    <a:pt x="34" y="45"/>
                    <a:pt x="38" y="45"/>
                    <a:pt x="42" y="45"/>
                  </a:cubicBezTo>
                  <a:cubicBezTo>
                    <a:pt x="42" y="38"/>
                    <a:pt x="43" y="33"/>
                    <a:pt x="42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189"/>
            <p:cNvSpPr>
              <a:spLocks/>
            </p:cNvSpPr>
            <p:nvPr/>
          </p:nvSpPr>
          <p:spPr bwMode="auto">
            <a:xfrm>
              <a:off x="387673" y="3064429"/>
              <a:ext cx="3839" cy="3876"/>
            </a:xfrm>
            <a:custGeom>
              <a:avLst/>
              <a:gdLst>
                <a:gd name="T0" fmla="*/ 2 w 12"/>
                <a:gd name="T1" fmla="*/ 0 h 12"/>
                <a:gd name="T2" fmla="*/ 0 w 12"/>
                <a:gd name="T3" fmla="*/ 8 h 12"/>
                <a:gd name="T4" fmla="*/ 6 w 12"/>
                <a:gd name="T5" fmla="*/ 12 h 12"/>
                <a:gd name="T6" fmla="*/ 12 w 12"/>
                <a:gd name="T7" fmla="*/ 8 h 12"/>
                <a:gd name="T8" fmla="*/ 10 w 12"/>
                <a:gd name="T9" fmla="*/ 0 h 12"/>
                <a:gd name="T10" fmla="*/ 2 w 1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lnTo>
                    <a:pt x="0" y="8"/>
                  </a:lnTo>
                  <a:lnTo>
                    <a:pt x="6" y="12"/>
                  </a:lnTo>
                  <a:lnTo>
                    <a:pt x="12" y="8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190"/>
            <p:cNvSpPr>
              <a:spLocks/>
            </p:cNvSpPr>
            <p:nvPr/>
          </p:nvSpPr>
          <p:spPr bwMode="auto">
            <a:xfrm>
              <a:off x="387673" y="3067013"/>
              <a:ext cx="3839" cy="15826"/>
            </a:xfrm>
            <a:custGeom>
              <a:avLst/>
              <a:gdLst>
                <a:gd name="T0" fmla="*/ 2 w 12"/>
                <a:gd name="T1" fmla="*/ 0 h 49"/>
                <a:gd name="T2" fmla="*/ 0 w 12"/>
                <a:gd name="T3" fmla="*/ 43 h 49"/>
                <a:gd name="T4" fmla="*/ 6 w 12"/>
                <a:gd name="T5" fmla="*/ 49 h 49"/>
                <a:gd name="T6" fmla="*/ 12 w 12"/>
                <a:gd name="T7" fmla="*/ 43 h 49"/>
                <a:gd name="T8" fmla="*/ 10 w 12"/>
                <a:gd name="T9" fmla="*/ 0 h 49"/>
                <a:gd name="T10" fmla="*/ 2 w 1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9">
                  <a:moveTo>
                    <a:pt x="2" y="0"/>
                  </a:moveTo>
                  <a:lnTo>
                    <a:pt x="0" y="43"/>
                  </a:lnTo>
                  <a:lnTo>
                    <a:pt x="6" y="49"/>
                  </a:lnTo>
                  <a:lnTo>
                    <a:pt x="12" y="43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19635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组合 68">
            <a:extLst>
              <a:ext uri="{FF2B5EF4-FFF2-40B4-BE49-F238E27FC236}">
                <a16:creationId xmlns:a16="http://schemas.microsoft.com/office/drawing/2014/main" id="{95C84612-F10F-4C4D-AB8C-B2C40C3C2A04}"/>
              </a:ext>
            </a:extLst>
          </p:cNvPr>
          <p:cNvGrpSpPr/>
          <p:nvPr userDrawn="1"/>
        </p:nvGrpSpPr>
        <p:grpSpPr>
          <a:xfrm>
            <a:off x="1750423" y="5742175"/>
            <a:ext cx="8608844" cy="514249"/>
            <a:chOff x="1186401" y="366870"/>
            <a:chExt cx="8608844" cy="514249"/>
          </a:xfrm>
        </p:grpSpPr>
        <p:cxnSp>
          <p:nvCxnSpPr>
            <p:cNvPr id="6" name="直接连接符 5"/>
            <p:cNvCxnSpPr>
              <a:cxnSpLocks/>
            </p:cNvCxnSpPr>
            <p:nvPr userDrawn="1"/>
          </p:nvCxnSpPr>
          <p:spPr>
            <a:xfrm>
              <a:off x="1445947" y="623039"/>
              <a:ext cx="8064000" cy="0"/>
            </a:xfrm>
            <a:prstGeom prst="line">
              <a:avLst/>
            </a:prstGeom>
            <a:ln w="38100">
              <a:solidFill>
                <a:srgbClr val="FFB92D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 userDrawn="1"/>
          </p:nvGrpSpPr>
          <p:grpSpPr>
            <a:xfrm>
              <a:off x="5683396" y="366870"/>
              <a:ext cx="514249" cy="514249"/>
              <a:chOff x="1702224" y="2877537"/>
              <a:chExt cx="828000" cy="828000"/>
            </a:xfrm>
          </p:grpSpPr>
          <p:sp>
            <p:nvSpPr>
              <p:cNvPr id="8" name="Oval 33"/>
              <p:cNvSpPr>
                <a:spLocks noChangeArrowheads="1"/>
              </p:cNvSpPr>
              <p:nvPr/>
            </p:nvSpPr>
            <p:spPr bwMode="auto">
              <a:xfrm>
                <a:off x="1702224" y="2877537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9" name="Oval 33"/>
              <p:cNvSpPr>
                <a:spLocks noChangeArrowheads="1"/>
              </p:cNvSpPr>
              <p:nvPr/>
            </p:nvSpPr>
            <p:spPr bwMode="auto">
              <a:xfrm>
                <a:off x="1756224" y="2931537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10" name="组合 9"/>
              <p:cNvGrpSpPr/>
              <p:nvPr/>
            </p:nvGrpSpPr>
            <p:grpSpPr>
              <a:xfrm>
                <a:off x="1864224" y="3093537"/>
                <a:ext cx="504000" cy="396000"/>
                <a:chOff x="6235149" y="2428819"/>
                <a:chExt cx="436044" cy="343863"/>
              </a:xfrm>
            </p:grpSpPr>
            <p:sp>
              <p:nvSpPr>
                <p:cNvPr id="11" name="Oval 150"/>
                <p:cNvSpPr>
                  <a:spLocks noChangeArrowheads="1"/>
                </p:cNvSpPr>
                <p:nvPr/>
              </p:nvSpPr>
              <p:spPr bwMode="auto">
                <a:xfrm>
                  <a:off x="6418474" y="2466105"/>
                  <a:ext cx="70430" cy="85966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" name="Freeform 151"/>
                <p:cNvSpPr>
                  <a:spLocks/>
                </p:cNvSpPr>
                <p:nvPr/>
              </p:nvSpPr>
              <p:spPr bwMode="auto">
                <a:xfrm>
                  <a:off x="6379116" y="2558286"/>
                  <a:ext cx="148110" cy="90109"/>
                </a:xfrm>
                <a:custGeom>
                  <a:avLst/>
                  <a:gdLst>
                    <a:gd name="T0" fmla="*/ 36 w 72"/>
                    <a:gd name="T1" fmla="*/ 44 h 44"/>
                    <a:gd name="T2" fmla="*/ 41 w 72"/>
                    <a:gd name="T3" fmla="*/ 44 h 44"/>
                    <a:gd name="T4" fmla="*/ 72 w 72"/>
                    <a:gd name="T5" fmla="*/ 31 h 44"/>
                    <a:gd name="T6" fmla="*/ 70 w 72"/>
                    <a:gd name="T7" fmla="*/ 12 h 44"/>
                    <a:gd name="T8" fmla="*/ 60 w 72"/>
                    <a:gd name="T9" fmla="*/ 2 h 44"/>
                    <a:gd name="T10" fmla="*/ 50 w 72"/>
                    <a:gd name="T11" fmla="*/ 1 h 44"/>
                    <a:gd name="T12" fmla="*/ 50 w 72"/>
                    <a:gd name="T13" fmla="*/ 1 h 44"/>
                    <a:gd name="T14" fmla="*/ 57 w 72"/>
                    <a:gd name="T15" fmla="*/ 7 h 44"/>
                    <a:gd name="T16" fmla="*/ 49 w 72"/>
                    <a:gd name="T17" fmla="*/ 12 h 44"/>
                    <a:gd name="T18" fmla="*/ 53 w 72"/>
                    <a:gd name="T19" fmla="*/ 19 h 44"/>
                    <a:gd name="T20" fmla="*/ 41 w 72"/>
                    <a:gd name="T21" fmla="*/ 43 h 44"/>
                    <a:gd name="T22" fmla="*/ 40 w 72"/>
                    <a:gd name="T23" fmla="*/ 9 h 44"/>
                    <a:gd name="T24" fmla="*/ 41 w 72"/>
                    <a:gd name="T25" fmla="*/ 7 h 44"/>
                    <a:gd name="T26" fmla="*/ 39 w 72"/>
                    <a:gd name="T27" fmla="*/ 0 h 44"/>
                    <a:gd name="T28" fmla="*/ 32 w 72"/>
                    <a:gd name="T29" fmla="*/ 0 h 44"/>
                    <a:gd name="T30" fmla="*/ 30 w 72"/>
                    <a:gd name="T31" fmla="*/ 7 h 44"/>
                    <a:gd name="T32" fmla="*/ 32 w 72"/>
                    <a:gd name="T33" fmla="*/ 9 h 44"/>
                    <a:gd name="T34" fmla="*/ 30 w 72"/>
                    <a:gd name="T35" fmla="*/ 43 h 44"/>
                    <a:gd name="T36" fmla="*/ 19 w 72"/>
                    <a:gd name="T37" fmla="*/ 19 h 44"/>
                    <a:gd name="T38" fmla="*/ 23 w 72"/>
                    <a:gd name="T39" fmla="*/ 12 h 44"/>
                    <a:gd name="T40" fmla="*/ 14 w 72"/>
                    <a:gd name="T41" fmla="*/ 7 h 44"/>
                    <a:gd name="T42" fmla="*/ 21 w 72"/>
                    <a:gd name="T43" fmla="*/ 1 h 44"/>
                    <a:gd name="T44" fmla="*/ 21 w 72"/>
                    <a:gd name="T45" fmla="*/ 1 h 44"/>
                    <a:gd name="T46" fmla="*/ 12 w 72"/>
                    <a:gd name="T47" fmla="*/ 2 h 44"/>
                    <a:gd name="T48" fmla="*/ 12 w 72"/>
                    <a:gd name="T49" fmla="*/ 2 h 44"/>
                    <a:gd name="T50" fmla="*/ 2 w 72"/>
                    <a:gd name="T51" fmla="*/ 12 h 44"/>
                    <a:gd name="T52" fmla="*/ 0 w 72"/>
                    <a:gd name="T53" fmla="*/ 32 h 44"/>
                    <a:gd name="T54" fmla="*/ 30 w 72"/>
                    <a:gd name="T55" fmla="*/ 44 h 44"/>
                    <a:gd name="T56" fmla="*/ 36 w 72"/>
                    <a:gd name="T57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2" h="44">
                      <a:moveTo>
                        <a:pt x="36" y="44"/>
                      </a:moveTo>
                      <a:cubicBezTo>
                        <a:pt x="38" y="44"/>
                        <a:pt x="40" y="44"/>
                        <a:pt x="41" y="44"/>
                      </a:cubicBezTo>
                      <a:cubicBezTo>
                        <a:pt x="53" y="43"/>
                        <a:pt x="63" y="38"/>
                        <a:pt x="72" y="31"/>
                      </a:cubicBezTo>
                      <a:cubicBezTo>
                        <a:pt x="70" y="12"/>
                        <a:pt x="70" y="12"/>
                        <a:pt x="70" y="12"/>
                      </a:cubicBezTo>
                      <a:cubicBezTo>
                        <a:pt x="70" y="6"/>
                        <a:pt x="67" y="3"/>
                        <a:pt x="60" y="2"/>
                      </a:cubicBezTo>
                      <a:cubicBezTo>
                        <a:pt x="60" y="2"/>
                        <a:pt x="53" y="1"/>
                        <a:pt x="50" y="1"/>
                      </a:cubicBezTo>
                      <a:cubicBezTo>
                        <a:pt x="50" y="1"/>
                        <a:pt x="50" y="1"/>
                        <a:pt x="50" y="1"/>
                      </a:cubicBezTo>
                      <a:cubicBezTo>
                        <a:pt x="57" y="7"/>
                        <a:pt x="57" y="7"/>
                        <a:pt x="57" y="7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53" y="19"/>
                        <a:pt x="53" y="19"/>
                        <a:pt x="53" y="19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0" y="9"/>
                        <a:pt x="40" y="9"/>
                        <a:pt x="40" y="9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43"/>
                        <a:pt x="30" y="43"/>
                        <a:pt x="30" y="43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21" y="1"/>
                        <a:pt x="21" y="1"/>
                        <a:pt x="21" y="1"/>
                      </a:cubicBezTo>
                      <a:cubicBezTo>
                        <a:pt x="21" y="1"/>
                        <a:pt x="21" y="1"/>
                        <a:pt x="21" y="1"/>
                      </a:cubicBezTo>
                      <a:cubicBezTo>
                        <a:pt x="19" y="1"/>
                        <a:pt x="14" y="2"/>
                        <a:pt x="12" y="2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7" y="3"/>
                        <a:pt x="2" y="6"/>
                        <a:pt x="2" y="12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9" y="38"/>
                        <a:pt x="19" y="43"/>
                        <a:pt x="30" y="44"/>
                      </a:cubicBezTo>
                      <a:cubicBezTo>
                        <a:pt x="32" y="44"/>
                        <a:pt x="34" y="44"/>
                        <a:pt x="36" y="44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" name="Freeform 152"/>
                <p:cNvSpPr>
                  <a:spLocks noEditPoints="1"/>
                </p:cNvSpPr>
                <p:nvPr/>
              </p:nvSpPr>
              <p:spPr bwMode="auto">
                <a:xfrm>
                  <a:off x="6235149" y="2520999"/>
                  <a:ext cx="103574" cy="68359"/>
                </a:xfrm>
                <a:custGeom>
                  <a:avLst/>
                  <a:gdLst>
                    <a:gd name="T0" fmla="*/ 50 w 50"/>
                    <a:gd name="T1" fmla="*/ 12 h 33"/>
                    <a:gd name="T2" fmla="*/ 32 w 50"/>
                    <a:gd name="T3" fmla="*/ 12 h 33"/>
                    <a:gd name="T4" fmla="*/ 17 w 50"/>
                    <a:gd name="T5" fmla="*/ 0 h 33"/>
                    <a:gd name="T6" fmla="*/ 0 w 50"/>
                    <a:gd name="T7" fmla="*/ 16 h 33"/>
                    <a:gd name="T8" fmla="*/ 17 w 50"/>
                    <a:gd name="T9" fmla="*/ 33 h 33"/>
                    <a:gd name="T10" fmla="*/ 32 w 50"/>
                    <a:gd name="T11" fmla="*/ 20 h 33"/>
                    <a:gd name="T12" fmla="*/ 50 w 50"/>
                    <a:gd name="T13" fmla="*/ 20 h 33"/>
                    <a:gd name="T14" fmla="*/ 50 w 50"/>
                    <a:gd name="T15" fmla="*/ 12 h 33"/>
                    <a:gd name="T16" fmla="*/ 17 w 50"/>
                    <a:gd name="T17" fmla="*/ 24 h 33"/>
                    <a:gd name="T18" fmla="*/ 9 w 50"/>
                    <a:gd name="T19" fmla="*/ 16 h 33"/>
                    <a:gd name="T20" fmla="*/ 17 w 50"/>
                    <a:gd name="T21" fmla="*/ 8 h 33"/>
                    <a:gd name="T22" fmla="*/ 24 w 50"/>
                    <a:gd name="T23" fmla="*/ 16 h 33"/>
                    <a:gd name="T24" fmla="*/ 17 w 50"/>
                    <a:gd name="T25" fmla="*/ 2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0" h="33">
                      <a:moveTo>
                        <a:pt x="50" y="12"/>
                      </a:moveTo>
                      <a:cubicBezTo>
                        <a:pt x="32" y="12"/>
                        <a:pt x="32" y="12"/>
                        <a:pt x="32" y="12"/>
                      </a:cubicBezTo>
                      <a:cubicBezTo>
                        <a:pt x="30" y="5"/>
                        <a:pt x="24" y="0"/>
                        <a:pt x="17" y="0"/>
                      </a:cubicBezTo>
                      <a:cubicBezTo>
                        <a:pt x="7" y="0"/>
                        <a:pt x="0" y="7"/>
                        <a:pt x="0" y="16"/>
                      </a:cubicBezTo>
                      <a:cubicBezTo>
                        <a:pt x="0" y="25"/>
                        <a:pt x="7" y="33"/>
                        <a:pt x="17" y="33"/>
                      </a:cubicBezTo>
                      <a:cubicBezTo>
                        <a:pt x="24" y="33"/>
                        <a:pt x="31" y="27"/>
                        <a:pt x="32" y="20"/>
                      </a:cubicBezTo>
                      <a:cubicBezTo>
                        <a:pt x="50" y="20"/>
                        <a:pt x="50" y="20"/>
                        <a:pt x="50" y="20"/>
                      </a:cubicBezTo>
                      <a:lnTo>
                        <a:pt x="50" y="12"/>
                      </a:lnTo>
                      <a:close/>
                      <a:moveTo>
                        <a:pt x="17" y="24"/>
                      </a:moveTo>
                      <a:cubicBezTo>
                        <a:pt x="12" y="24"/>
                        <a:pt x="9" y="20"/>
                        <a:pt x="9" y="16"/>
                      </a:cubicBezTo>
                      <a:cubicBezTo>
                        <a:pt x="9" y="12"/>
                        <a:pt x="12" y="8"/>
                        <a:pt x="17" y="8"/>
                      </a:cubicBezTo>
                      <a:cubicBezTo>
                        <a:pt x="21" y="8"/>
                        <a:pt x="24" y="12"/>
                        <a:pt x="24" y="16"/>
                      </a:cubicBezTo>
                      <a:cubicBezTo>
                        <a:pt x="24" y="20"/>
                        <a:pt x="21" y="24"/>
                        <a:pt x="17" y="24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" name="Freeform 153"/>
                <p:cNvSpPr>
                  <a:spLocks noEditPoints="1"/>
                </p:cNvSpPr>
                <p:nvPr/>
              </p:nvSpPr>
              <p:spPr bwMode="auto">
                <a:xfrm>
                  <a:off x="6255863" y="2603858"/>
                  <a:ext cx="103574" cy="81823"/>
                </a:xfrm>
                <a:custGeom>
                  <a:avLst/>
                  <a:gdLst>
                    <a:gd name="T0" fmla="*/ 46 w 50"/>
                    <a:gd name="T1" fmla="*/ 0 h 40"/>
                    <a:gd name="T2" fmla="*/ 30 w 50"/>
                    <a:gd name="T3" fmla="*/ 9 h 40"/>
                    <a:gd name="T4" fmla="*/ 10 w 50"/>
                    <a:gd name="T5" fmla="*/ 6 h 40"/>
                    <a:gd name="T6" fmla="*/ 4 w 50"/>
                    <a:gd name="T7" fmla="*/ 29 h 40"/>
                    <a:gd name="T8" fmla="*/ 27 w 50"/>
                    <a:gd name="T9" fmla="*/ 35 h 40"/>
                    <a:gd name="T10" fmla="*/ 34 w 50"/>
                    <a:gd name="T11" fmla="*/ 16 h 40"/>
                    <a:gd name="T12" fmla="*/ 50 w 50"/>
                    <a:gd name="T13" fmla="*/ 7 h 40"/>
                    <a:gd name="T14" fmla="*/ 46 w 50"/>
                    <a:gd name="T15" fmla="*/ 0 h 40"/>
                    <a:gd name="T16" fmla="*/ 22 w 50"/>
                    <a:gd name="T17" fmla="*/ 27 h 40"/>
                    <a:gd name="T18" fmla="*/ 12 w 50"/>
                    <a:gd name="T19" fmla="*/ 25 h 40"/>
                    <a:gd name="T20" fmla="*/ 15 w 50"/>
                    <a:gd name="T21" fmla="*/ 14 h 40"/>
                    <a:gd name="T22" fmla="*/ 25 w 50"/>
                    <a:gd name="T23" fmla="*/ 17 h 40"/>
                    <a:gd name="T24" fmla="*/ 22 w 50"/>
                    <a:gd name="T25" fmla="*/ 27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0" h="40">
                      <a:moveTo>
                        <a:pt x="46" y="0"/>
                      </a:move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25" y="4"/>
                        <a:pt x="17" y="3"/>
                        <a:pt x="10" y="6"/>
                      </a:cubicBezTo>
                      <a:cubicBezTo>
                        <a:pt x="2" y="11"/>
                        <a:pt x="0" y="21"/>
                        <a:pt x="4" y="29"/>
                      </a:cubicBezTo>
                      <a:cubicBezTo>
                        <a:pt x="9" y="37"/>
                        <a:pt x="19" y="40"/>
                        <a:pt x="27" y="35"/>
                      </a:cubicBezTo>
                      <a:cubicBezTo>
                        <a:pt x="33" y="31"/>
                        <a:pt x="36" y="24"/>
                        <a:pt x="34" y="16"/>
                      </a:cubicBezTo>
                      <a:cubicBezTo>
                        <a:pt x="50" y="7"/>
                        <a:pt x="50" y="7"/>
                        <a:pt x="50" y="7"/>
                      </a:cubicBezTo>
                      <a:lnTo>
                        <a:pt x="46" y="0"/>
                      </a:lnTo>
                      <a:close/>
                      <a:moveTo>
                        <a:pt x="22" y="27"/>
                      </a:moveTo>
                      <a:cubicBezTo>
                        <a:pt x="19" y="30"/>
                        <a:pt x="14" y="28"/>
                        <a:pt x="12" y="25"/>
                      </a:cubicBezTo>
                      <a:cubicBezTo>
                        <a:pt x="10" y="21"/>
                        <a:pt x="11" y="16"/>
                        <a:pt x="15" y="14"/>
                      </a:cubicBezTo>
                      <a:cubicBezTo>
                        <a:pt x="18" y="12"/>
                        <a:pt x="23" y="13"/>
                        <a:pt x="25" y="17"/>
                      </a:cubicBezTo>
                      <a:cubicBezTo>
                        <a:pt x="27" y="21"/>
                        <a:pt x="26" y="25"/>
                        <a:pt x="22" y="27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" name="Freeform 154"/>
                <p:cNvSpPr>
                  <a:spLocks noEditPoints="1"/>
                </p:cNvSpPr>
                <p:nvPr/>
              </p:nvSpPr>
              <p:spPr bwMode="auto">
                <a:xfrm>
                  <a:off x="6322151" y="2648394"/>
                  <a:ext cx="81823" cy="103574"/>
                </a:xfrm>
                <a:custGeom>
                  <a:avLst/>
                  <a:gdLst>
                    <a:gd name="T0" fmla="*/ 32 w 40"/>
                    <a:gd name="T1" fmla="*/ 0 h 50"/>
                    <a:gd name="T2" fmla="*/ 23 w 40"/>
                    <a:gd name="T3" fmla="*/ 16 h 50"/>
                    <a:gd name="T4" fmla="*/ 5 w 40"/>
                    <a:gd name="T5" fmla="*/ 23 h 50"/>
                    <a:gd name="T6" fmla="*/ 11 w 40"/>
                    <a:gd name="T7" fmla="*/ 46 h 50"/>
                    <a:gd name="T8" fmla="*/ 33 w 40"/>
                    <a:gd name="T9" fmla="*/ 40 h 50"/>
                    <a:gd name="T10" fmla="*/ 31 w 40"/>
                    <a:gd name="T11" fmla="*/ 20 h 50"/>
                    <a:gd name="T12" fmla="*/ 40 w 40"/>
                    <a:gd name="T13" fmla="*/ 4 h 50"/>
                    <a:gd name="T14" fmla="*/ 32 w 40"/>
                    <a:gd name="T15" fmla="*/ 0 h 50"/>
                    <a:gd name="T16" fmla="*/ 26 w 40"/>
                    <a:gd name="T17" fmla="*/ 35 h 50"/>
                    <a:gd name="T18" fmla="*/ 15 w 40"/>
                    <a:gd name="T19" fmla="*/ 38 h 50"/>
                    <a:gd name="T20" fmla="*/ 12 w 40"/>
                    <a:gd name="T21" fmla="*/ 28 h 50"/>
                    <a:gd name="T22" fmla="*/ 23 w 40"/>
                    <a:gd name="T23" fmla="*/ 25 h 50"/>
                    <a:gd name="T24" fmla="*/ 26 w 40"/>
                    <a:gd name="T25" fmla="*/ 35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0" h="50">
                      <a:moveTo>
                        <a:pt x="32" y="0"/>
                      </a:moveTo>
                      <a:cubicBezTo>
                        <a:pt x="23" y="16"/>
                        <a:pt x="23" y="16"/>
                        <a:pt x="23" y="16"/>
                      </a:cubicBezTo>
                      <a:cubicBezTo>
                        <a:pt x="16" y="14"/>
                        <a:pt x="9" y="17"/>
                        <a:pt x="5" y="23"/>
                      </a:cubicBezTo>
                      <a:cubicBezTo>
                        <a:pt x="0" y="31"/>
                        <a:pt x="3" y="41"/>
                        <a:pt x="11" y="46"/>
                      </a:cubicBezTo>
                      <a:cubicBezTo>
                        <a:pt x="19" y="50"/>
                        <a:pt x="29" y="48"/>
                        <a:pt x="33" y="40"/>
                      </a:cubicBezTo>
                      <a:cubicBezTo>
                        <a:pt x="37" y="33"/>
                        <a:pt x="36" y="25"/>
                        <a:pt x="31" y="20"/>
                      </a:cubicBezTo>
                      <a:cubicBezTo>
                        <a:pt x="40" y="4"/>
                        <a:pt x="40" y="4"/>
                        <a:pt x="40" y="4"/>
                      </a:cubicBezTo>
                      <a:lnTo>
                        <a:pt x="32" y="0"/>
                      </a:lnTo>
                      <a:close/>
                      <a:moveTo>
                        <a:pt x="26" y="35"/>
                      </a:moveTo>
                      <a:cubicBezTo>
                        <a:pt x="24" y="39"/>
                        <a:pt x="19" y="40"/>
                        <a:pt x="15" y="38"/>
                      </a:cubicBezTo>
                      <a:cubicBezTo>
                        <a:pt x="12" y="36"/>
                        <a:pt x="10" y="31"/>
                        <a:pt x="12" y="28"/>
                      </a:cubicBezTo>
                      <a:cubicBezTo>
                        <a:pt x="15" y="24"/>
                        <a:pt x="19" y="23"/>
                        <a:pt x="23" y="25"/>
                      </a:cubicBezTo>
                      <a:cubicBezTo>
                        <a:pt x="27" y="27"/>
                        <a:pt x="28" y="32"/>
                        <a:pt x="26" y="35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" name="Freeform 155"/>
                <p:cNvSpPr>
                  <a:spLocks noEditPoints="1"/>
                </p:cNvSpPr>
                <p:nvPr/>
              </p:nvSpPr>
              <p:spPr bwMode="auto">
                <a:xfrm>
                  <a:off x="6418474" y="2669108"/>
                  <a:ext cx="68359" cy="103574"/>
                </a:xfrm>
                <a:custGeom>
                  <a:avLst/>
                  <a:gdLst>
                    <a:gd name="T0" fmla="*/ 12 w 33"/>
                    <a:gd name="T1" fmla="*/ 0 h 50"/>
                    <a:gd name="T2" fmla="*/ 12 w 33"/>
                    <a:gd name="T3" fmla="*/ 18 h 50"/>
                    <a:gd name="T4" fmla="*/ 0 w 33"/>
                    <a:gd name="T5" fmla="*/ 34 h 50"/>
                    <a:gd name="T6" fmla="*/ 17 w 33"/>
                    <a:gd name="T7" fmla="*/ 50 h 50"/>
                    <a:gd name="T8" fmla="*/ 33 w 33"/>
                    <a:gd name="T9" fmla="*/ 34 h 50"/>
                    <a:gd name="T10" fmla="*/ 21 w 33"/>
                    <a:gd name="T11" fmla="*/ 18 h 50"/>
                    <a:gd name="T12" fmla="*/ 21 w 33"/>
                    <a:gd name="T13" fmla="*/ 0 h 50"/>
                    <a:gd name="T14" fmla="*/ 12 w 33"/>
                    <a:gd name="T15" fmla="*/ 0 h 50"/>
                    <a:gd name="T16" fmla="*/ 25 w 33"/>
                    <a:gd name="T17" fmla="*/ 34 h 50"/>
                    <a:gd name="T18" fmla="*/ 17 w 33"/>
                    <a:gd name="T19" fmla="*/ 41 h 50"/>
                    <a:gd name="T20" fmla="*/ 9 w 33"/>
                    <a:gd name="T21" fmla="*/ 34 h 50"/>
                    <a:gd name="T22" fmla="*/ 17 w 33"/>
                    <a:gd name="T23" fmla="*/ 26 h 50"/>
                    <a:gd name="T24" fmla="*/ 25 w 33"/>
                    <a:gd name="T25" fmla="*/ 34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3" h="50">
                      <a:moveTo>
                        <a:pt x="12" y="0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5" y="20"/>
                        <a:pt x="0" y="26"/>
                        <a:pt x="0" y="34"/>
                      </a:cubicBezTo>
                      <a:cubicBezTo>
                        <a:pt x="0" y="43"/>
                        <a:pt x="8" y="50"/>
                        <a:pt x="17" y="50"/>
                      </a:cubicBezTo>
                      <a:cubicBezTo>
                        <a:pt x="26" y="50"/>
                        <a:pt x="33" y="43"/>
                        <a:pt x="33" y="34"/>
                      </a:cubicBezTo>
                      <a:cubicBezTo>
                        <a:pt x="33" y="26"/>
                        <a:pt x="28" y="20"/>
                        <a:pt x="21" y="18"/>
                      </a:cubicBezTo>
                      <a:cubicBezTo>
                        <a:pt x="21" y="0"/>
                        <a:pt x="21" y="0"/>
                        <a:pt x="21" y="0"/>
                      </a:cubicBezTo>
                      <a:lnTo>
                        <a:pt x="12" y="0"/>
                      </a:lnTo>
                      <a:close/>
                      <a:moveTo>
                        <a:pt x="25" y="34"/>
                      </a:moveTo>
                      <a:cubicBezTo>
                        <a:pt x="25" y="38"/>
                        <a:pt x="21" y="41"/>
                        <a:pt x="17" y="41"/>
                      </a:cubicBezTo>
                      <a:cubicBezTo>
                        <a:pt x="13" y="41"/>
                        <a:pt x="9" y="38"/>
                        <a:pt x="9" y="34"/>
                      </a:cubicBezTo>
                      <a:cubicBezTo>
                        <a:pt x="9" y="29"/>
                        <a:pt x="13" y="26"/>
                        <a:pt x="17" y="26"/>
                      </a:cubicBezTo>
                      <a:cubicBezTo>
                        <a:pt x="21" y="26"/>
                        <a:pt x="25" y="29"/>
                        <a:pt x="25" y="34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" name="Freeform 156"/>
                <p:cNvSpPr>
                  <a:spLocks noEditPoints="1"/>
                </p:cNvSpPr>
                <p:nvPr/>
              </p:nvSpPr>
              <p:spPr bwMode="auto">
                <a:xfrm>
                  <a:off x="6503404" y="2648394"/>
                  <a:ext cx="79751" cy="105645"/>
                </a:xfrm>
                <a:custGeom>
                  <a:avLst/>
                  <a:gdLst>
                    <a:gd name="T0" fmla="*/ 0 w 39"/>
                    <a:gd name="T1" fmla="*/ 5 h 51"/>
                    <a:gd name="T2" fmla="*/ 9 w 39"/>
                    <a:gd name="T3" fmla="*/ 20 h 51"/>
                    <a:gd name="T4" fmla="*/ 6 w 39"/>
                    <a:gd name="T5" fmla="*/ 40 h 51"/>
                    <a:gd name="T6" fmla="*/ 29 w 39"/>
                    <a:gd name="T7" fmla="*/ 46 h 51"/>
                    <a:gd name="T8" fmla="*/ 35 w 39"/>
                    <a:gd name="T9" fmla="*/ 23 h 51"/>
                    <a:gd name="T10" fmla="*/ 16 w 39"/>
                    <a:gd name="T11" fmla="*/ 16 h 51"/>
                    <a:gd name="T12" fmla="*/ 7 w 39"/>
                    <a:gd name="T13" fmla="*/ 0 h 51"/>
                    <a:gd name="T14" fmla="*/ 0 w 39"/>
                    <a:gd name="T15" fmla="*/ 5 h 51"/>
                    <a:gd name="T16" fmla="*/ 27 w 39"/>
                    <a:gd name="T17" fmla="*/ 28 h 51"/>
                    <a:gd name="T18" fmla="*/ 24 w 39"/>
                    <a:gd name="T19" fmla="*/ 38 h 51"/>
                    <a:gd name="T20" fmla="*/ 14 w 39"/>
                    <a:gd name="T21" fmla="*/ 36 h 51"/>
                    <a:gd name="T22" fmla="*/ 17 w 39"/>
                    <a:gd name="T23" fmla="*/ 25 h 51"/>
                    <a:gd name="T24" fmla="*/ 27 w 39"/>
                    <a:gd name="T25" fmla="*/ 2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51">
                      <a:moveTo>
                        <a:pt x="0" y="5"/>
                      </a:moveTo>
                      <a:cubicBezTo>
                        <a:pt x="9" y="20"/>
                        <a:pt x="9" y="20"/>
                        <a:pt x="9" y="20"/>
                      </a:cubicBezTo>
                      <a:cubicBezTo>
                        <a:pt x="4" y="25"/>
                        <a:pt x="3" y="33"/>
                        <a:pt x="6" y="40"/>
                      </a:cubicBezTo>
                      <a:cubicBezTo>
                        <a:pt x="11" y="48"/>
                        <a:pt x="21" y="51"/>
                        <a:pt x="29" y="46"/>
                      </a:cubicBezTo>
                      <a:cubicBezTo>
                        <a:pt x="37" y="41"/>
                        <a:pt x="39" y="31"/>
                        <a:pt x="35" y="23"/>
                      </a:cubicBezTo>
                      <a:cubicBezTo>
                        <a:pt x="31" y="17"/>
                        <a:pt x="23" y="14"/>
                        <a:pt x="16" y="16"/>
                      </a:cubicBezTo>
                      <a:cubicBezTo>
                        <a:pt x="7" y="0"/>
                        <a:pt x="7" y="0"/>
                        <a:pt x="7" y="0"/>
                      </a:cubicBezTo>
                      <a:lnTo>
                        <a:pt x="0" y="5"/>
                      </a:lnTo>
                      <a:close/>
                      <a:moveTo>
                        <a:pt x="27" y="28"/>
                      </a:moveTo>
                      <a:cubicBezTo>
                        <a:pt x="29" y="32"/>
                        <a:pt x="28" y="36"/>
                        <a:pt x="24" y="38"/>
                      </a:cubicBezTo>
                      <a:cubicBezTo>
                        <a:pt x="21" y="41"/>
                        <a:pt x="16" y="39"/>
                        <a:pt x="14" y="36"/>
                      </a:cubicBezTo>
                      <a:cubicBezTo>
                        <a:pt x="12" y="32"/>
                        <a:pt x="13" y="27"/>
                        <a:pt x="17" y="25"/>
                      </a:cubicBezTo>
                      <a:cubicBezTo>
                        <a:pt x="20" y="23"/>
                        <a:pt x="25" y="24"/>
                        <a:pt x="27" y="28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" name="Freeform 157"/>
                <p:cNvSpPr>
                  <a:spLocks noEditPoints="1"/>
                </p:cNvSpPr>
                <p:nvPr/>
              </p:nvSpPr>
              <p:spPr bwMode="auto">
                <a:xfrm>
                  <a:off x="6547940" y="2603858"/>
                  <a:ext cx="103574" cy="81823"/>
                </a:xfrm>
                <a:custGeom>
                  <a:avLst/>
                  <a:gdLst>
                    <a:gd name="T0" fmla="*/ 0 w 50"/>
                    <a:gd name="T1" fmla="*/ 8 h 40"/>
                    <a:gd name="T2" fmla="*/ 15 w 50"/>
                    <a:gd name="T3" fmla="*/ 17 h 40"/>
                    <a:gd name="T4" fmla="*/ 23 w 50"/>
                    <a:gd name="T5" fmla="*/ 35 h 40"/>
                    <a:gd name="T6" fmla="*/ 46 w 50"/>
                    <a:gd name="T7" fmla="*/ 29 h 40"/>
                    <a:gd name="T8" fmla="*/ 40 w 50"/>
                    <a:gd name="T9" fmla="*/ 7 h 40"/>
                    <a:gd name="T10" fmla="*/ 20 w 50"/>
                    <a:gd name="T11" fmla="*/ 9 h 40"/>
                    <a:gd name="T12" fmla="*/ 4 w 50"/>
                    <a:gd name="T13" fmla="*/ 0 h 40"/>
                    <a:gd name="T14" fmla="*/ 0 w 50"/>
                    <a:gd name="T15" fmla="*/ 8 h 40"/>
                    <a:gd name="T16" fmla="*/ 35 w 50"/>
                    <a:gd name="T17" fmla="*/ 14 h 40"/>
                    <a:gd name="T18" fmla="*/ 38 w 50"/>
                    <a:gd name="T19" fmla="*/ 25 h 40"/>
                    <a:gd name="T20" fmla="*/ 27 w 50"/>
                    <a:gd name="T21" fmla="*/ 28 h 40"/>
                    <a:gd name="T22" fmla="*/ 25 w 50"/>
                    <a:gd name="T23" fmla="*/ 17 h 40"/>
                    <a:gd name="T24" fmla="*/ 35 w 50"/>
                    <a:gd name="T25" fmla="*/ 14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0" h="40">
                      <a:moveTo>
                        <a:pt x="0" y="8"/>
                      </a:moveTo>
                      <a:cubicBezTo>
                        <a:pt x="15" y="17"/>
                        <a:pt x="15" y="17"/>
                        <a:pt x="15" y="17"/>
                      </a:cubicBezTo>
                      <a:cubicBezTo>
                        <a:pt x="14" y="24"/>
                        <a:pt x="17" y="32"/>
                        <a:pt x="23" y="35"/>
                      </a:cubicBezTo>
                      <a:cubicBezTo>
                        <a:pt x="31" y="40"/>
                        <a:pt x="41" y="37"/>
                        <a:pt x="46" y="29"/>
                      </a:cubicBezTo>
                      <a:cubicBezTo>
                        <a:pt x="50" y="21"/>
                        <a:pt x="48" y="11"/>
                        <a:pt x="40" y="7"/>
                      </a:cubicBezTo>
                      <a:cubicBezTo>
                        <a:pt x="33" y="3"/>
                        <a:pt x="25" y="4"/>
                        <a:pt x="20" y="9"/>
                      </a:cubicBezTo>
                      <a:cubicBezTo>
                        <a:pt x="4" y="0"/>
                        <a:pt x="4" y="0"/>
                        <a:pt x="4" y="0"/>
                      </a:cubicBezTo>
                      <a:lnTo>
                        <a:pt x="0" y="8"/>
                      </a:lnTo>
                      <a:close/>
                      <a:moveTo>
                        <a:pt x="35" y="14"/>
                      </a:moveTo>
                      <a:cubicBezTo>
                        <a:pt x="39" y="16"/>
                        <a:pt x="40" y="21"/>
                        <a:pt x="38" y="25"/>
                      </a:cubicBezTo>
                      <a:cubicBezTo>
                        <a:pt x="36" y="29"/>
                        <a:pt x="31" y="30"/>
                        <a:pt x="27" y="28"/>
                      </a:cubicBezTo>
                      <a:cubicBezTo>
                        <a:pt x="24" y="26"/>
                        <a:pt x="23" y="21"/>
                        <a:pt x="25" y="17"/>
                      </a:cubicBezTo>
                      <a:cubicBezTo>
                        <a:pt x="27" y="13"/>
                        <a:pt x="32" y="12"/>
                        <a:pt x="35" y="14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" name="Freeform 158"/>
                <p:cNvSpPr>
                  <a:spLocks noEditPoints="1"/>
                </p:cNvSpPr>
                <p:nvPr/>
              </p:nvSpPr>
              <p:spPr bwMode="auto">
                <a:xfrm>
                  <a:off x="6566584" y="2520999"/>
                  <a:ext cx="104609" cy="68359"/>
                </a:xfrm>
                <a:custGeom>
                  <a:avLst/>
                  <a:gdLst>
                    <a:gd name="T0" fmla="*/ 0 w 51"/>
                    <a:gd name="T1" fmla="*/ 21 h 33"/>
                    <a:gd name="T2" fmla="*/ 19 w 51"/>
                    <a:gd name="T3" fmla="*/ 21 h 33"/>
                    <a:gd name="T4" fmla="*/ 34 w 51"/>
                    <a:gd name="T5" fmla="*/ 33 h 33"/>
                    <a:gd name="T6" fmla="*/ 51 w 51"/>
                    <a:gd name="T7" fmla="*/ 16 h 33"/>
                    <a:gd name="T8" fmla="*/ 34 w 51"/>
                    <a:gd name="T9" fmla="*/ 0 h 33"/>
                    <a:gd name="T10" fmla="*/ 19 w 51"/>
                    <a:gd name="T11" fmla="*/ 12 h 33"/>
                    <a:gd name="T12" fmla="*/ 0 w 51"/>
                    <a:gd name="T13" fmla="*/ 12 h 33"/>
                    <a:gd name="T14" fmla="*/ 0 w 51"/>
                    <a:gd name="T15" fmla="*/ 21 h 33"/>
                    <a:gd name="T16" fmla="*/ 34 w 51"/>
                    <a:gd name="T17" fmla="*/ 9 h 33"/>
                    <a:gd name="T18" fmla="*/ 42 w 51"/>
                    <a:gd name="T19" fmla="*/ 16 h 33"/>
                    <a:gd name="T20" fmla="*/ 34 w 51"/>
                    <a:gd name="T21" fmla="*/ 24 h 33"/>
                    <a:gd name="T22" fmla="*/ 27 w 51"/>
                    <a:gd name="T23" fmla="*/ 16 h 33"/>
                    <a:gd name="T24" fmla="*/ 34 w 51"/>
                    <a:gd name="T25" fmla="*/ 9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1" h="33">
                      <a:moveTo>
                        <a:pt x="0" y="21"/>
                      </a:move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21" y="28"/>
                        <a:pt x="27" y="33"/>
                        <a:pt x="34" y="33"/>
                      </a:cubicBezTo>
                      <a:cubicBezTo>
                        <a:pt x="44" y="33"/>
                        <a:pt x="51" y="25"/>
                        <a:pt x="51" y="16"/>
                      </a:cubicBezTo>
                      <a:cubicBezTo>
                        <a:pt x="51" y="7"/>
                        <a:pt x="44" y="0"/>
                        <a:pt x="34" y="0"/>
                      </a:cubicBezTo>
                      <a:cubicBezTo>
                        <a:pt x="27" y="0"/>
                        <a:pt x="20" y="5"/>
                        <a:pt x="19" y="12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0" y="21"/>
                      </a:lnTo>
                      <a:close/>
                      <a:moveTo>
                        <a:pt x="34" y="9"/>
                      </a:moveTo>
                      <a:cubicBezTo>
                        <a:pt x="39" y="9"/>
                        <a:pt x="42" y="12"/>
                        <a:pt x="42" y="16"/>
                      </a:cubicBezTo>
                      <a:cubicBezTo>
                        <a:pt x="42" y="21"/>
                        <a:pt x="39" y="24"/>
                        <a:pt x="34" y="24"/>
                      </a:cubicBezTo>
                      <a:cubicBezTo>
                        <a:pt x="30" y="24"/>
                        <a:pt x="27" y="21"/>
                        <a:pt x="27" y="16"/>
                      </a:cubicBezTo>
                      <a:cubicBezTo>
                        <a:pt x="27" y="12"/>
                        <a:pt x="30" y="9"/>
                        <a:pt x="34" y="9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" name="Freeform 159"/>
                <p:cNvSpPr>
                  <a:spLocks noEditPoints="1"/>
                </p:cNvSpPr>
                <p:nvPr/>
              </p:nvSpPr>
              <p:spPr bwMode="auto">
                <a:xfrm>
                  <a:off x="6328365" y="2428819"/>
                  <a:ext cx="250648" cy="248576"/>
                </a:xfrm>
                <a:custGeom>
                  <a:avLst/>
                  <a:gdLst>
                    <a:gd name="T0" fmla="*/ 61 w 122"/>
                    <a:gd name="T1" fmla="*/ 121 h 121"/>
                    <a:gd name="T2" fmla="*/ 0 w 122"/>
                    <a:gd name="T3" fmla="*/ 60 h 121"/>
                    <a:gd name="T4" fmla="*/ 61 w 122"/>
                    <a:gd name="T5" fmla="*/ 0 h 121"/>
                    <a:gd name="T6" fmla="*/ 122 w 122"/>
                    <a:gd name="T7" fmla="*/ 60 h 121"/>
                    <a:gd name="T8" fmla="*/ 61 w 122"/>
                    <a:gd name="T9" fmla="*/ 121 h 121"/>
                    <a:gd name="T10" fmla="*/ 61 w 122"/>
                    <a:gd name="T11" fmla="*/ 8 h 121"/>
                    <a:gd name="T12" fmla="*/ 8 w 122"/>
                    <a:gd name="T13" fmla="*/ 60 h 121"/>
                    <a:gd name="T14" fmla="*/ 61 w 122"/>
                    <a:gd name="T15" fmla="*/ 113 h 121"/>
                    <a:gd name="T16" fmla="*/ 114 w 122"/>
                    <a:gd name="T17" fmla="*/ 60 h 121"/>
                    <a:gd name="T18" fmla="*/ 61 w 122"/>
                    <a:gd name="T19" fmla="*/ 8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2" h="121">
                      <a:moveTo>
                        <a:pt x="61" y="121"/>
                      </a:moveTo>
                      <a:cubicBezTo>
                        <a:pt x="28" y="121"/>
                        <a:pt x="0" y="94"/>
                        <a:pt x="0" y="60"/>
                      </a:cubicBezTo>
                      <a:cubicBezTo>
                        <a:pt x="0" y="27"/>
                        <a:pt x="28" y="0"/>
                        <a:pt x="61" y="0"/>
                      </a:cubicBezTo>
                      <a:cubicBezTo>
                        <a:pt x="94" y="0"/>
                        <a:pt x="122" y="27"/>
                        <a:pt x="122" y="60"/>
                      </a:cubicBezTo>
                      <a:cubicBezTo>
                        <a:pt x="122" y="94"/>
                        <a:pt x="94" y="121"/>
                        <a:pt x="61" y="121"/>
                      </a:cubicBezTo>
                      <a:close/>
                      <a:moveTo>
                        <a:pt x="61" y="8"/>
                      </a:moveTo>
                      <a:cubicBezTo>
                        <a:pt x="32" y="8"/>
                        <a:pt x="8" y="31"/>
                        <a:pt x="8" y="60"/>
                      </a:cubicBezTo>
                      <a:cubicBezTo>
                        <a:pt x="8" y="89"/>
                        <a:pt x="32" y="113"/>
                        <a:pt x="61" y="113"/>
                      </a:cubicBezTo>
                      <a:cubicBezTo>
                        <a:pt x="90" y="113"/>
                        <a:pt x="114" y="89"/>
                        <a:pt x="114" y="60"/>
                      </a:cubicBezTo>
                      <a:cubicBezTo>
                        <a:pt x="114" y="31"/>
                        <a:pt x="90" y="8"/>
                        <a:pt x="61" y="8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1" name="组合 20"/>
            <p:cNvGrpSpPr/>
            <p:nvPr userDrawn="1"/>
          </p:nvGrpSpPr>
          <p:grpSpPr>
            <a:xfrm>
              <a:off x="7482194" y="366870"/>
              <a:ext cx="514249" cy="514249"/>
              <a:chOff x="1645900" y="3884416"/>
              <a:chExt cx="828000" cy="828000"/>
            </a:xfrm>
          </p:grpSpPr>
          <p:sp>
            <p:nvSpPr>
              <p:cNvPr id="22" name="Oval 33"/>
              <p:cNvSpPr>
                <a:spLocks noChangeArrowheads="1"/>
              </p:cNvSpPr>
              <p:nvPr/>
            </p:nvSpPr>
            <p:spPr bwMode="auto">
              <a:xfrm>
                <a:off x="1645900" y="3884416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23" name="Oval 33"/>
              <p:cNvSpPr>
                <a:spLocks noChangeArrowheads="1"/>
              </p:cNvSpPr>
              <p:nvPr/>
            </p:nvSpPr>
            <p:spPr bwMode="auto">
              <a:xfrm>
                <a:off x="1699900" y="3938416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24" name="组合 23"/>
              <p:cNvGrpSpPr/>
              <p:nvPr/>
            </p:nvGrpSpPr>
            <p:grpSpPr>
              <a:xfrm>
                <a:off x="1843900" y="4082416"/>
                <a:ext cx="432000" cy="432000"/>
                <a:chOff x="6276579" y="1427264"/>
                <a:chExt cx="337649" cy="340757"/>
              </a:xfrm>
            </p:grpSpPr>
            <p:sp>
              <p:nvSpPr>
                <p:cNvPr id="25" name="Freeform 123"/>
                <p:cNvSpPr>
                  <a:spLocks noEditPoints="1"/>
                </p:cNvSpPr>
                <p:nvPr/>
              </p:nvSpPr>
              <p:spPr bwMode="auto">
                <a:xfrm>
                  <a:off x="6276579" y="1427264"/>
                  <a:ext cx="337649" cy="340757"/>
                </a:xfrm>
                <a:custGeom>
                  <a:avLst/>
                  <a:gdLst>
                    <a:gd name="T0" fmla="*/ 87 w 164"/>
                    <a:gd name="T1" fmla="*/ 8 h 166"/>
                    <a:gd name="T2" fmla="*/ 87 w 164"/>
                    <a:gd name="T3" fmla="*/ 5 h 166"/>
                    <a:gd name="T4" fmla="*/ 82 w 164"/>
                    <a:gd name="T5" fmla="*/ 0 h 166"/>
                    <a:gd name="T6" fmla="*/ 77 w 164"/>
                    <a:gd name="T7" fmla="*/ 5 h 166"/>
                    <a:gd name="T8" fmla="*/ 77 w 164"/>
                    <a:gd name="T9" fmla="*/ 8 h 166"/>
                    <a:gd name="T10" fmla="*/ 0 w 164"/>
                    <a:gd name="T11" fmla="*/ 8 h 166"/>
                    <a:gd name="T12" fmla="*/ 0 w 164"/>
                    <a:gd name="T13" fmla="*/ 36 h 166"/>
                    <a:gd name="T14" fmla="*/ 3 w 164"/>
                    <a:gd name="T15" fmla="*/ 36 h 166"/>
                    <a:gd name="T16" fmla="*/ 3 w 164"/>
                    <a:gd name="T17" fmla="*/ 122 h 166"/>
                    <a:gd name="T18" fmla="*/ 7 w 164"/>
                    <a:gd name="T19" fmla="*/ 126 h 166"/>
                    <a:gd name="T20" fmla="*/ 49 w 164"/>
                    <a:gd name="T21" fmla="*/ 126 h 166"/>
                    <a:gd name="T22" fmla="*/ 30 w 164"/>
                    <a:gd name="T23" fmla="*/ 157 h 166"/>
                    <a:gd name="T24" fmla="*/ 32 w 164"/>
                    <a:gd name="T25" fmla="*/ 164 h 166"/>
                    <a:gd name="T26" fmla="*/ 34 w 164"/>
                    <a:gd name="T27" fmla="*/ 165 h 166"/>
                    <a:gd name="T28" fmla="*/ 39 w 164"/>
                    <a:gd name="T29" fmla="*/ 162 h 166"/>
                    <a:gd name="T30" fmla="*/ 48 w 164"/>
                    <a:gd name="T31" fmla="*/ 146 h 166"/>
                    <a:gd name="T32" fmla="*/ 77 w 164"/>
                    <a:gd name="T33" fmla="*/ 146 h 166"/>
                    <a:gd name="T34" fmla="*/ 77 w 164"/>
                    <a:gd name="T35" fmla="*/ 160 h 166"/>
                    <a:gd name="T36" fmla="*/ 82 w 164"/>
                    <a:gd name="T37" fmla="*/ 165 h 166"/>
                    <a:gd name="T38" fmla="*/ 87 w 164"/>
                    <a:gd name="T39" fmla="*/ 160 h 166"/>
                    <a:gd name="T40" fmla="*/ 87 w 164"/>
                    <a:gd name="T41" fmla="*/ 146 h 166"/>
                    <a:gd name="T42" fmla="*/ 116 w 164"/>
                    <a:gd name="T43" fmla="*/ 146 h 166"/>
                    <a:gd name="T44" fmla="*/ 126 w 164"/>
                    <a:gd name="T45" fmla="*/ 162 h 166"/>
                    <a:gd name="T46" fmla="*/ 132 w 164"/>
                    <a:gd name="T47" fmla="*/ 164 h 166"/>
                    <a:gd name="T48" fmla="*/ 134 w 164"/>
                    <a:gd name="T49" fmla="*/ 157 h 166"/>
                    <a:gd name="T50" fmla="*/ 116 w 164"/>
                    <a:gd name="T51" fmla="*/ 126 h 166"/>
                    <a:gd name="T52" fmla="*/ 157 w 164"/>
                    <a:gd name="T53" fmla="*/ 126 h 166"/>
                    <a:gd name="T54" fmla="*/ 161 w 164"/>
                    <a:gd name="T55" fmla="*/ 122 h 166"/>
                    <a:gd name="T56" fmla="*/ 161 w 164"/>
                    <a:gd name="T57" fmla="*/ 36 h 166"/>
                    <a:gd name="T58" fmla="*/ 164 w 164"/>
                    <a:gd name="T59" fmla="*/ 36 h 166"/>
                    <a:gd name="T60" fmla="*/ 164 w 164"/>
                    <a:gd name="T61" fmla="*/ 8 h 166"/>
                    <a:gd name="T62" fmla="*/ 87 w 164"/>
                    <a:gd name="T63" fmla="*/ 8 h 166"/>
                    <a:gd name="T64" fmla="*/ 77 w 164"/>
                    <a:gd name="T65" fmla="*/ 139 h 166"/>
                    <a:gd name="T66" fmla="*/ 52 w 164"/>
                    <a:gd name="T67" fmla="*/ 139 h 166"/>
                    <a:gd name="T68" fmla="*/ 60 w 164"/>
                    <a:gd name="T69" fmla="*/ 126 h 166"/>
                    <a:gd name="T70" fmla="*/ 77 w 164"/>
                    <a:gd name="T71" fmla="*/ 126 h 166"/>
                    <a:gd name="T72" fmla="*/ 77 w 164"/>
                    <a:gd name="T73" fmla="*/ 139 h 166"/>
                    <a:gd name="T74" fmla="*/ 87 w 164"/>
                    <a:gd name="T75" fmla="*/ 139 h 166"/>
                    <a:gd name="T76" fmla="*/ 87 w 164"/>
                    <a:gd name="T77" fmla="*/ 126 h 166"/>
                    <a:gd name="T78" fmla="*/ 104 w 164"/>
                    <a:gd name="T79" fmla="*/ 126 h 166"/>
                    <a:gd name="T80" fmla="*/ 112 w 164"/>
                    <a:gd name="T81" fmla="*/ 139 h 166"/>
                    <a:gd name="T82" fmla="*/ 87 w 164"/>
                    <a:gd name="T83" fmla="*/ 139 h 166"/>
                    <a:gd name="T84" fmla="*/ 151 w 164"/>
                    <a:gd name="T85" fmla="*/ 116 h 166"/>
                    <a:gd name="T86" fmla="*/ 13 w 164"/>
                    <a:gd name="T87" fmla="*/ 116 h 166"/>
                    <a:gd name="T88" fmla="*/ 13 w 164"/>
                    <a:gd name="T89" fmla="*/ 36 h 166"/>
                    <a:gd name="T90" fmla="*/ 151 w 164"/>
                    <a:gd name="T91" fmla="*/ 36 h 166"/>
                    <a:gd name="T92" fmla="*/ 151 w 164"/>
                    <a:gd name="T93" fmla="*/ 116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64" h="166">
                      <a:moveTo>
                        <a:pt x="87" y="8"/>
                      </a:moveTo>
                      <a:cubicBezTo>
                        <a:pt x="87" y="5"/>
                        <a:pt x="87" y="5"/>
                        <a:pt x="87" y="5"/>
                      </a:cubicBezTo>
                      <a:cubicBezTo>
                        <a:pt x="87" y="2"/>
                        <a:pt x="85" y="0"/>
                        <a:pt x="82" y="0"/>
                      </a:cubicBezTo>
                      <a:cubicBezTo>
                        <a:pt x="79" y="0"/>
                        <a:pt x="77" y="2"/>
                        <a:pt x="77" y="5"/>
                      </a:cubicBezTo>
                      <a:cubicBezTo>
                        <a:pt x="77" y="8"/>
                        <a:pt x="77" y="8"/>
                        <a:pt x="77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122"/>
                        <a:pt x="3" y="122"/>
                        <a:pt x="3" y="122"/>
                      </a:cubicBezTo>
                      <a:cubicBezTo>
                        <a:pt x="3" y="124"/>
                        <a:pt x="5" y="126"/>
                        <a:pt x="7" y="126"/>
                      </a:cubicBezTo>
                      <a:cubicBezTo>
                        <a:pt x="49" y="126"/>
                        <a:pt x="49" y="126"/>
                        <a:pt x="49" y="126"/>
                      </a:cubicBezTo>
                      <a:cubicBezTo>
                        <a:pt x="30" y="157"/>
                        <a:pt x="30" y="157"/>
                        <a:pt x="30" y="157"/>
                      </a:cubicBezTo>
                      <a:cubicBezTo>
                        <a:pt x="29" y="160"/>
                        <a:pt x="30" y="163"/>
                        <a:pt x="32" y="164"/>
                      </a:cubicBezTo>
                      <a:cubicBezTo>
                        <a:pt x="33" y="165"/>
                        <a:pt x="34" y="165"/>
                        <a:pt x="34" y="165"/>
                      </a:cubicBezTo>
                      <a:cubicBezTo>
                        <a:pt x="36" y="165"/>
                        <a:pt x="38" y="164"/>
                        <a:pt x="39" y="162"/>
                      </a:cubicBezTo>
                      <a:cubicBezTo>
                        <a:pt x="48" y="146"/>
                        <a:pt x="48" y="146"/>
                        <a:pt x="48" y="146"/>
                      </a:cubicBezTo>
                      <a:cubicBezTo>
                        <a:pt x="77" y="146"/>
                        <a:pt x="77" y="146"/>
                        <a:pt x="77" y="146"/>
                      </a:cubicBezTo>
                      <a:cubicBezTo>
                        <a:pt x="77" y="160"/>
                        <a:pt x="77" y="160"/>
                        <a:pt x="77" y="160"/>
                      </a:cubicBezTo>
                      <a:cubicBezTo>
                        <a:pt x="77" y="163"/>
                        <a:pt x="79" y="165"/>
                        <a:pt x="82" y="165"/>
                      </a:cubicBezTo>
                      <a:cubicBezTo>
                        <a:pt x="85" y="165"/>
                        <a:pt x="87" y="163"/>
                        <a:pt x="87" y="160"/>
                      </a:cubicBezTo>
                      <a:cubicBezTo>
                        <a:pt x="87" y="146"/>
                        <a:pt x="87" y="146"/>
                        <a:pt x="87" y="146"/>
                      </a:cubicBezTo>
                      <a:cubicBezTo>
                        <a:pt x="116" y="146"/>
                        <a:pt x="116" y="146"/>
                        <a:pt x="116" y="146"/>
                      </a:cubicBezTo>
                      <a:cubicBezTo>
                        <a:pt x="126" y="162"/>
                        <a:pt x="126" y="162"/>
                        <a:pt x="126" y="162"/>
                      </a:cubicBezTo>
                      <a:cubicBezTo>
                        <a:pt x="127" y="165"/>
                        <a:pt x="130" y="166"/>
                        <a:pt x="132" y="164"/>
                      </a:cubicBezTo>
                      <a:cubicBezTo>
                        <a:pt x="135" y="163"/>
                        <a:pt x="136" y="160"/>
                        <a:pt x="134" y="157"/>
                      </a:cubicBezTo>
                      <a:cubicBezTo>
                        <a:pt x="116" y="126"/>
                        <a:pt x="116" y="126"/>
                        <a:pt x="116" y="126"/>
                      </a:cubicBezTo>
                      <a:cubicBezTo>
                        <a:pt x="157" y="126"/>
                        <a:pt x="157" y="126"/>
                        <a:pt x="157" y="126"/>
                      </a:cubicBezTo>
                      <a:cubicBezTo>
                        <a:pt x="159" y="126"/>
                        <a:pt x="161" y="124"/>
                        <a:pt x="161" y="122"/>
                      </a:cubicBezTo>
                      <a:cubicBezTo>
                        <a:pt x="161" y="36"/>
                        <a:pt x="161" y="36"/>
                        <a:pt x="161" y="36"/>
                      </a:cubicBezTo>
                      <a:cubicBezTo>
                        <a:pt x="164" y="36"/>
                        <a:pt x="164" y="36"/>
                        <a:pt x="164" y="36"/>
                      </a:cubicBezTo>
                      <a:cubicBezTo>
                        <a:pt x="164" y="8"/>
                        <a:pt x="164" y="8"/>
                        <a:pt x="164" y="8"/>
                      </a:cubicBezTo>
                      <a:lnTo>
                        <a:pt x="87" y="8"/>
                      </a:lnTo>
                      <a:close/>
                      <a:moveTo>
                        <a:pt x="77" y="139"/>
                      </a:moveTo>
                      <a:cubicBezTo>
                        <a:pt x="52" y="139"/>
                        <a:pt x="52" y="139"/>
                        <a:pt x="52" y="139"/>
                      </a:cubicBezTo>
                      <a:cubicBezTo>
                        <a:pt x="60" y="126"/>
                        <a:pt x="60" y="126"/>
                        <a:pt x="60" y="126"/>
                      </a:cubicBezTo>
                      <a:cubicBezTo>
                        <a:pt x="77" y="126"/>
                        <a:pt x="77" y="126"/>
                        <a:pt x="77" y="126"/>
                      </a:cubicBezTo>
                      <a:lnTo>
                        <a:pt x="77" y="139"/>
                      </a:lnTo>
                      <a:close/>
                      <a:moveTo>
                        <a:pt x="87" y="139"/>
                      </a:moveTo>
                      <a:cubicBezTo>
                        <a:pt x="87" y="126"/>
                        <a:pt x="87" y="126"/>
                        <a:pt x="87" y="126"/>
                      </a:cubicBezTo>
                      <a:cubicBezTo>
                        <a:pt x="104" y="126"/>
                        <a:pt x="104" y="126"/>
                        <a:pt x="104" y="126"/>
                      </a:cubicBezTo>
                      <a:cubicBezTo>
                        <a:pt x="112" y="139"/>
                        <a:pt x="112" y="139"/>
                        <a:pt x="112" y="139"/>
                      </a:cubicBezTo>
                      <a:lnTo>
                        <a:pt x="87" y="139"/>
                      </a:lnTo>
                      <a:close/>
                      <a:moveTo>
                        <a:pt x="151" y="116"/>
                      </a:moveTo>
                      <a:cubicBezTo>
                        <a:pt x="13" y="116"/>
                        <a:pt x="13" y="116"/>
                        <a:pt x="13" y="116"/>
                      </a:cubicBezTo>
                      <a:cubicBezTo>
                        <a:pt x="13" y="36"/>
                        <a:pt x="13" y="36"/>
                        <a:pt x="13" y="36"/>
                      </a:cubicBezTo>
                      <a:cubicBezTo>
                        <a:pt x="151" y="36"/>
                        <a:pt x="151" y="36"/>
                        <a:pt x="151" y="36"/>
                      </a:cubicBezTo>
                      <a:lnTo>
                        <a:pt x="151" y="116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6" name="Freeform 124"/>
                <p:cNvSpPr>
                  <a:spLocks noEditPoints="1"/>
                </p:cNvSpPr>
                <p:nvPr/>
              </p:nvSpPr>
              <p:spPr bwMode="auto">
                <a:xfrm>
                  <a:off x="6318008" y="1513230"/>
                  <a:ext cx="258933" cy="139824"/>
                </a:xfrm>
                <a:custGeom>
                  <a:avLst/>
                  <a:gdLst>
                    <a:gd name="T0" fmla="*/ 113 w 126"/>
                    <a:gd name="T1" fmla="*/ 0 h 68"/>
                    <a:gd name="T2" fmla="*/ 100 w 126"/>
                    <a:gd name="T3" fmla="*/ 13 h 68"/>
                    <a:gd name="T4" fmla="*/ 101 w 126"/>
                    <a:gd name="T5" fmla="*/ 18 h 68"/>
                    <a:gd name="T6" fmla="*/ 86 w 126"/>
                    <a:gd name="T7" fmla="*/ 33 h 68"/>
                    <a:gd name="T8" fmla="*/ 80 w 126"/>
                    <a:gd name="T9" fmla="*/ 32 h 68"/>
                    <a:gd name="T10" fmla="*/ 71 w 126"/>
                    <a:gd name="T11" fmla="*/ 35 h 68"/>
                    <a:gd name="T12" fmla="*/ 59 w 126"/>
                    <a:gd name="T13" fmla="*/ 28 h 68"/>
                    <a:gd name="T14" fmla="*/ 59 w 126"/>
                    <a:gd name="T15" fmla="*/ 27 h 68"/>
                    <a:gd name="T16" fmla="*/ 46 w 126"/>
                    <a:gd name="T17" fmla="*/ 14 h 68"/>
                    <a:gd name="T18" fmla="*/ 33 w 126"/>
                    <a:gd name="T19" fmla="*/ 27 h 68"/>
                    <a:gd name="T20" fmla="*/ 34 w 126"/>
                    <a:gd name="T21" fmla="*/ 31 h 68"/>
                    <a:gd name="T22" fmla="*/ 19 w 126"/>
                    <a:gd name="T23" fmla="*/ 44 h 68"/>
                    <a:gd name="T24" fmla="*/ 13 w 126"/>
                    <a:gd name="T25" fmla="*/ 42 h 68"/>
                    <a:gd name="T26" fmla="*/ 0 w 126"/>
                    <a:gd name="T27" fmla="*/ 55 h 68"/>
                    <a:gd name="T28" fmla="*/ 13 w 126"/>
                    <a:gd name="T29" fmla="*/ 68 h 68"/>
                    <a:gd name="T30" fmla="*/ 26 w 126"/>
                    <a:gd name="T31" fmla="*/ 55 h 68"/>
                    <a:gd name="T32" fmla="*/ 25 w 126"/>
                    <a:gd name="T33" fmla="*/ 51 h 68"/>
                    <a:gd name="T34" fmla="*/ 39 w 126"/>
                    <a:gd name="T35" fmla="*/ 38 h 68"/>
                    <a:gd name="T36" fmla="*/ 46 w 126"/>
                    <a:gd name="T37" fmla="*/ 40 h 68"/>
                    <a:gd name="T38" fmla="*/ 55 w 126"/>
                    <a:gd name="T39" fmla="*/ 36 h 68"/>
                    <a:gd name="T40" fmla="*/ 67 w 126"/>
                    <a:gd name="T41" fmla="*/ 43 h 68"/>
                    <a:gd name="T42" fmla="*/ 67 w 126"/>
                    <a:gd name="T43" fmla="*/ 45 h 68"/>
                    <a:gd name="T44" fmla="*/ 80 w 126"/>
                    <a:gd name="T45" fmla="*/ 58 h 68"/>
                    <a:gd name="T46" fmla="*/ 93 w 126"/>
                    <a:gd name="T47" fmla="*/ 45 h 68"/>
                    <a:gd name="T48" fmla="*/ 92 w 126"/>
                    <a:gd name="T49" fmla="*/ 39 h 68"/>
                    <a:gd name="T50" fmla="*/ 107 w 126"/>
                    <a:gd name="T51" fmla="*/ 25 h 68"/>
                    <a:gd name="T52" fmla="*/ 113 w 126"/>
                    <a:gd name="T53" fmla="*/ 26 h 68"/>
                    <a:gd name="T54" fmla="*/ 126 w 126"/>
                    <a:gd name="T55" fmla="*/ 13 h 68"/>
                    <a:gd name="T56" fmla="*/ 113 w 126"/>
                    <a:gd name="T57" fmla="*/ 0 h 68"/>
                    <a:gd name="T58" fmla="*/ 13 w 126"/>
                    <a:gd name="T59" fmla="*/ 60 h 68"/>
                    <a:gd name="T60" fmla="*/ 9 w 126"/>
                    <a:gd name="T61" fmla="*/ 55 h 68"/>
                    <a:gd name="T62" fmla="*/ 13 w 126"/>
                    <a:gd name="T63" fmla="*/ 51 h 68"/>
                    <a:gd name="T64" fmla="*/ 17 w 126"/>
                    <a:gd name="T65" fmla="*/ 55 h 68"/>
                    <a:gd name="T66" fmla="*/ 13 w 126"/>
                    <a:gd name="T67" fmla="*/ 60 h 68"/>
                    <a:gd name="T68" fmla="*/ 46 w 126"/>
                    <a:gd name="T69" fmla="*/ 31 h 68"/>
                    <a:gd name="T70" fmla="*/ 42 w 126"/>
                    <a:gd name="T71" fmla="*/ 27 h 68"/>
                    <a:gd name="T72" fmla="*/ 46 w 126"/>
                    <a:gd name="T73" fmla="*/ 23 h 68"/>
                    <a:gd name="T74" fmla="*/ 51 w 126"/>
                    <a:gd name="T75" fmla="*/ 27 h 68"/>
                    <a:gd name="T76" fmla="*/ 46 w 126"/>
                    <a:gd name="T77" fmla="*/ 31 h 68"/>
                    <a:gd name="T78" fmla="*/ 80 w 126"/>
                    <a:gd name="T79" fmla="*/ 49 h 68"/>
                    <a:gd name="T80" fmla="*/ 76 w 126"/>
                    <a:gd name="T81" fmla="*/ 45 h 68"/>
                    <a:gd name="T82" fmla="*/ 80 w 126"/>
                    <a:gd name="T83" fmla="*/ 40 h 68"/>
                    <a:gd name="T84" fmla="*/ 84 w 126"/>
                    <a:gd name="T85" fmla="*/ 45 h 68"/>
                    <a:gd name="T86" fmla="*/ 80 w 126"/>
                    <a:gd name="T87" fmla="*/ 49 h 68"/>
                    <a:gd name="T88" fmla="*/ 113 w 126"/>
                    <a:gd name="T89" fmla="*/ 17 h 68"/>
                    <a:gd name="T90" fmla="*/ 108 w 126"/>
                    <a:gd name="T91" fmla="*/ 13 h 68"/>
                    <a:gd name="T92" fmla="*/ 113 w 126"/>
                    <a:gd name="T93" fmla="*/ 9 h 68"/>
                    <a:gd name="T94" fmla="*/ 117 w 126"/>
                    <a:gd name="T95" fmla="*/ 13 h 68"/>
                    <a:gd name="T96" fmla="*/ 113 w 126"/>
                    <a:gd name="T97" fmla="*/ 17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6" h="68">
                      <a:moveTo>
                        <a:pt x="113" y="0"/>
                      </a:moveTo>
                      <a:cubicBezTo>
                        <a:pt x="105" y="0"/>
                        <a:pt x="100" y="6"/>
                        <a:pt x="100" y="13"/>
                      </a:cubicBezTo>
                      <a:cubicBezTo>
                        <a:pt x="100" y="15"/>
                        <a:pt x="100" y="17"/>
                        <a:pt x="101" y="18"/>
                      </a:cubicBezTo>
                      <a:cubicBezTo>
                        <a:pt x="86" y="33"/>
                        <a:pt x="86" y="33"/>
                        <a:pt x="86" y="33"/>
                      </a:cubicBezTo>
                      <a:cubicBezTo>
                        <a:pt x="84" y="32"/>
                        <a:pt x="82" y="32"/>
                        <a:pt x="80" y="32"/>
                      </a:cubicBezTo>
                      <a:cubicBezTo>
                        <a:pt x="77" y="32"/>
                        <a:pt x="74" y="33"/>
                        <a:pt x="71" y="35"/>
                      </a:cubicBezTo>
                      <a:cubicBezTo>
                        <a:pt x="59" y="28"/>
                        <a:pt x="59" y="28"/>
                        <a:pt x="59" y="28"/>
                      </a:cubicBezTo>
                      <a:cubicBezTo>
                        <a:pt x="59" y="28"/>
                        <a:pt x="59" y="28"/>
                        <a:pt x="59" y="27"/>
                      </a:cubicBezTo>
                      <a:cubicBezTo>
                        <a:pt x="59" y="20"/>
                        <a:pt x="53" y="14"/>
                        <a:pt x="46" y="14"/>
                      </a:cubicBezTo>
                      <a:cubicBezTo>
                        <a:pt x="39" y="14"/>
                        <a:pt x="33" y="20"/>
                        <a:pt x="33" y="27"/>
                      </a:cubicBezTo>
                      <a:cubicBezTo>
                        <a:pt x="33" y="29"/>
                        <a:pt x="33" y="30"/>
                        <a:pt x="34" y="31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3"/>
                        <a:pt x="15" y="42"/>
                        <a:pt x="13" y="42"/>
                      </a:cubicBezTo>
                      <a:cubicBezTo>
                        <a:pt x="6" y="42"/>
                        <a:pt x="0" y="48"/>
                        <a:pt x="0" y="55"/>
                      </a:cubicBezTo>
                      <a:cubicBezTo>
                        <a:pt x="0" y="62"/>
                        <a:pt x="6" y="68"/>
                        <a:pt x="13" y="68"/>
                      </a:cubicBezTo>
                      <a:cubicBezTo>
                        <a:pt x="20" y="68"/>
                        <a:pt x="26" y="62"/>
                        <a:pt x="26" y="55"/>
                      </a:cubicBezTo>
                      <a:cubicBezTo>
                        <a:pt x="26" y="54"/>
                        <a:pt x="26" y="52"/>
                        <a:pt x="25" y="51"/>
                      </a:cubicBezTo>
                      <a:cubicBezTo>
                        <a:pt x="39" y="38"/>
                        <a:pt x="39" y="38"/>
                        <a:pt x="39" y="38"/>
                      </a:cubicBezTo>
                      <a:cubicBezTo>
                        <a:pt x="41" y="39"/>
                        <a:pt x="44" y="40"/>
                        <a:pt x="46" y="40"/>
                      </a:cubicBezTo>
                      <a:cubicBezTo>
                        <a:pt x="50" y="40"/>
                        <a:pt x="53" y="39"/>
                        <a:pt x="55" y="36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3"/>
                        <a:pt x="67" y="44"/>
                        <a:pt x="67" y="45"/>
                      </a:cubicBezTo>
                      <a:cubicBezTo>
                        <a:pt x="67" y="52"/>
                        <a:pt x="73" y="58"/>
                        <a:pt x="80" y="58"/>
                      </a:cubicBezTo>
                      <a:cubicBezTo>
                        <a:pt x="87" y="58"/>
                        <a:pt x="93" y="52"/>
                        <a:pt x="93" y="45"/>
                      </a:cubicBezTo>
                      <a:cubicBezTo>
                        <a:pt x="93" y="43"/>
                        <a:pt x="93" y="41"/>
                        <a:pt x="92" y="39"/>
                      </a:cubicBezTo>
                      <a:cubicBezTo>
                        <a:pt x="107" y="25"/>
                        <a:pt x="107" y="25"/>
                        <a:pt x="107" y="25"/>
                      </a:cubicBezTo>
                      <a:cubicBezTo>
                        <a:pt x="109" y="25"/>
                        <a:pt x="111" y="26"/>
                        <a:pt x="113" y="26"/>
                      </a:cubicBezTo>
                      <a:cubicBezTo>
                        <a:pt x="120" y="26"/>
                        <a:pt x="126" y="20"/>
                        <a:pt x="126" y="13"/>
                      </a:cubicBezTo>
                      <a:cubicBezTo>
                        <a:pt x="126" y="6"/>
                        <a:pt x="120" y="0"/>
                        <a:pt x="113" y="0"/>
                      </a:cubicBezTo>
                      <a:close/>
                      <a:moveTo>
                        <a:pt x="13" y="60"/>
                      </a:moveTo>
                      <a:cubicBezTo>
                        <a:pt x="11" y="60"/>
                        <a:pt x="9" y="58"/>
                        <a:pt x="9" y="55"/>
                      </a:cubicBezTo>
                      <a:cubicBezTo>
                        <a:pt x="9" y="53"/>
                        <a:pt x="11" y="51"/>
                        <a:pt x="13" y="51"/>
                      </a:cubicBezTo>
                      <a:cubicBezTo>
                        <a:pt x="15" y="51"/>
                        <a:pt x="17" y="53"/>
                        <a:pt x="17" y="55"/>
                      </a:cubicBezTo>
                      <a:cubicBezTo>
                        <a:pt x="17" y="58"/>
                        <a:pt x="15" y="60"/>
                        <a:pt x="13" y="60"/>
                      </a:cubicBezTo>
                      <a:close/>
                      <a:moveTo>
                        <a:pt x="46" y="31"/>
                      </a:moveTo>
                      <a:cubicBezTo>
                        <a:pt x="44" y="31"/>
                        <a:pt x="42" y="30"/>
                        <a:pt x="42" y="27"/>
                      </a:cubicBezTo>
                      <a:cubicBezTo>
                        <a:pt x="42" y="25"/>
                        <a:pt x="44" y="23"/>
                        <a:pt x="46" y="23"/>
                      </a:cubicBezTo>
                      <a:cubicBezTo>
                        <a:pt x="49" y="23"/>
                        <a:pt x="51" y="25"/>
                        <a:pt x="51" y="27"/>
                      </a:cubicBezTo>
                      <a:cubicBezTo>
                        <a:pt x="51" y="30"/>
                        <a:pt x="49" y="31"/>
                        <a:pt x="46" y="31"/>
                      </a:cubicBezTo>
                      <a:close/>
                      <a:moveTo>
                        <a:pt x="80" y="49"/>
                      </a:moveTo>
                      <a:cubicBezTo>
                        <a:pt x="78" y="49"/>
                        <a:pt x="76" y="47"/>
                        <a:pt x="76" y="45"/>
                      </a:cubicBezTo>
                      <a:cubicBezTo>
                        <a:pt x="76" y="42"/>
                        <a:pt x="78" y="40"/>
                        <a:pt x="80" y="40"/>
                      </a:cubicBezTo>
                      <a:cubicBezTo>
                        <a:pt x="82" y="40"/>
                        <a:pt x="84" y="42"/>
                        <a:pt x="84" y="45"/>
                      </a:cubicBezTo>
                      <a:cubicBezTo>
                        <a:pt x="84" y="47"/>
                        <a:pt x="82" y="49"/>
                        <a:pt x="80" y="49"/>
                      </a:cubicBezTo>
                      <a:close/>
                      <a:moveTo>
                        <a:pt x="113" y="17"/>
                      </a:moveTo>
                      <a:cubicBezTo>
                        <a:pt x="110" y="17"/>
                        <a:pt x="108" y="15"/>
                        <a:pt x="108" y="13"/>
                      </a:cubicBezTo>
                      <a:cubicBezTo>
                        <a:pt x="108" y="11"/>
                        <a:pt x="110" y="9"/>
                        <a:pt x="113" y="9"/>
                      </a:cubicBezTo>
                      <a:cubicBezTo>
                        <a:pt x="115" y="9"/>
                        <a:pt x="117" y="11"/>
                        <a:pt x="117" y="13"/>
                      </a:cubicBezTo>
                      <a:cubicBezTo>
                        <a:pt x="117" y="15"/>
                        <a:pt x="115" y="17"/>
                        <a:pt x="113" y="17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微软雅黑"/>
                    <a:ea typeface="微软雅黑"/>
                  </a:endParaRPr>
                </a:p>
              </p:txBody>
            </p:sp>
          </p:grpSp>
        </p:grpSp>
        <p:grpSp>
          <p:nvGrpSpPr>
            <p:cNvPr id="27" name="组合 26"/>
            <p:cNvGrpSpPr/>
            <p:nvPr userDrawn="1"/>
          </p:nvGrpSpPr>
          <p:grpSpPr>
            <a:xfrm>
              <a:off x="3884598" y="366870"/>
              <a:ext cx="514249" cy="514249"/>
              <a:chOff x="2906942" y="4986515"/>
              <a:chExt cx="828000" cy="828000"/>
            </a:xfrm>
          </p:grpSpPr>
          <p:sp>
            <p:nvSpPr>
              <p:cNvPr id="28" name="Oval 33"/>
              <p:cNvSpPr>
                <a:spLocks noChangeArrowheads="1"/>
              </p:cNvSpPr>
              <p:nvPr/>
            </p:nvSpPr>
            <p:spPr bwMode="auto">
              <a:xfrm>
                <a:off x="2906942" y="4986515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29" name="Oval 33"/>
              <p:cNvSpPr>
                <a:spLocks noChangeArrowheads="1"/>
              </p:cNvSpPr>
              <p:nvPr/>
            </p:nvSpPr>
            <p:spPr bwMode="auto">
              <a:xfrm>
                <a:off x="2960942" y="5040515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30" name="组合 29"/>
              <p:cNvGrpSpPr/>
              <p:nvPr/>
            </p:nvGrpSpPr>
            <p:grpSpPr>
              <a:xfrm>
                <a:off x="3104942" y="5184515"/>
                <a:ext cx="432000" cy="432000"/>
                <a:chOff x="6881692" y="5127357"/>
                <a:chExt cx="348007" cy="349042"/>
              </a:xfrm>
            </p:grpSpPr>
            <p:sp>
              <p:nvSpPr>
                <p:cNvPr id="31" name="Freeform 99"/>
                <p:cNvSpPr>
                  <a:spLocks/>
                </p:cNvSpPr>
                <p:nvPr/>
              </p:nvSpPr>
              <p:spPr bwMode="auto">
                <a:xfrm>
                  <a:off x="7114732" y="5213323"/>
                  <a:ext cx="102538" cy="80787"/>
                </a:xfrm>
                <a:custGeom>
                  <a:avLst/>
                  <a:gdLst>
                    <a:gd name="T0" fmla="*/ 0 w 50"/>
                    <a:gd name="T1" fmla="*/ 39 h 39"/>
                    <a:gd name="T2" fmla="*/ 16 w 50"/>
                    <a:gd name="T3" fmla="*/ 39 h 39"/>
                    <a:gd name="T4" fmla="*/ 50 w 50"/>
                    <a:gd name="T5" fmla="*/ 10 h 39"/>
                    <a:gd name="T6" fmla="*/ 45 w 50"/>
                    <a:gd name="T7" fmla="*/ 0 h 39"/>
                    <a:gd name="T8" fmla="*/ 0 w 50"/>
                    <a:gd name="T9" fmla="*/ 38 h 39"/>
                    <a:gd name="T10" fmla="*/ 0 w 50"/>
                    <a:gd name="T11" fmla="*/ 3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0" h="39">
                      <a:moveTo>
                        <a:pt x="0" y="39"/>
                      </a:moveTo>
                      <a:cubicBezTo>
                        <a:pt x="16" y="39"/>
                        <a:pt x="16" y="39"/>
                        <a:pt x="16" y="39"/>
                      </a:cubicBezTo>
                      <a:cubicBezTo>
                        <a:pt x="50" y="10"/>
                        <a:pt x="50" y="10"/>
                        <a:pt x="50" y="10"/>
                      </a:cubicBezTo>
                      <a:cubicBezTo>
                        <a:pt x="48" y="7"/>
                        <a:pt x="46" y="3"/>
                        <a:pt x="45" y="0"/>
                      </a:cubicBezTo>
                      <a:cubicBezTo>
                        <a:pt x="0" y="38"/>
                        <a:pt x="0" y="38"/>
                        <a:pt x="0" y="38"/>
                      </a:cubicBezTo>
                      <a:lnTo>
                        <a:pt x="0" y="39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" name="Freeform 100"/>
                <p:cNvSpPr>
                  <a:spLocks/>
                </p:cNvSpPr>
                <p:nvPr/>
              </p:nvSpPr>
              <p:spPr bwMode="auto">
                <a:xfrm>
                  <a:off x="7065017" y="5127357"/>
                  <a:ext cx="26929" cy="29000"/>
                </a:xfrm>
                <a:custGeom>
                  <a:avLst/>
                  <a:gdLst>
                    <a:gd name="T0" fmla="*/ 0 w 13"/>
                    <a:gd name="T1" fmla="*/ 0 h 14"/>
                    <a:gd name="T2" fmla="*/ 0 w 13"/>
                    <a:gd name="T3" fmla="*/ 14 h 14"/>
                    <a:gd name="T4" fmla="*/ 13 w 13"/>
                    <a:gd name="T5" fmla="*/ 2 h 14"/>
                    <a:gd name="T6" fmla="*/ 0 w 13"/>
                    <a:gd name="T7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14">
                      <a:moveTo>
                        <a:pt x="0" y="0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9" y="1"/>
                        <a:pt x="4" y="1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" name="Freeform 101"/>
                <p:cNvSpPr>
                  <a:spLocks/>
                </p:cNvSpPr>
                <p:nvPr/>
              </p:nvSpPr>
              <p:spPr bwMode="auto">
                <a:xfrm>
                  <a:off x="7173770" y="5252681"/>
                  <a:ext cx="53858" cy="41429"/>
                </a:xfrm>
                <a:custGeom>
                  <a:avLst/>
                  <a:gdLst>
                    <a:gd name="T0" fmla="*/ 17 w 26"/>
                    <a:gd name="T1" fmla="*/ 20 h 20"/>
                    <a:gd name="T2" fmla="*/ 26 w 26"/>
                    <a:gd name="T3" fmla="*/ 12 h 20"/>
                    <a:gd name="T4" fmla="*/ 24 w 26"/>
                    <a:gd name="T5" fmla="*/ 0 h 20"/>
                    <a:gd name="T6" fmla="*/ 0 w 26"/>
                    <a:gd name="T7" fmla="*/ 20 h 20"/>
                    <a:gd name="T8" fmla="*/ 17 w 26"/>
                    <a:gd name="T9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" h="20">
                      <a:moveTo>
                        <a:pt x="17" y="20"/>
                      </a:move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8"/>
                        <a:pt x="25" y="4"/>
                        <a:pt x="24" y="0"/>
                      </a:cubicBezTo>
                      <a:cubicBezTo>
                        <a:pt x="0" y="20"/>
                        <a:pt x="0" y="20"/>
                        <a:pt x="0" y="20"/>
                      </a:cubicBezTo>
                      <a:lnTo>
                        <a:pt x="17" y="2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" name="Freeform 102"/>
                <p:cNvSpPr>
                  <a:spLocks/>
                </p:cNvSpPr>
                <p:nvPr/>
              </p:nvSpPr>
              <p:spPr bwMode="auto">
                <a:xfrm>
                  <a:off x="7065017" y="5156358"/>
                  <a:ext cx="104609" cy="104609"/>
                </a:xfrm>
                <a:custGeom>
                  <a:avLst/>
                  <a:gdLst>
                    <a:gd name="T0" fmla="*/ 42 w 51"/>
                    <a:gd name="T1" fmla="*/ 0 h 51"/>
                    <a:gd name="T2" fmla="*/ 0 w 51"/>
                    <a:gd name="T3" fmla="*/ 37 h 51"/>
                    <a:gd name="T4" fmla="*/ 0 w 51"/>
                    <a:gd name="T5" fmla="*/ 51 h 51"/>
                    <a:gd name="T6" fmla="*/ 51 w 51"/>
                    <a:gd name="T7" fmla="*/ 7 h 51"/>
                    <a:gd name="T8" fmla="*/ 42 w 51"/>
                    <a:gd name="T9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1" h="51">
                      <a:moveTo>
                        <a:pt x="42" y="0"/>
                      </a:move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8" y="4"/>
                        <a:pt x="45" y="2"/>
                        <a:pt x="42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" name="Freeform 103"/>
                <p:cNvSpPr>
                  <a:spLocks/>
                </p:cNvSpPr>
                <p:nvPr/>
              </p:nvSpPr>
              <p:spPr bwMode="auto">
                <a:xfrm>
                  <a:off x="7065017" y="5137714"/>
                  <a:ext cx="69395" cy="69395"/>
                </a:xfrm>
                <a:custGeom>
                  <a:avLst/>
                  <a:gdLst>
                    <a:gd name="T0" fmla="*/ 23 w 34"/>
                    <a:gd name="T1" fmla="*/ 0 h 34"/>
                    <a:gd name="T2" fmla="*/ 0 w 34"/>
                    <a:gd name="T3" fmla="*/ 20 h 34"/>
                    <a:gd name="T4" fmla="*/ 0 w 34"/>
                    <a:gd name="T5" fmla="*/ 34 h 34"/>
                    <a:gd name="T6" fmla="*/ 34 w 34"/>
                    <a:gd name="T7" fmla="*/ 5 h 34"/>
                    <a:gd name="T8" fmla="*/ 23 w 34"/>
                    <a:gd name="T9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4">
                      <a:moveTo>
                        <a:pt x="23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34" y="5"/>
                        <a:pt x="34" y="5"/>
                        <a:pt x="34" y="5"/>
                      </a:cubicBezTo>
                      <a:cubicBezTo>
                        <a:pt x="31" y="3"/>
                        <a:pt x="27" y="1"/>
                        <a:pt x="23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" name="Freeform 104"/>
                <p:cNvSpPr>
                  <a:spLocks/>
                </p:cNvSpPr>
                <p:nvPr/>
              </p:nvSpPr>
              <p:spPr bwMode="auto">
                <a:xfrm>
                  <a:off x="7065017" y="5182251"/>
                  <a:ext cx="131538" cy="111860"/>
                </a:xfrm>
                <a:custGeom>
                  <a:avLst/>
                  <a:gdLst>
                    <a:gd name="T0" fmla="*/ 64 w 64"/>
                    <a:gd name="T1" fmla="*/ 8 h 54"/>
                    <a:gd name="T2" fmla="*/ 57 w 64"/>
                    <a:gd name="T3" fmla="*/ 0 h 54"/>
                    <a:gd name="T4" fmla="*/ 0 w 64"/>
                    <a:gd name="T5" fmla="*/ 49 h 54"/>
                    <a:gd name="T6" fmla="*/ 0 w 64"/>
                    <a:gd name="T7" fmla="*/ 54 h 54"/>
                    <a:gd name="T8" fmla="*/ 11 w 64"/>
                    <a:gd name="T9" fmla="*/ 54 h 54"/>
                    <a:gd name="T10" fmla="*/ 64 w 64"/>
                    <a:gd name="T11" fmla="*/ 8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4" h="54">
                      <a:moveTo>
                        <a:pt x="64" y="8"/>
                      </a:moveTo>
                      <a:cubicBezTo>
                        <a:pt x="62" y="5"/>
                        <a:pt x="59" y="2"/>
                        <a:pt x="57" y="0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1" y="54"/>
                        <a:pt x="11" y="54"/>
                        <a:pt x="11" y="54"/>
                      </a:cubicBezTo>
                      <a:lnTo>
                        <a:pt x="64" y="8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Freeform 105"/>
                <p:cNvSpPr>
                  <a:spLocks/>
                </p:cNvSpPr>
                <p:nvPr/>
              </p:nvSpPr>
              <p:spPr bwMode="auto">
                <a:xfrm>
                  <a:off x="6881692" y="5127357"/>
                  <a:ext cx="166753" cy="281720"/>
                </a:xfrm>
                <a:custGeom>
                  <a:avLst/>
                  <a:gdLst>
                    <a:gd name="T0" fmla="*/ 81 w 81"/>
                    <a:gd name="T1" fmla="*/ 83 h 137"/>
                    <a:gd name="T2" fmla="*/ 81 w 81"/>
                    <a:gd name="T3" fmla="*/ 0 h 137"/>
                    <a:gd name="T4" fmla="*/ 0 w 81"/>
                    <a:gd name="T5" fmla="*/ 85 h 137"/>
                    <a:gd name="T6" fmla="*/ 18 w 81"/>
                    <a:gd name="T7" fmla="*/ 137 h 137"/>
                    <a:gd name="T8" fmla="*/ 81 w 81"/>
                    <a:gd name="T9" fmla="*/ 83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" h="137">
                      <a:moveTo>
                        <a:pt x="81" y="83"/>
                      </a:moveTo>
                      <a:cubicBezTo>
                        <a:pt x="81" y="0"/>
                        <a:pt x="81" y="0"/>
                        <a:pt x="81" y="0"/>
                      </a:cubicBezTo>
                      <a:cubicBezTo>
                        <a:pt x="36" y="3"/>
                        <a:pt x="0" y="39"/>
                        <a:pt x="0" y="85"/>
                      </a:cubicBezTo>
                      <a:cubicBezTo>
                        <a:pt x="0" y="105"/>
                        <a:pt x="7" y="123"/>
                        <a:pt x="18" y="137"/>
                      </a:cubicBezTo>
                      <a:lnTo>
                        <a:pt x="81" y="83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Freeform 106"/>
                <p:cNvSpPr>
                  <a:spLocks/>
                </p:cNvSpPr>
                <p:nvPr/>
              </p:nvSpPr>
              <p:spPr bwMode="auto">
                <a:xfrm>
                  <a:off x="6929336" y="5310682"/>
                  <a:ext cx="300363" cy="165717"/>
                </a:xfrm>
                <a:custGeom>
                  <a:avLst/>
                  <a:gdLst>
                    <a:gd name="T0" fmla="*/ 63 w 146"/>
                    <a:gd name="T1" fmla="*/ 0 h 81"/>
                    <a:gd name="T2" fmla="*/ 0 w 146"/>
                    <a:gd name="T3" fmla="*/ 54 h 81"/>
                    <a:gd name="T4" fmla="*/ 62 w 146"/>
                    <a:gd name="T5" fmla="*/ 81 h 81"/>
                    <a:gd name="T6" fmla="*/ 146 w 146"/>
                    <a:gd name="T7" fmla="*/ 0 h 81"/>
                    <a:gd name="T8" fmla="*/ 63 w 146"/>
                    <a:gd name="T9" fmla="*/ 0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6" h="81">
                      <a:moveTo>
                        <a:pt x="63" y="0"/>
                      </a:move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6" y="70"/>
                        <a:pt x="37" y="81"/>
                        <a:pt x="62" y="81"/>
                      </a:cubicBezTo>
                      <a:cubicBezTo>
                        <a:pt x="107" y="81"/>
                        <a:pt x="144" y="45"/>
                        <a:pt x="146" y="0"/>
                      </a:cubicBezTo>
                      <a:lnTo>
                        <a:pt x="63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268ECB09-0273-4864-A95B-789F0C22CBF2}"/>
                </a:ext>
              </a:extLst>
            </p:cNvPr>
            <p:cNvGrpSpPr/>
            <p:nvPr userDrawn="1"/>
          </p:nvGrpSpPr>
          <p:grpSpPr>
            <a:xfrm>
              <a:off x="4783997" y="366870"/>
              <a:ext cx="514249" cy="514249"/>
              <a:chOff x="1190555" y="2711381"/>
              <a:chExt cx="514249" cy="514249"/>
            </a:xfrm>
          </p:grpSpPr>
          <p:sp>
            <p:nvSpPr>
              <p:cNvPr id="40" name="Oval 33"/>
              <p:cNvSpPr>
                <a:spLocks noChangeArrowheads="1"/>
              </p:cNvSpPr>
              <p:nvPr/>
            </p:nvSpPr>
            <p:spPr bwMode="auto">
              <a:xfrm>
                <a:off x="1190555" y="2711381"/>
                <a:ext cx="514249" cy="51424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41" name="Oval 33"/>
              <p:cNvSpPr>
                <a:spLocks noChangeArrowheads="1"/>
              </p:cNvSpPr>
              <p:nvPr/>
            </p:nvSpPr>
            <p:spPr bwMode="auto">
              <a:xfrm>
                <a:off x="1224093" y="2744919"/>
                <a:ext cx="447173" cy="447173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72" name="组合 71"/>
              <p:cNvGrpSpPr/>
              <p:nvPr/>
            </p:nvGrpSpPr>
            <p:grpSpPr>
              <a:xfrm>
                <a:off x="1300167" y="2844438"/>
                <a:ext cx="268305" cy="268305"/>
                <a:chOff x="5526525" y="3190546"/>
                <a:chExt cx="364578" cy="339721"/>
              </a:xfrm>
            </p:grpSpPr>
            <p:sp>
              <p:nvSpPr>
                <p:cNvPr id="73" name="Freeform 143"/>
                <p:cNvSpPr>
                  <a:spLocks/>
                </p:cNvSpPr>
                <p:nvPr/>
              </p:nvSpPr>
              <p:spPr bwMode="auto">
                <a:xfrm>
                  <a:off x="5574169" y="3252690"/>
                  <a:ext cx="90109" cy="90109"/>
                </a:xfrm>
                <a:custGeom>
                  <a:avLst/>
                  <a:gdLst>
                    <a:gd name="T0" fmla="*/ 0 w 44"/>
                    <a:gd name="T1" fmla="*/ 22 h 44"/>
                    <a:gd name="T2" fmla="*/ 22 w 44"/>
                    <a:gd name="T3" fmla="*/ 44 h 44"/>
                    <a:gd name="T4" fmla="*/ 44 w 44"/>
                    <a:gd name="T5" fmla="*/ 25 h 44"/>
                    <a:gd name="T6" fmla="*/ 19 w 44"/>
                    <a:gd name="T7" fmla="*/ 25 h 44"/>
                    <a:gd name="T8" fmla="*/ 19 w 44"/>
                    <a:gd name="T9" fmla="*/ 0 h 44"/>
                    <a:gd name="T10" fmla="*/ 0 w 44"/>
                    <a:gd name="T11" fmla="*/ 2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" h="44">
                      <a:moveTo>
                        <a:pt x="0" y="22"/>
                      </a:moveTo>
                      <a:cubicBezTo>
                        <a:pt x="0" y="34"/>
                        <a:pt x="10" y="44"/>
                        <a:pt x="22" y="44"/>
                      </a:cubicBezTo>
                      <a:cubicBezTo>
                        <a:pt x="33" y="44"/>
                        <a:pt x="43" y="36"/>
                        <a:pt x="44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8" y="2"/>
                        <a:pt x="0" y="11"/>
                        <a:pt x="0" y="2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" name="Freeform 144"/>
                <p:cNvSpPr>
                  <a:spLocks noEditPoints="1"/>
                </p:cNvSpPr>
                <p:nvPr/>
              </p:nvSpPr>
              <p:spPr bwMode="auto">
                <a:xfrm>
                  <a:off x="5619740" y="3252690"/>
                  <a:ext cx="44537" cy="44537"/>
                </a:xfrm>
                <a:custGeom>
                  <a:avLst/>
                  <a:gdLst>
                    <a:gd name="T0" fmla="*/ 0 w 22"/>
                    <a:gd name="T1" fmla="*/ 0 h 22"/>
                    <a:gd name="T2" fmla="*/ 0 w 22"/>
                    <a:gd name="T3" fmla="*/ 0 h 22"/>
                    <a:gd name="T4" fmla="*/ 0 w 22"/>
                    <a:gd name="T5" fmla="*/ 22 h 22"/>
                    <a:gd name="T6" fmla="*/ 22 w 22"/>
                    <a:gd name="T7" fmla="*/ 22 h 22"/>
                    <a:gd name="T8" fmla="*/ 0 w 22"/>
                    <a:gd name="T9" fmla="*/ 0 h 22"/>
                    <a:gd name="T10" fmla="*/ 2 w 22"/>
                    <a:gd name="T11" fmla="*/ 3 h 22"/>
                    <a:gd name="T12" fmla="*/ 19 w 22"/>
                    <a:gd name="T13" fmla="*/ 20 h 22"/>
                    <a:gd name="T14" fmla="*/ 2 w 22"/>
                    <a:gd name="T15" fmla="*/ 20 h 22"/>
                    <a:gd name="T16" fmla="*/ 2 w 22"/>
                    <a:gd name="T17" fmla="*/ 3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" h="22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22" y="22"/>
                        <a:pt x="22" y="22"/>
                        <a:pt x="22" y="22"/>
                      </a:cubicBezTo>
                      <a:cubicBezTo>
                        <a:pt x="22" y="10"/>
                        <a:pt x="12" y="0"/>
                        <a:pt x="0" y="0"/>
                      </a:cubicBezTo>
                      <a:close/>
                      <a:moveTo>
                        <a:pt x="2" y="3"/>
                      </a:moveTo>
                      <a:cubicBezTo>
                        <a:pt x="11" y="4"/>
                        <a:pt x="18" y="11"/>
                        <a:pt x="19" y="20"/>
                      </a:cubicBezTo>
                      <a:cubicBezTo>
                        <a:pt x="2" y="20"/>
                        <a:pt x="2" y="20"/>
                        <a:pt x="2" y="20"/>
                      </a:cubicBezTo>
                      <a:lnTo>
                        <a:pt x="2" y="3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" name="Freeform 145"/>
                <p:cNvSpPr>
                  <a:spLocks/>
                </p:cNvSpPr>
                <p:nvPr/>
              </p:nvSpPr>
              <p:spPr bwMode="auto">
                <a:xfrm>
                  <a:off x="5684991" y="3282726"/>
                  <a:ext cx="82859" cy="10358"/>
                </a:xfrm>
                <a:custGeom>
                  <a:avLst/>
                  <a:gdLst>
                    <a:gd name="T0" fmla="*/ 0 w 80"/>
                    <a:gd name="T1" fmla="*/ 6 h 10"/>
                    <a:gd name="T2" fmla="*/ 30 w 80"/>
                    <a:gd name="T3" fmla="*/ 10 h 10"/>
                    <a:gd name="T4" fmla="*/ 72 w 80"/>
                    <a:gd name="T5" fmla="*/ 10 h 10"/>
                    <a:gd name="T6" fmla="*/ 80 w 80"/>
                    <a:gd name="T7" fmla="*/ 0 h 10"/>
                    <a:gd name="T8" fmla="*/ 0 w 80"/>
                    <a:gd name="T9" fmla="*/ 0 h 10"/>
                    <a:gd name="T10" fmla="*/ 0 w 80"/>
                    <a:gd name="T11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" h="10">
                      <a:moveTo>
                        <a:pt x="0" y="6"/>
                      </a:moveTo>
                      <a:lnTo>
                        <a:pt x="30" y="10"/>
                      </a:lnTo>
                      <a:lnTo>
                        <a:pt x="72" y="10"/>
                      </a:lnTo>
                      <a:lnTo>
                        <a:pt x="80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6" name="Freeform 146"/>
                <p:cNvSpPr>
                  <a:spLocks/>
                </p:cNvSpPr>
                <p:nvPr/>
              </p:nvSpPr>
              <p:spPr bwMode="auto">
                <a:xfrm>
                  <a:off x="5684992" y="3262011"/>
                  <a:ext cx="108752" cy="10358"/>
                </a:xfrm>
                <a:custGeom>
                  <a:avLst/>
                  <a:gdLst>
                    <a:gd name="T0" fmla="*/ 0 w 53"/>
                    <a:gd name="T1" fmla="*/ 0 h 5"/>
                    <a:gd name="T2" fmla="*/ 0 w 53"/>
                    <a:gd name="T3" fmla="*/ 5 h 5"/>
                    <a:gd name="T4" fmla="*/ 53 w 53"/>
                    <a:gd name="T5" fmla="*/ 5 h 5"/>
                    <a:gd name="T6" fmla="*/ 50 w 53"/>
                    <a:gd name="T7" fmla="*/ 0 h 5"/>
                    <a:gd name="T8" fmla="*/ 0 w 53"/>
                    <a:gd name="T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5">
                      <a:moveTo>
                        <a:pt x="0" y="0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53" y="5"/>
                        <a:pt x="53" y="5"/>
                        <a:pt x="53" y="5"/>
                      </a:cubicBezTo>
                      <a:cubicBezTo>
                        <a:pt x="52" y="4"/>
                        <a:pt x="51" y="2"/>
                        <a:pt x="50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7" name="Freeform 147"/>
                <p:cNvSpPr>
                  <a:spLocks/>
                </p:cNvSpPr>
                <p:nvPr/>
              </p:nvSpPr>
              <p:spPr bwMode="auto">
                <a:xfrm>
                  <a:off x="5526525" y="3190546"/>
                  <a:ext cx="364578" cy="187468"/>
                </a:xfrm>
                <a:custGeom>
                  <a:avLst/>
                  <a:gdLst>
                    <a:gd name="T0" fmla="*/ 0 w 177"/>
                    <a:gd name="T1" fmla="*/ 0 h 91"/>
                    <a:gd name="T2" fmla="*/ 0 w 177"/>
                    <a:gd name="T3" fmla="*/ 20 h 91"/>
                    <a:gd name="T4" fmla="*/ 9 w 177"/>
                    <a:gd name="T5" fmla="*/ 20 h 91"/>
                    <a:gd name="T6" fmla="*/ 9 w 177"/>
                    <a:gd name="T7" fmla="*/ 91 h 91"/>
                    <a:gd name="T8" fmla="*/ 116 w 177"/>
                    <a:gd name="T9" fmla="*/ 91 h 91"/>
                    <a:gd name="T10" fmla="*/ 117 w 177"/>
                    <a:gd name="T11" fmla="*/ 85 h 91"/>
                    <a:gd name="T12" fmla="*/ 14 w 177"/>
                    <a:gd name="T13" fmla="*/ 85 h 91"/>
                    <a:gd name="T14" fmla="*/ 14 w 177"/>
                    <a:gd name="T15" fmla="*/ 20 h 91"/>
                    <a:gd name="T16" fmla="*/ 126 w 177"/>
                    <a:gd name="T17" fmla="*/ 20 h 91"/>
                    <a:gd name="T18" fmla="*/ 141 w 177"/>
                    <a:gd name="T19" fmla="*/ 8 h 91"/>
                    <a:gd name="T20" fmla="*/ 156 w 177"/>
                    <a:gd name="T21" fmla="*/ 20 h 91"/>
                    <a:gd name="T22" fmla="*/ 163 w 177"/>
                    <a:gd name="T23" fmla="*/ 20 h 91"/>
                    <a:gd name="T24" fmla="*/ 163 w 177"/>
                    <a:gd name="T25" fmla="*/ 42 h 91"/>
                    <a:gd name="T26" fmla="*/ 168 w 177"/>
                    <a:gd name="T27" fmla="*/ 48 h 91"/>
                    <a:gd name="T28" fmla="*/ 168 w 177"/>
                    <a:gd name="T29" fmla="*/ 20 h 91"/>
                    <a:gd name="T30" fmla="*/ 177 w 177"/>
                    <a:gd name="T31" fmla="*/ 20 h 91"/>
                    <a:gd name="T32" fmla="*/ 177 w 177"/>
                    <a:gd name="T33" fmla="*/ 0 h 91"/>
                    <a:gd name="T34" fmla="*/ 0 w 177"/>
                    <a:gd name="T35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77" h="91">
                      <a:moveTo>
                        <a:pt x="0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9" y="20"/>
                        <a:pt x="9" y="20"/>
                        <a:pt x="9" y="20"/>
                      </a:cubicBezTo>
                      <a:cubicBezTo>
                        <a:pt x="9" y="91"/>
                        <a:pt x="9" y="91"/>
                        <a:pt x="9" y="91"/>
                      </a:cubicBezTo>
                      <a:cubicBezTo>
                        <a:pt x="116" y="91"/>
                        <a:pt x="116" y="91"/>
                        <a:pt x="116" y="91"/>
                      </a:cubicBezTo>
                      <a:cubicBezTo>
                        <a:pt x="117" y="89"/>
                        <a:pt x="117" y="87"/>
                        <a:pt x="117" y="85"/>
                      </a:cubicBezTo>
                      <a:cubicBezTo>
                        <a:pt x="14" y="85"/>
                        <a:pt x="14" y="85"/>
                        <a:pt x="14" y="85"/>
                      </a:cubicBezTo>
                      <a:cubicBezTo>
                        <a:pt x="14" y="20"/>
                        <a:pt x="14" y="20"/>
                        <a:pt x="14" y="20"/>
                      </a:cubicBezTo>
                      <a:cubicBezTo>
                        <a:pt x="126" y="20"/>
                        <a:pt x="126" y="20"/>
                        <a:pt x="126" y="20"/>
                      </a:cubicBezTo>
                      <a:cubicBezTo>
                        <a:pt x="128" y="13"/>
                        <a:pt x="134" y="8"/>
                        <a:pt x="141" y="8"/>
                      </a:cubicBezTo>
                      <a:cubicBezTo>
                        <a:pt x="148" y="8"/>
                        <a:pt x="154" y="13"/>
                        <a:pt x="156" y="20"/>
                      </a:cubicBezTo>
                      <a:cubicBezTo>
                        <a:pt x="163" y="20"/>
                        <a:pt x="163" y="20"/>
                        <a:pt x="163" y="20"/>
                      </a:cubicBezTo>
                      <a:cubicBezTo>
                        <a:pt x="163" y="42"/>
                        <a:pt x="163" y="42"/>
                        <a:pt x="163" y="42"/>
                      </a:cubicBezTo>
                      <a:cubicBezTo>
                        <a:pt x="165" y="43"/>
                        <a:pt x="167" y="45"/>
                        <a:pt x="168" y="48"/>
                      </a:cubicBezTo>
                      <a:cubicBezTo>
                        <a:pt x="168" y="20"/>
                        <a:pt x="168" y="20"/>
                        <a:pt x="168" y="20"/>
                      </a:cubicBezTo>
                      <a:cubicBezTo>
                        <a:pt x="177" y="20"/>
                        <a:pt x="177" y="20"/>
                        <a:pt x="177" y="20"/>
                      </a:cubicBezTo>
                      <a:cubicBezTo>
                        <a:pt x="177" y="0"/>
                        <a:pt x="177" y="0"/>
                        <a:pt x="177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" name="Oval 148"/>
                <p:cNvSpPr>
                  <a:spLocks noChangeArrowheads="1"/>
                </p:cNvSpPr>
                <p:nvPr/>
              </p:nvSpPr>
              <p:spPr bwMode="auto">
                <a:xfrm>
                  <a:off x="5791673" y="3215404"/>
                  <a:ext cx="49715" cy="59037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9" name="Freeform 149"/>
                <p:cNvSpPr>
                  <a:spLocks/>
                </p:cNvSpPr>
                <p:nvPr/>
              </p:nvSpPr>
              <p:spPr bwMode="auto">
                <a:xfrm>
                  <a:off x="5687063" y="3278583"/>
                  <a:ext cx="187468" cy="251684"/>
                </a:xfrm>
                <a:custGeom>
                  <a:avLst/>
                  <a:gdLst>
                    <a:gd name="T0" fmla="*/ 80 w 91"/>
                    <a:gd name="T1" fmla="*/ 2 h 122"/>
                    <a:gd name="T2" fmla="*/ 79 w 91"/>
                    <a:gd name="T3" fmla="*/ 2 h 122"/>
                    <a:gd name="T4" fmla="*/ 79 w 91"/>
                    <a:gd name="T5" fmla="*/ 2 h 122"/>
                    <a:gd name="T6" fmla="*/ 73 w 91"/>
                    <a:gd name="T7" fmla="*/ 1 h 122"/>
                    <a:gd name="T8" fmla="*/ 73 w 91"/>
                    <a:gd name="T9" fmla="*/ 2 h 122"/>
                    <a:gd name="T10" fmla="*/ 78 w 91"/>
                    <a:gd name="T11" fmla="*/ 6 h 122"/>
                    <a:gd name="T12" fmla="*/ 72 w 91"/>
                    <a:gd name="T13" fmla="*/ 9 h 122"/>
                    <a:gd name="T14" fmla="*/ 75 w 91"/>
                    <a:gd name="T15" fmla="*/ 14 h 122"/>
                    <a:gd name="T16" fmla="*/ 67 w 91"/>
                    <a:gd name="T17" fmla="*/ 31 h 122"/>
                    <a:gd name="T18" fmla="*/ 66 w 91"/>
                    <a:gd name="T19" fmla="*/ 7 h 122"/>
                    <a:gd name="T20" fmla="*/ 67 w 91"/>
                    <a:gd name="T21" fmla="*/ 6 h 122"/>
                    <a:gd name="T22" fmla="*/ 65 w 91"/>
                    <a:gd name="T23" fmla="*/ 0 h 122"/>
                    <a:gd name="T24" fmla="*/ 61 w 91"/>
                    <a:gd name="T25" fmla="*/ 0 h 122"/>
                    <a:gd name="T26" fmla="*/ 59 w 91"/>
                    <a:gd name="T27" fmla="*/ 6 h 122"/>
                    <a:gd name="T28" fmla="*/ 60 w 91"/>
                    <a:gd name="T29" fmla="*/ 7 h 122"/>
                    <a:gd name="T30" fmla="*/ 59 w 91"/>
                    <a:gd name="T31" fmla="*/ 31 h 122"/>
                    <a:gd name="T32" fmla="*/ 51 w 91"/>
                    <a:gd name="T33" fmla="*/ 14 h 122"/>
                    <a:gd name="T34" fmla="*/ 54 w 91"/>
                    <a:gd name="T35" fmla="*/ 9 h 122"/>
                    <a:gd name="T36" fmla="*/ 48 w 91"/>
                    <a:gd name="T37" fmla="*/ 6 h 122"/>
                    <a:gd name="T38" fmla="*/ 53 w 91"/>
                    <a:gd name="T39" fmla="*/ 2 h 122"/>
                    <a:gd name="T40" fmla="*/ 53 w 91"/>
                    <a:gd name="T41" fmla="*/ 1 h 122"/>
                    <a:gd name="T42" fmla="*/ 49 w 91"/>
                    <a:gd name="T43" fmla="*/ 2 h 122"/>
                    <a:gd name="T44" fmla="*/ 47 w 91"/>
                    <a:gd name="T45" fmla="*/ 2 h 122"/>
                    <a:gd name="T46" fmla="*/ 47 w 91"/>
                    <a:gd name="T47" fmla="*/ 2 h 122"/>
                    <a:gd name="T48" fmla="*/ 46 w 91"/>
                    <a:gd name="T49" fmla="*/ 2 h 122"/>
                    <a:gd name="T50" fmla="*/ 44 w 91"/>
                    <a:gd name="T51" fmla="*/ 4 h 122"/>
                    <a:gd name="T52" fmla="*/ 34 w 91"/>
                    <a:gd name="T53" fmla="*/ 13 h 122"/>
                    <a:gd name="T54" fmla="*/ 34 w 91"/>
                    <a:gd name="T55" fmla="*/ 14 h 122"/>
                    <a:gd name="T56" fmla="*/ 29 w 91"/>
                    <a:gd name="T57" fmla="*/ 13 h 122"/>
                    <a:gd name="T58" fmla="*/ 2 w 91"/>
                    <a:gd name="T59" fmla="*/ 9 h 122"/>
                    <a:gd name="T60" fmla="*/ 0 w 91"/>
                    <a:gd name="T61" fmla="*/ 26 h 122"/>
                    <a:gd name="T62" fmla="*/ 27 w 91"/>
                    <a:gd name="T63" fmla="*/ 28 h 122"/>
                    <a:gd name="T64" fmla="*/ 34 w 91"/>
                    <a:gd name="T65" fmla="*/ 29 h 122"/>
                    <a:gd name="T66" fmla="*/ 35 w 91"/>
                    <a:gd name="T67" fmla="*/ 29 h 122"/>
                    <a:gd name="T68" fmla="*/ 36 w 91"/>
                    <a:gd name="T69" fmla="*/ 29 h 122"/>
                    <a:gd name="T70" fmla="*/ 43 w 91"/>
                    <a:gd name="T71" fmla="*/ 26 h 122"/>
                    <a:gd name="T72" fmla="*/ 43 w 91"/>
                    <a:gd name="T73" fmla="*/ 25 h 122"/>
                    <a:gd name="T74" fmla="*/ 42 w 91"/>
                    <a:gd name="T75" fmla="*/ 65 h 122"/>
                    <a:gd name="T76" fmla="*/ 42 w 91"/>
                    <a:gd name="T77" fmla="*/ 65 h 122"/>
                    <a:gd name="T78" fmla="*/ 44 w 91"/>
                    <a:gd name="T79" fmla="*/ 65 h 122"/>
                    <a:gd name="T80" fmla="*/ 46 w 91"/>
                    <a:gd name="T81" fmla="*/ 122 h 122"/>
                    <a:gd name="T82" fmla="*/ 62 w 91"/>
                    <a:gd name="T83" fmla="*/ 122 h 122"/>
                    <a:gd name="T84" fmla="*/ 62 w 91"/>
                    <a:gd name="T85" fmla="*/ 65 h 122"/>
                    <a:gd name="T86" fmla="*/ 64 w 91"/>
                    <a:gd name="T87" fmla="*/ 65 h 122"/>
                    <a:gd name="T88" fmla="*/ 66 w 91"/>
                    <a:gd name="T89" fmla="*/ 122 h 122"/>
                    <a:gd name="T90" fmla="*/ 82 w 91"/>
                    <a:gd name="T91" fmla="*/ 122 h 122"/>
                    <a:gd name="T92" fmla="*/ 82 w 91"/>
                    <a:gd name="T93" fmla="*/ 65 h 122"/>
                    <a:gd name="T94" fmla="*/ 84 w 91"/>
                    <a:gd name="T95" fmla="*/ 65 h 122"/>
                    <a:gd name="T96" fmla="*/ 84 w 91"/>
                    <a:gd name="T97" fmla="*/ 65 h 122"/>
                    <a:gd name="T98" fmla="*/ 91 w 91"/>
                    <a:gd name="T99" fmla="*/ 64 h 122"/>
                    <a:gd name="T100" fmla="*/ 87 w 91"/>
                    <a:gd name="T101" fmla="*/ 9 h 122"/>
                    <a:gd name="T102" fmla="*/ 80 w 91"/>
                    <a:gd name="T103" fmla="*/ 2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91" h="122">
                      <a:moveTo>
                        <a:pt x="80" y="2"/>
                      </a:moveTo>
                      <a:cubicBezTo>
                        <a:pt x="79" y="2"/>
                        <a:pt x="79" y="2"/>
                        <a:pt x="79" y="2"/>
                      </a:cubicBezTo>
                      <a:cubicBezTo>
                        <a:pt x="79" y="2"/>
                        <a:pt x="79" y="2"/>
                        <a:pt x="79" y="2"/>
                      </a:cubicBezTo>
                      <a:cubicBezTo>
                        <a:pt x="77" y="2"/>
                        <a:pt x="75" y="2"/>
                        <a:pt x="73" y="1"/>
                      </a:cubicBezTo>
                      <a:cubicBezTo>
                        <a:pt x="73" y="2"/>
                        <a:pt x="73" y="2"/>
                        <a:pt x="73" y="2"/>
                      </a:cubicBezTo>
                      <a:cubicBezTo>
                        <a:pt x="78" y="6"/>
                        <a:pt x="78" y="6"/>
                        <a:pt x="78" y="6"/>
                      </a:cubicBezTo>
                      <a:cubicBezTo>
                        <a:pt x="72" y="9"/>
                        <a:pt x="72" y="9"/>
                        <a:pt x="72" y="9"/>
                      </a:cubicBezTo>
                      <a:cubicBezTo>
                        <a:pt x="75" y="14"/>
                        <a:pt x="75" y="14"/>
                        <a:pt x="75" y="14"/>
                      </a:cubicBezTo>
                      <a:cubicBezTo>
                        <a:pt x="67" y="31"/>
                        <a:pt x="67" y="31"/>
                        <a:pt x="67" y="31"/>
                      </a:cubicBezTo>
                      <a:cubicBezTo>
                        <a:pt x="66" y="7"/>
                        <a:pt x="66" y="7"/>
                        <a:pt x="66" y="7"/>
                      </a:cubicBezTo>
                      <a:cubicBezTo>
                        <a:pt x="67" y="6"/>
                        <a:pt x="67" y="6"/>
                        <a:pt x="67" y="6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59" y="6"/>
                        <a:pt x="59" y="6"/>
                        <a:pt x="59" y="6"/>
                      </a:cubicBezTo>
                      <a:cubicBezTo>
                        <a:pt x="60" y="7"/>
                        <a:pt x="60" y="7"/>
                        <a:pt x="60" y="7"/>
                      </a:cubicBezTo>
                      <a:cubicBezTo>
                        <a:pt x="59" y="31"/>
                        <a:pt x="59" y="31"/>
                        <a:pt x="59" y="31"/>
                      </a:cubicBezTo>
                      <a:cubicBezTo>
                        <a:pt x="51" y="14"/>
                        <a:pt x="51" y="14"/>
                        <a:pt x="51" y="14"/>
                      </a:cubicBezTo>
                      <a:cubicBezTo>
                        <a:pt x="54" y="9"/>
                        <a:pt x="54" y="9"/>
                        <a:pt x="54" y="9"/>
                      </a:cubicBezTo>
                      <a:cubicBezTo>
                        <a:pt x="48" y="6"/>
                        <a:pt x="48" y="6"/>
                        <a:pt x="48" y="6"/>
                      </a:cubicBezTo>
                      <a:cubicBezTo>
                        <a:pt x="53" y="2"/>
                        <a:pt x="53" y="2"/>
                        <a:pt x="53" y="2"/>
                      </a:cubicBezTo>
                      <a:cubicBezTo>
                        <a:pt x="53" y="1"/>
                        <a:pt x="53" y="1"/>
                        <a:pt x="53" y="1"/>
                      </a:cubicBezTo>
                      <a:cubicBezTo>
                        <a:pt x="52" y="2"/>
                        <a:pt x="50" y="2"/>
                        <a:pt x="49" y="2"/>
                      </a:cubicBezTo>
                      <a:cubicBezTo>
                        <a:pt x="48" y="2"/>
                        <a:pt x="48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6" y="2"/>
                      </a:cubicBezTo>
                      <a:cubicBezTo>
                        <a:pt x="45" y="3"/>
                        <a:pt x="45" y="3"/>
                        <a:pt x="44" y="4"/>
                      </a:cubicBezTo>
                      <a:cubicBezTo>
                        <a:pt x="34" y="13"/>
                        <a:pt x="34" y="13"/>
                        <a:pt x="34" y="13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2" y="9"/>
                        <a:pt x="2" y="9"/>
                        <a:pt x="2" y="9"/>
                      </a:cubicBezTo>
                      <a:cubicBezTo>
                        <a:pt x="2" y="14"/>
                        <a:pt x="1" y="20"/>
                        <a:pt x="0" y="26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34" y="29"/>
                        <a:pt x="34" y="29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6" y="29"/>
                        <a:pt x="36" y="29"/>
                        <a:pt x="36" y="29"/>
                      </a:cubicBezTo>
                      <a:cubicBezTo>
                        <a:pt x="36" y="28"/>
                        <a:pt x="43" y="26"/>
                        <a:pt x="43" y="26"/>
                      </a:cubicBezTo>
                      <a:cubicBezTo>
                        <a:pt x="43" y="25"/>
                        <a:pt x="43" y="25"/>
                        <a:pt x="43" y="25"/>
                      </a:cubicBezTo>
                      <a:cubicBezTo>
                        <a:pt x="43" y="38"/>
                        <a:pt x="43" y="51"/>
                        <a:pt x="42" y="65"/>
                      </a:cubicBezTo>
                      <a:cubicBezTo>
                        <a:pt x="42" y="65"/>
                        <a:pt x="42" y="65"/>
                        <a:pt x="42" y="65"/>
                      </a:cubicBezTo>
                      <a:cubicBezTo>
                        <a:pt x="43" y="65"/>
                        <a:pt x="44" y="65"/>
                        <a:pt x="44" y="65"/>
                      </a:cubicBezTo>
                      <a:cubicBezTo>
                        <a:pt x="46" y="122"/>
                        <a:pt x="46" y="122"/>
                        <a:pt x="46" y="122"/>
                      </a:cubicBezTo>
                      <a:cubicBezTo>
                        <a:pt x="62" y="122"/>
                        <a:pt x="62" y="122"/>
                        <a:pt x="62" y="122"/>
                      </a:cubicBezTo>
                      <a:cubicBezTo>
                        <a:pt x="63" y="105"/>
                        <a:pt x="62" y="76"/>
                        <a:pt x="62" y="65"/>
                      </a:cubicBezTo>
                      <a:cubicBezTo>
                        <a:pt x="63" y="65"/>
                        <a:pt x="63" y="65"/>
                        <a:pt x="64" y="65"/>
                      </a:cubicBezTo>
                      <a:cubicBezTo>
                        <a:pt x="66" y="122"/>
                        <a:pt x="66" y="122"/>
                        <a:pt x="66" y="122"/>
                      </a:cubicBezTo>
                      <a:cubicBezTo>
                        <a:pt x="82" y="122"/>
                        <a:pt x="82" y="122"/>
                        <a:pt x="82" y="122"/>
                      </a:cubicBezTo>
                      <a:cubicBezTo>
                        <a:pt x="82" y="105"/>
                        <a:pt x="82" y="76"/>
                        <a:pt x="82" y="65"/>
                      </a:cubicBezTo>
                      <a:cubicBezTo>
                        <a:pt x="82" y="65"/>
                        <a:pt x="83" y="65"/>
                        <a:pt x="84" y="65"/>
                      </a:cubicBezTo>
                      <a:cubicBezTo>
                        <a:pt x="84" y="65"/>
                        <a:pt x="84" y="65"/>
                        <a:pt x="84" y="65"/>
                      </a:cubicBezTo>
                      <a:cubicBezTo>
                        <a:pt x="86" y="65"/>
                        <a:pt x="89" y="64"/>
                        <a:pt x="91" y="64"/>
                      </a:cubicBezTo>
                      <a:cubicBezTo>
                        <a:pt x="87" y="9"/>
                        <a:pt x="87" y="9"/>
                        <a:pt x="87" y="9"/>
                      </a:cubicBezTo>
                      <a:cubicBezTo>
                        <a:pt x="86" y="5"/>
                        <a:pt x="83" y="2"/>
                        <a:pt x="80" y="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80" name="组合 79"/>
            <p:cNvGrpSpPr/>
            <p:nvPr userDrawn="1"/>
          </p:nvGrpSpPr>
          <p:grpSpPr>
            <a:xfrm>
              <a:off x="8381593" y="366870"/>
              <a:ext cx="514249" cy="514249"/>
              <a:chOff x="7065459" y="4699865"/>
              <a:chExt cx="828000" cy="828000"/>
            </a:xfrm>
          </p:grpSpPr>
          <p:sp>
            <p:nvSpPr>
              <p:cNvPr id="81" name="Oval 33"/>
              <p:cNvSpPr>
                <a:spLocks noChangeArrowheads="1"/>
              </p:cNvSpPr>
              <p:nvPr/>
            </p:nvSpPr>
            <p:spPr bwMode="auto">
              <a:xfrm>
                <a:off x="7065459" y="4699865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82" name="Oval 33"/>
              <p:cNvSpPr>
                <a:spLocks noChangeArrowheads="1"/>
              </p:cNvSpPr>
              <p:nvPr/>
            </p:nvSpPr>
            <p:spPr bwMode="auto">
              <a:xfrm>
                <a:off x="7119459" y="4753865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83" name="组合 82"/>
              <p:cNvGrpSpPr/>
              <p:nvPr/>
            </p:nvGrpSpPr>
            <p:grpSpPr>
              <a:xfrm>
                <a:off x="7299459" y="4897865"/>
                <a:ext cx="360000" cy="432000"/>
                <a:chOff x="6098443" y="4495115"/>
                <a:chExt cx="378388" cy="476437"/>
              </a:xfrm>
            </p:grpSpPr>
            <p:sp>
              <p:nvSpPr>
                <p:cNvPr id="84" name="Freeform 66"/>
                <p:cNvSpPr>
                  <a:spLocks noEditPoints="1"/>
                </p:cNvSpPr>
                <p:nvPr/>
              </p:nvSpPr>
              <p:spPr bwMode="auto">
                <a:xfrm>
                  <a:off x="6098443" y="4495115"/>
                  <a:ext cx="378388" cy="476437"/>
                </a:xfrm>
                <a:custGeom>
                  <a:avLst/>
                  <a:gdLst>
                    <a:gd name="T0" fmla="*/ 0 w 138"/>
                    <a:gd name="T1" fmla="*/ 69 h 174"/>
                    <a:gd name="T2" fmla="*/ 138 w 138"/>
                    <a:gd name="T3" fmla="*/ 69 h 174"/>
                    <a:gd name="T4" fmla="*/ 114 w 138"/>
                    <a:gd name="T5" fmla="*/ 81 h 174"/>
                    <a:gd name="T6" fmla="*/ 110 w 138"/>
                    <a:gd name="T7" fmla="*/ 89 h 174"/>
                    <a:gd name="T8" fmla="*/ 101 w 138"/>
                    <a:gd name="T9" fmla="*/ 89 h 174"/>
                    <a:gd name="T10" fmla="*/ 101 w 138"/>
                    <a:gd name="T11" fmla="*/ 101 h 174"/>
                    <a:gd name="T12" fmla="*/ 94 w 138"/>
                    <a:gd name="T13" fmla="*/ 107 h 174"/>
                    <a:gd name="T14" fmla="*/ 85 w 138"/>
                    <a:gd name="T15" fmla="*/ 102 h 174"/>
                    <a:gd name="T16" fmla="*/ 79 w 138"/>
                    <a:gd name="T17" fmla="*/ 112 h 174"/>
                    <a:gd name="T18" fmla="*/ 70 w 138"/>
                    <a:gd name="T19" fmla="*/ 114 h 174"/>
                    <a:gd name="T20" fmla="*/ 65 w 138"/>
                    <a:gd name="T21" fmla="*/ 105 h 174"/>
                    <a:gd name="T22" fmla="*/ 55 w 138"/>
                    <a:gd name="T23" fmla="*/ 111 h 174"/>
                    <a:gd name="T24" fmla="*/ 47 w 138"/>
                    <a:gd name="T25" fmla="*/ 108 h 174"/>
                    <a:gd name="T26" fmla="*/ 47 w 138"/>
                    <a:gd name="T27" fmla="*/ 98 h 174"/>
                    <a:gd name="T28" fmla="*/ 35 w 138"/>
                    <a:gd name="T29" fmla="*/ 98 h 174"/>
                    <a:gd name="T30" fmla="*/ 29 w 138"/>
                    <a:gd name="T31" fmla="*/ 91 h 174"/>
                    <a:gd name="T32" fmla="*/ 34 w 138"/>
                    <a:gd name="T33" fmla="*/ 83 h 174"/>
                    <a:gd name="T34" fmla="*/ 24 w 138"/>
                    <a:gd name="T35" fmla="*/ 77 h 174"/>
                    <a:gd name="T36" fmla="*/ 23 w 138"/>
                    <a:gd name="T37" fmla="*/ 68 h 174"/>
                    <a:gd name="T38" fmla="*/ 31 w 138"/>
                    <a:gd name="T39" fmla="*/ 63 h 174"/>
                    <a:gd name="T40" fmla="*/ 25 w 138"/>
                    <a:gd name="T41" fmla="*/ 53 h 174"/>
                    <a:gd name="T42" fmla="*/ 28 w 138"/>
                    <a:gd name="T43" fmla="*/ 45 h 174"/>
                    <a:gd name="T44" fmla="*/ 38 w 138"/>
                    <a:gd name="T45" fmla="*/ 44 h 174"/>
                    <a:gd name="T46" fmla="*/ 38 w 138"/>
                    <a:gd name="T47" fmla="*/ 32 h 174"/>
                    <a:gd name="T48" fmla="*/ 45 w 138"/>
                    <a:gd name="T49" fmla="*/ 27 h 174"/>
                    <a:gd name="T50" fmla="*/ 54 w 138"/>
                    <a:gd name="T51" fmla="*/ 32 h 174"/>
                    <a:gd name="T52" fmla="*/ 59 w 138"/>
                    <a:gd name="T53" fmla="*/ 21 h 174"/>
                    <a:gd name="T54" fmla="*/ 68 w 138"/>
                    <a:gd name="T55" fmla="*/ 20 h 174"/>
                    <a:gd name="T56" fmla="*/ 73 w 138"/>
                    <a:gd name="T57" fmla="*/ 29 h 174"/>
                    <a:gd name="T58" fmla="*/ 83 w 138"/>
                    <a:gd name="T59" fmla="*/ 22 h 174"/>
                    <a:gd name="T60" fmla="*/ 92 w 138"/>
                    <a:gd name="T61" fmla="*/ 26 h 174"/>
                    <a:gd name="T62" fmla="*/ 92 w 138"/>
                    <a:gd name="T63" fmla="*/ 36 h 174"/>
                    <a:gd name="T64" fmla="*/ 104 w 138"/>
                    <a:gd name="T65" fmla="*/ 35 h 174"/>
                    <a:gd name="T66" fmla="*/ 109 w 138"/>
                    <a:gd name="T67" fmla="*/ 43 h 174"/>
                    <a:gd name="T68" fmla="*/ 105 w 138"/>
                    <a:gd name="T69" fmla="*/ 51 h 174"/>
                    <a:gd name="T70" fmla="*/ 115 w 138"/>
                    <a:gd name="T71" fmla="*/ 57 h 174"/>
                    <a:gd name="T72" fmla="*/ 116 w 138"/>
                    <a:gd name="T73" fmla="*/ 66 h 174"/>
                    <a:gd name="T74" fmla="*/ 108 w 138"/>
                    <a:gd name="T75" fmla="*/ 71 h 174"/>
                    <a:gd name="T76" fmla="*/ 114 w 138"/>
                    <a:gd name="T77" fmla="*/ 81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38" h="174">
                      <a:moveTo>
                        <a:pt x="69" y="0"/>
                      </a:moveTo>
                      <a:cubicBezTo>
                        <a:pt x="31" y="0"/>
                        <a:pt x="0" y="31"/>
                        <a:pt x="0" y="69"/>
                      </a:cubicBezTo>
                      <a:cubicBezTo>
                        <a:pt x="0" y="107"/>
                        <a:pt x="69" y="174"/>
                        <a:pt x="69" y="174"/>
                      </a:cubicBezTo>
                      <a:cubicBezTo>
                        <a:pt x="69" y="174"/>
                        <a:pt x="138" y="107"/>
                        <a:pt x="138" y="69"/>
                      </a:cubicBezTo>
                      <a:cubicBezTo>
                        <a:pt x="138" y="31"/>
                        <a:pt x="107" y="0"/>
                        <a:pt x="69" y="0"/>
                      </a:cubicBezTo>
                      <a:close/>
                      <a:moveTo>
                        <a:pt x="114" y="81"/>
                      </a:moveTo>
                      <a:cubicBezTo>
                        <a:pt x="113" y="83"/>
                        <a:pt x="113" y="83"/>
                        <a:pt x="113" y="83"/>
                      </a:cubicBezTo>
                      <a:cubicBezTo>
                        <a:pt x="110" y="89"/>
                        <a:pt x="110" y="89"/>
                        <a:pt x="110" y="89"/>
                      </a:cubicBezTo>
                      <a:cubicBezTo>
                        <a:pt x="109" y="92"/>
                        <a:pt x="109" y="92"/>
                        <a:pt x="109" y="92"/>
                      </a:cubicBezTo>
                      <a:cubicBezTo>
                        <a:pt x="101" y="89"/>
                        <a:pt x="101" y="89"/>
                        <a:pt x="101" y="89"/>
                      </a:cubicBezTo>
                      <a:cubicBezTo>
                        <a:pt x="99" y="91"/>
                        <a:pt x="98" y="93"/>
                        <a:pt x="97" y="94"/>
                      </a:cubicBezTo>
                      <a:cubicBezTo>
                        <a:pt x="101" y="101"/>
                        <a:pt x="101" y="101"/>
                        <a:pt x="101" y="101"/>
                      </a:cubicBezTo>
                      <a:cubicBezTo>
                        <a:pt x="99" y="103"/>
                        <a:pt x="99" y="103"/>
                        <a:pt x="99" y="103"/>
                      </a:cubicBezTo>
                      <a:cubicBezTo>
                        <a:pt x="94" y="107"/>
                        <a:pt x="94" y="107"/>
                        <a:pt x="94" y="107"/>
                      </a:cubicBezTo>
                      <a:cubicBezTo>
                        <a:pt x="92" y="108"/>
                        <a:pt x="92" y="108"/>
                        <a:pt x="92" y="108"/>
                      </a:cubicBezTo>
                      <a:cubicBezTo>
                        <a:pt x="85" y="102"/>
                        <a:pt x="85" y="102"/>
                        <a:pt x="85" y="102"/>
                      </a:cubicBezTo>
                      <a:cubicBezTo>
                        <a:pt x="83" y="103"/>
                        <a:pt x="81" y="103"/>
                        <a:pt x="79" y="104"/>
                      </a:cubicBezTo>
                      <a:cubicBezTo>
                        <a:pt x="79" y="112"/>
                        <a:pt x="79" y="112"/>
                        <a:pt x="79" y="112"/>
                      </a:cubicBezTo>
                      <a:cubicBezTo>
                        <a:pt x="77" y="113"/>
                        <a:pt x="77" y="113"/>
                        <a:pt x="77" y="113"/>
                      </a:cubicBezTo>
                      <a:cubicBezTo>
                        <a:pt x="70" y="114"/>
                        <a:pt x="70" y="114"/>
                        <a:pt x="70" y="114"/>
                      </a:cubicBezTo>
                      <a:cubicBezTo>
                        <a:pt x="68" y="114"/>
                        <a:pt x="68" y="114"/>
                        <a:pt x="68" y="114"/>
                      </a:cubicBezTo>
                      <a:cubicBezTo>
                        <a:pt x="65" y="105"/>
                        <a:pt x="65" y="105"/>
                        <a:pt x="65" y="105"/>
                      </a:cubicBezTo>
                      <a:cubicBezTo>
                        <a:pt x="63" y="105"/>
                        <a:pt x="61" y="105"/>
                        <a:pt x="60" y="104"/>
                      </a:cubicBezTo>
                      <a:cubicBezTo>
                        <a:pt x="55" y="111"/>
                        <a:pt x="55" y="111"/>
                        <a:pt x="55" y="111"/>
                      </a:cubicBezTo>
                      <a:cubicBezTo>
                        <a:pt x="53" y="110"/>
                        <a:pt x="53" y="110"/>
                        <a:pt x="53" y="110"/>
                      </a:cubicBezTo>
                      <a:cubicBezTo>
                        <a:pt x="47" y="108"/>
                        <a:pt x="47" y="108"/>
                        <a:pt x="47" y="108"/>
                      </a:cubicBezTo>
                      <a:cubicBezTo>
                        <a:pt x="45" y="107"/>
                        <a:pt x="45" y="107"/>
                        <a:pt x="45" y="107"/>
                      </a:cubicBezTo>
                      <a:cubicBezTo>
                        <a:pt x="47" y="98"/>
                        <a:pt x="47" y="98"/>
                        <a:pt x="47" y="98"/>
                      </a:cubicBezTo>
                      <a:cubicBezTo>
                        <a:pt x="45" y="97"/>
                        <a:pt x="44" y="96"/>
                        <a:pt x="42" y="94"/>
                      </a:cubicBezTo>
                      <a:cubicBezTo>
                        <a:pt x="35" y="98"/>
                        <a:pt x="35" y="98"/>
                        <a:pt x="35" y="98"/>
                      </a:cubicBezTo>
                      <a:cubicBezTo>
                        <a:pt x="33" y="96"/>
                        <a:pt x="33" y="96"/>
                        <a:pt x="33" y="96"/>
                      </a:cubicBezTo>
                      <a:cubicBezTo>
                        <a:pt x="29" y="91"/>
                        <a:pt x="29" y="91"/>
                        <a:pt x="29" y="91"/>
                      </a:cubicBezTo>
                      <a:cubicBezTo>
                        <a:pt x="28" y="89"/>
                        <a:pt x="28" y="89"/>
                        <a:pt x="28" y="89"/>
                      </a:cubicBezTo>
                      <a:cubicBezTo>
                        <a:pt x="34" y="83"/>
                        <a:pt x="34" y="83"/>
                        <a:pt x="34" y="83"/>
                      </a:cubicBezTo>
                      <a:cubicBezTo>
                        <a:pt x="33" y="81"/>
                        <a:pt x="32" y="79"/>
                        <a:pt x="32" y="77"/>
                      </a:cubicBezTo>
                      <a:cubicBezTo>
                        <a:pt x="24" y="77"/>
                        <a:pt x="24" y="77"/>
                        <a:pt x="24" y="77"/>
                      </a:cubicBezTo>
                      <a:cubicBezTo>
                        <a:pt x="23" y="74"/>
                        <a:pt x="23" y="74"/>
                        <a:pt x="23" y="74"/>
                      </a:cubicBezTo>
                      <a:cubicBezTo>
                        <a:pt x="23" y="68"/>
                        <a:pt x="23" y="68"/>
                        <a:pt x="23" y="68"/>
                      </a:cubicBezTo>
                      <a:cubicBezTo>
                        <a:pt x="22" y="66"/>
                        <a:pt x="22" y="66"/>
                        <a:pt x="22" y="66"/>
                      </a:cubicBezTo>
                      <a:cubicBezTo>
                        <a:pt x="31" y="63"/>
                        <a:pt x="31" y="63"/>
                        <a:pt x="31" y="63"/>
                      </a:cubicBezTo>
                      <a:cubicBezTo>
                        <a:pt x="31" y="61"/>
                        <a:pt x="31" y="59"/>
                        <a:pt x="32" y="57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6" y="50"/>
                        <a:pt x="26" y="50"/>
                        <a:pt x="26" y="50"/>
                      </a:cubicBezTo>
                      <a:cubicBezTo>
                        <a:pt x="28" y="45"/>
                        <a:pt x="28" y="45"/>
                        <a:pt x="28" y="45"/>
                      </a:cubicBezTo>
                      <a:cubicBezTo>
                        <a:pt x="29" y="42"/>
                        <a:pt x="29" y="42"/>
                        <a:pt x="29" y="42"/>
                      </a:cubicBezTo>
                      <a:cubicBezTo>
                        <a:pt x="38" y="44"/>
                        <a:pt x="38" y="44"/>
                        <a:pt x="38" y="44"/>
                      </a:cubicBezTo>
                      <a:cubicBezTo>
                        <a:pt x="39" y="43"/>
                        <a:pt x="41" y="41"/>
                        <a:pt x="42" y="40"/>
                      </a:cubicBezTo>
                      <a:cubicBezTo>
                        <a:pt x="38" y="32"/>
                        <a:pt x="38" y="32"/>
                        <a:pt x="38" y="32"/>
                      </a:cubicBezTo>
                      <a:cubicBezTo>
                        <a:pt x="40" y="31"/>
                        <a:pt x="40" y="31"/>
                        <a:pt x="40" y="31"/>
                      </a:cubicBezTo>
                      <a:cubicBezTo>
                        <a:pt x="45" y="27"/>
                        <a:pt x="45" y="27"/>
                        <a:pt x="45" y="27"/>
                      </a:cubicBezTo>
                      <a:cubicBezTo>
                        <a:pt x="47" y="26"/>
                        <a:pt x="47" y="26"/>
                        <a:pt x="47" y="26"/>
                      </a:cubicBezTo>
                      <a:cubicBezTo>
                        <a:pt x="54" y="32"/>
                        <a:pt x="54" y="32"/>
                        <a:pt x="54" y="32"/>
                      </a:cubicBezTo>
                      <a:cubicBezTo>
                        <a:pt x="55" y="31"/>
                        <a:pt x="57" y="30"/>
                        <a:pt x="59" y="30"/>
                      </a:cubicBez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62" y="21"/>
                        <a:pt x="62" y="21"/>
                        <a:pt x="62" y="21"/>
                      </a:cubicBezTo>
                      <a:cubicBezTo>
                        <a:pt x="68" y="20"/>
                        <a:pt x="68" y="20"/>
                        <a:pt x="68" y="20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3" y="29"/>
                        <a:pt x="73" y="29"/>
                        <a:pt x="73" y="29"/>
                      </a:cubicBezTo>
                      <a:cubicBezTo>
                        <a:pt x="75" y="29"/>
                        <a:pt x="77" y="29"/>
                        <a:pt x="79" y="30"/>
                      </a:cubicBezTo>
                      <a:cubicBezTo>
                        <a:pt x="83" y="22"/>
                        <a:pt x="83" y="22"/>
                        <a:pt x="83" y="22"/>
                      </a:cubicBezTo>
                      <a:cubicBezTo>
                        <a:pt x="86" y="23"/>
                        <a:pt x="86" y="23"/>
                        <a:pt x="86" y="23"/>
                      </a:cubicBezTo>
                      <a:cubicBezTo>
                        <a:pt x="92" y="26"/>
                        <a:pt x="92" y="26"/>
                        <a:pt x="92" y="26"/>
                      </a:cubicBezTo>
                      <a:cubicBezTo>
                        <a:pt x="94" y="27"/>
                        <a:pt x="94" y="27"/>
                        <a:pt x="94" y="27"/>
                      </a:cubicBezTo>
                      <a:cubicBezTo>
                        <a:pt x="92" y="36"/>
                        <a:pt x="92" y="36"/>
                        <a:pt x="92" y="36"/>
                      </a:cubicBezTo>
                      <a:cubicBezTo>
                        <a:pt x="93" y="37"/>
                        <a:pt x="95" y="38"/>
                        <a:pt x="96" y="39"/>
                      </a:cubicBezTo>
                      <a:cubicBezTo>
                        <a:pt x="104" y="35"/>
                        <a:pt x="104" y="35"/>
                        <a:pt x="104" y="35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09" y="43"/>
                        <a:pt x="109" y="43"/>
                        <a:pt x="109" y="43"/>
                      </a:cubicBezTo>
                      <a:cubicBezTo>
                        <a:pt x="111" y="45"/>
                        <a:pt x="111" y="45"/>
                        <a:pt x="111" y="45"/>
                      </a:cubicBezTo>
                      <a:cubicBezTo>
                        <a:pt x="105" y="51"/>
                        <a:pt x="105" y="51"/>
                        <a:pt x="105" y="51"/>
                      </a:cubicBezTo>
                      <a:cubicBezTo>
                        <a:pt x="105" y="53"/>
                        <a:pt x="106" y="55"/>
                        <a:pt x="107" y="57"/>
                      </a:cubicBezTo>
                      <a:cubicBezTo>
                        <a:pt x="115" y="57"/>
                        <a:pt x="115" y="57"/>
                        <a:pt x="115" y="57"/>
                      </a:cubicBezTo>
                      <a:cubicBezTo>
                        <a:pt x="115" y="59"/>
                        <a:pt x="115" y="59"/>
                        <a:pt x="115" y="59"/>
                      </a:cubicBezTo>
                      <a:cubicBezTo>
                        <a:pt x="116" y="66"/>
                        <a:pt x="116" y="66"/>
                        <a:pt x="116" y="66"/>
                      </a:cubicBezTo>
                      <a:cubicBezTo>
                        <a:pt x="116" y="68"/>
                        <a:pt x="116" y="68"/>
                        <a:pt x="116" y="68"/>
                      </a:cubicBezTo>
                      <a:cubicBezTo>
                        <a:pt x="108" y="71"/>
                        <a:pt x="108" y="71"/>
                        <a:pt x="108" y="71"/>
                      </a:cubicBezTo>
                      <a:cubicBezTo>
                        <a:pt x="108" y="73"/>
                        <a:pt x="107" y="75"/>
                        <a:pt x="107" y="77"/>
                      </a:cubicBezTo>
                      <a:lnTo>
                        <a:pt x="114" y="81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" name="Freeform 67"/>
                <p:cNvSpPr>
                  <a:spLocks noEditPoints="1"/>
                </p:cNvSpPr>
                <p:nvPr/>
              </p:nvSpPr>
              <p:spPr bwMode="auto">
                <a:xfrm>
                  <a:off x="6202016" y="4590402"/>
                  <a:ext cx="174003" cy="172622"/>
                </a:xfrm>
                <a:custGeom>
                  <a:avLst/>
                  <a:gdLst>
                    <a:gd name="T0" fmla="*/ 31 w 63"/>
                    <a:gd name="T1" fmla="*/ 0 h 63"/>
                    <a:gd name="T2" fmla="*/ 0 w 63"/>
                    <a:gd name="T3" fmla="*/ 32 h 63"/>
                    <a:gd name="T4" fmla="*/ 31 w 63"/>
                    <a:gd name="T5" fmla="*/ 63 h 63"/>
                    <a:gd name="T6" fmla="*/ 63 w 63"/>
                    <a:gd name="T7" fmla="*/ 32 h 63"/>
                    <a:gd name="T8" fmla="*/ 31 w 63"/>
                    <a:gd name="T9" fmla="*/ 0 h 63"/>
                    <a:gd name="T10" fmla="*/ 31 w 63"/>
                    <a:gd name="T11" fmla="*/ 46 h 63"/>
                    <a:gd name="T12" fmla="*/ 17 w 63"/>
                    <a:gd name="T13" fmla="*/ 32 h 63"/>
                    <a:gd name="T14" fmla="*/ 31 w 63"/>
                    <a:gd name="T15" fmla="*/ 18 h 63"/>
                    <a:gd name="T16" fmla="*/ 46 w 63"/>
                    <a:gd name="T17" fmla="*/ 32 h 63"/>
                    <a:gd name="T18" fmla="*/ 31 w 63"/>
                    <a:gd name="T19" fmla="*/ 46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3" h="63">
                      <a:moveTo>
                        <a:pt x="31" y="0"/>
                      </a:moveTo>
                      <a:cubicBezTo>
                        <a:pt x="14" y="0"/>
                        <a:pt x="0" y="14"/>
                        <a:pt x="0" y="32"/>
                      </a:cubicBezTo>
                      <a:cubicBezTo>
                        <a:pt x="0" y="49"/>
                        <a:pt x="14" y="63"/>
                        <a:pt x="31" y="63"/>
                      </a:cubicBezTo>
                      <a:cubicBezTo>
                        <a:pt x="49" y="63"/>
                        <a:pt x="63" y="49"/>
                        <a:pt x="63" y="32"/>
                      </a:cubicBezTo>
                      <a:cubicBezTo>
                        <a:pt x="63" y="14"/>
                        <a:pt x="49" y="0"/>
                        <a:pt x="31" y="0"/>
                      </a:cubicBezTo>
                      <a:close/>
                      <a:moveTo>
                        <a:pt x="31" y="46"/>
                      </a:moveTo>
                      <a:cubicBezTo>
                        <a:pt x="23" y="46"/>
                        <a:pt x="17" y="40"/>
                        <a:pt x="17" y="32"/>
                      </a:cubicBezTo>
                      <a:cubicBezTo>
                        <a:pt x="17" y="24"/>
                        <a:pt x="23" y="18"/>
                        <a:pt x="31" y="18"/>
                      </a:cubicBezTo>
                      <a:cubicBezTo>
                        <a:pt x="39" y="18"/>
                        <a:pt x="46" y="24"/>
                        <a:pt x="46" y="32"/>
                      </a:cubicBezTo>
                      <a:cubicBezTo>
                        <a:pt x="46" y="40"/>
                        <a:pt x="39" y="46"/>
                        <a:pt x="31" y="46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86" name="组合 85"/>
            <p:cNvGrpSpPr/>
            <p:nvPr userDrawn="1"/>
          </p:nvGrpSpPr>
          <p:grpSpPr>
            <a:xfrm>
              <a:off x="2985199" y="366870"/>
              <a:ext cx="514249" cy="514249"/>
              <a:chOff x="8091246" y="4709506"/>
              <a:chExt cx="828000" cy="828000"/>
            </a:xfrm>
          </p:grpSpPr>
          <p:sp>
            <p:nvSpPr>
              <p:cNvPr id="87" name="Oval 33"/>
              <p:cNvSpPr>
                <a:spLocks noChangeArrowheads="1"/>
              </p:cNvSpPr>
              <p:nvPr/>
            </p:nvSpPr>
            <p:spPr bwMode="auto">
              <a:xfrm>
                <a:off x="8091246" y="4709506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88" name="Oval 33"/>
              <p:cNvSpPr>
                <a:spLocks noChangeArrowheads="1"/>
              </p:cNvSpPr>
              <p:nvPr/>
            </p:nvSpPr>
            <p:spPr bwMode="auto">
              <a:xfrm>
                <a:off x="8145246" y="4763506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89" name="组合 88"/>
              <p:cNvGrpSpPr/>
              <p:nvPr/>
            </p:nvGrpSpPr>
            <p:grpSpPr>
              <a:xfrm>
                <a:off x="8289246" y="4871506"/>
                <a:ext cx="432000" cy="504000"/>
                <a:chOff x="5977137" y="5049604"/>
                <a:chExt cx="372865" cy="431902"/>
              </a:xfrm>
            </p:grpSpPr>
            <p:sp>
              <p:nvSpPr>
                <p:cNvPr id="90" name="Oval 221"/>
                <p:cNvSpPr>
                  <a:spLocks noChangeArrowheads="1"/>
                </p:cNvSpPr>
                <p:nvPr/>
              </p:nvSpPr>
              <p:spPr bwMode="auto">
                <a:xfrm>
                  <a:off x="6066210" y="5049604"/>
                  <a:ext cx="65252" cy="82859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1" name="Freeform 222"/>
                <p:cNvSpPr>
                  <a:spLocks noEditPoints="1"/>
                </p:cNvSpPr>
                <p:nvPr/>
              </p:nvSpPr>
              <p:spPr bwMode="auto">
                <a:xfrm>
                  <a:off x="5977137" y="5138678"/>
                  <a:ext cx="239255" cy="337649"/>
                </a:xfrm>
                <a:custGeom>
                  <a:avLst/>
                  <a:gdLst>
                    <a:gd name="T0" fmla="*/ 115 w 116"/>
                    <a:gd name="T1" fmla="*/ 40 h 164"/>
                    <a:gd name="T2" fmla="*/ 116 w 116"/>
                    <a:gd name="T3" fmla="*/ 25 h 164"/>
                    <a:gd name="T4" fmla="*/ 113 w 116"/>
                    <a:gd name="T5" fmla="*/ 24 h 164"/>
                    <a:gd name="T6" fmla="*/ 102 w 116"/>
                    <a:gd name="T7" fmla="*/ 15 h 164"/>
                    <a:gd name="T8" fmla="*/ 81 w 116"/>
                    <a:gd name="T9" fmla="*/ 2 h 164"/>
                    <a:gd name="T10" fmla="*/ 73 w 116"/>
                    <a:gd name="T11" fmla="*/ 1 h 164"/>
                    <a:gd name="T12" fmla="*/ 80 w 116"/>
                    <a:gd name="T13" fmla="*/ 7 h 164"/>
                    <a:gd name="T14" fmla="*/ 75 w 116"/>
                    <a:gd name="T15" fmla="*/ 18 h 164"/>
                    <a:gd name="T16" fmla="*/ 63 w 116"/>
                    <a:gd name="T17" fmla="*/ 9 h 164"/>
                    <a:gd name="T18" fmla="*/ 62 w 116"/>
                    <a:gd name="T19" fmla="*/ 0 h 164"/>
                    <a:gd name="T20" fmla="*/ 54 w 116"/>
                    <a:gd name="T21" fmla="*/ 8 h 164"/>
                    <a:gd name="T22" fmla="*/ 54 w 116"/>
                    <a:gd name="T23" fmla="*/ 41 h 164"/>
                    <a:gd name="T24" fmla="*/ 47 w 116"/>
                    <a:gd name="T25" fmla="*/ 11 h 164"/>
                    <a:gd name="T26" fmla="*/ 46 w 116"/>
                    <a:gd name="T27" fmla="*/ 1 h 164"/>
                    <a:gd name="T28" fmla="*/ 38 w 116"/>
                    <a:gd name="T29" fmla="*/ 1 h 164"/>
                    <a:gd name="T30" fmla="*/ 30 w 116"/>
                    <a:gd name="T31" fmla="*/ 5 h 164"/>
                    <a:gd name="T32" fmla="*/ 3 w 116"/>
                    <a:gd name="T33" fmla="*/ 35 h 164"/>
                    <a:gd name="T34" fmla="*/ 1 w 116"/>
                    <a:gd name="T35" fmla="*/ 46 h 164"/>
                    <a:gd name="T36" fmla="*/ 1 w 116"/>
                    <a:gd name="T37" fmla="*/ 46 h 164"/>
                    <a:gd name="T38" fmla="*/ 2 w 116"/>
                    <a:gd name="T39" fmla="*/ 47 h 164"/>
                    <a:gd name="T40" fmla="*/ 3 w 116"/>
                    <a:gd name="T41" fmla="*/ 51 h 164"/>
                    <a:gd name="T42" fmla="*/ 10 w 116"/>
                    <a:gd name="T43" fmla="*/ 64 h 164"/>
                    <a:gd name="T44" fmla="*/ 31 w 116"/>
                    <a:gd name="T45" fmla="*/ 75 h 164"/>
                    <a:gd name="T46" fmla="*/ 31 w 116"/>
                    <a:gd name="T47" fmla="*/ 87 h 164"/>
                    <a:gd name="T48" fmla="*/ 36 w 116"/>
                    <a:gd name="T49" fmla="*/ 164 h 164"/>
                    <a:gd name="T50" fmla="*/ 58 w 116"/>
                    <a:gd name="T51" fmla="*/ 128 h 164"/>
                    <a:gd name="T52" fmla="*/ 86 w 116"/>
                    <a:gd name="T53" fmla="*/ 32 h 164"/>
                    <a:gd name="T54" fmla="*/ 90 w 116"/>
                    <a:gd name="T55" fmla="*/ 30 h 164"/>
                    <a:gd name="T56" fmla="*/ 72 w 116"/>
                    <a:gd name="T57" fmla="*/ 43 h 164"/>
                    <a:gd name="T58" fmla="*/ 86 w 116"/>
                    <a:gd name="T59" fmla="*/ 32 h 164"/>
                    <a:gd name="T60" fmla="*/ 29 w 116"/>
                    <a:gd name="T61" fmla="*/ 54 h 164"/>
                    <a:gd name="T62" fmla="*/ 23 w 116"/>
                    <a:gd name="T63" fmla="*/ 42 h 164"/>
                    <a:gd name="T64" fmla="*/ 32 w 116"/>
                    <a:gd name="T65" fmla="*/ 58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6" h="164">
                      <a:moveTo>
                        <a:pt x="54" y="106"/>
                      </a:moveTo>
                      <a:cubicBezTo>
                        <a:pt x="54" y="71"/>
                        <a:pt x="81" y="43"/>
                        <a:pt x="115" y="40"/>
                      </a:cubicBezTo>
                      <a:cubicBezTo>
                        <a:pt x="115" y="34"/>
                        <a:pt x="116" y="23"/>
                        <a:pt x="116" y="26"/>
                      </a:cubicBezTo>
                      <a:cubicBezTo>
                        <a:pt x="116" y="25"/>
                        <a:pt x="116" y="25"/>
                        <a:pt x="116" y="25"/>
                      </a:cubicBezTo>
                      <a:cubicBezTo>
                        <a:pt x="115" y="25"/>
                        <a:pt x="115" y="25"/>
                        <a:pt x="115" y="25"/>
                      </a:cubicBezTo>
                      <a:cubicBezTo>
                        <a:pt x="113" y="24"/>
                        <a:pt x="113" y="24"/>
                        <a:pt x="113" y="24"/>
                      </a:cubicBezTo>
                      <a:cubicBezTo>
                        <a:pt x="110" y="21"/>
                        <a:pt x="110" y="21"/>
                        <a:pt x="110" y="21"/>
                      </a:cubicBezTo>
                      <a:cubicBezTo>
                        <a:pt x="102" y="15"/>
                        <a:pt x="102" y="15"/>
                        <a:pt x="102" y="15"/>
                      </a:cubicBezTo>
                      <a:cubicBezTo>
                        <a:pt x="86" y="4"/>
                        <a:pt x="86" y="4"/>
                        <a:pt x="86" y="4"/>
                      </a:cubicBezTo>
                      <a:cubicBezTo>
                        <a:pt x="85" y="2"/>
                        <a:pt x="83" y="2"/>
                        <a:pt x="81" y="2"/>
                      </a:cubicBezTo>
                      <a:cubicBezTo>
                        <a:pt x="81" y="2"/>
                        <a:pt x="81" y="1"/>
                        <a:pt x="81" y="1"/>
                      </a:cubicBezTo>
                      <a:cubicBezTo>
                        <a:pt x="78" y="1"/>
                        <a:pt x="75" y="1"/>
                        <a:pt x="73" y="1"/>
                      </a:cubicBezTo>
                      <a:cubicBezTo>
                        <a:pt x="73" y="1"/>
                        <a:pt x="73" y="1"/>
                        <a:pt x="73" y="1"/>
                      </a:cubicBezTo>
                      <a:cubicBezTo>
                        <a:pt x="80" y="7"/>
                        <a:pt x="80" y="7"/>
                        <a:pt x="80" y="7"/>
                      </a:cubicBezTo>
                      <a:cubicBezTo>
                        <a:pt x="71" y="11"/>
                        <a:pt x="71" y="11"/>
                        <a:pt x="71" y="11"/>
                      </a:cubicBezTo>
                      <a:cubicBezTo>
                        <a:pt x="75" y="18"/>
                        <a:pt x="75" y="18"/>
                        <a:pt x="75" y="18"/>
                      </a:cubicBezTo>
                      <a:cubicBezTo>
                        <a:pt x="65" y="41"/>
                        <a:pt x="65" y="41"/>
                        <a:pt x="65" y="41"/>
                      </a:cubicBezTo>
                      <a:cubicBezTo>
                        <a:pt x="63" y="9"/>
                        <a:pt x="63" y="9"/>
                        <a:pt x="63" y="9"/>
                      </a:cubicBezTo>
                      <a:cubicBezTo>
                        <a:pt x="64" y="8"/>
                        <a:pt x="64" y="8"/>
                        <a:pt x="64" y="8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5" y="9"/>
                        <a:pt x="55" y="9"/>
                        <a:pt x="55" y="9"/>
                      </a:cubicBezTo>
                      <a:cubicBezTo>
                        <a:pt x="54" y="41"/>
                        <a:pt x="54" y="41"/>
                        <a:pt x="54" y="41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7" y="11"/>
                        <a:pt x="47" y="11"/>
                        <a:pt x="47" y="11"/>
                      </a:cubicBezTo>
                      <a:cubicBezTo>
                        <a:pt x="39" y="7"/>
                        <a:pt x="39" y="7"/>
                        <a:pt x="39" y="7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5" y="1"/>
                        <a:pt x="45" y="1"/>
                        <a:pt x="45" y="1"/>
                      </a:cubicBezTo>
                      <a:cubicBezTo>
                        <a:pt x="43" y="1"/>
                        <a:pt x="40" y="1"/>
                        <a:pt x="38" y="1"/>
                      </a:cubicBezTo>
                      <a:cubicBezTo>
                        <a:pt x="37" y="2"/>
                        <a:pt x="37" y="2"/>
                        <a:pt x="37" y="2"/>
                      </a:cubicBezTo>
                      <a:cubicBezTo>
                        <a:pt x="34" y="2"/>
                        <a:pt x="32" y="3"/>
                        <a:pt x="30" y="5"/>
                      </a:cubicBezTo>
                      <a:cubicBezTo>
                        <a:pt x="3" y="34"/>
                        <a:pt x="3" y="34"/>
                        <a:pt x="3" y="34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0" y="58"/>
                        <a:pt x="2" y="41"/>
                        <a:pt x="1" y="46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6" y="55"/>
                        <a:pt x="6" y="55"/>
                        <a:pt x="6" y="55"/>
                      </a:cubicBezTo>
                      <a:cubicBezTo>
                        <a:pt x="10" y="64"/>
                        <a:pt x="10" y="64"/>
                        <a:pt x="10" y="64"/>
                      </a:cubicBezTo>
                      <a:cubicBezTo>
                        <a:pt x="19" y="82"/>
                        <a:pt x="19" y="82"/>
                        <a:pt x="19" y="82"/>
                      </a:cubicBezTo>
                      <a:cubicBezTo>
                        <a:pt x="23" y="80"/>
                        <a:pt x="27" y="77"/>
                        <a:pt x="31" y="75"/>
                      </a:cubicBezTo>
                      <a:cubicBezTo>
                        <a:pt x="31" y="79"/>
                        <a:pt x="31" y="83"/>
                        <a:pt x="31" y="87"/>
                      </a:cubicBezTo>
                      <a:cubicBezTo>
                        <a:pt x="31" y="87"/>
                        <a:pt x="31" y="87"/>
                        <a:pt x="31" y="87"/>
                      </a:cubicBezTo>
                      <a:cubicBezTo>
                        <a:pt x="32" y="87"/>
                        <a:pt x="33" y="87"/>
                        <a:pt x="33" y="87"/>
                      </a:cubicBezTo>
                      <a:cubicBezTo>
                        <a:pt x="36" y="164"/>
                        <a:pt x="36" y="164"/>
                        <a:pt x="36" y="164"/>
                      </a:cubicBezTo>
                      <a:cubicBezTo>
                        <a:pt x="58" y="164"/>
                        <a:pt x="58" y="164"/>
                        <a:pt x="58" y="164"/>
                      </a:cubicBezTo>
                      <a:cubicBezTo>
                        <a:pt x="58" y="154"/>
                        <a:pt x="58" y="141"/>
                        <a:pt x="58" y="128"/>
                      </a:cubicBezTo>
                      <a:cubicBezTo>
                        <a:pt x="56" y="121"/>
                        <a:pt x="54" y="113"/>
                        <a:pt x="54" y="106"/>
                      </a:cubicBezTo>
                      <a:close/>
                      <a:moveTo>
                        <a:pt x="86" y="32"/>
                      </a:moveTo>
                      <a:cubicBezTo>
                        <a:pt x="86" y="30"/>
                        <a:pt x="86" y="29"/>
                        <a:pt x="85" y="27"/>
                      </a:cubicBezTo>
                      <a:cubicBezTo>
                        <a:pt x="90" y="30"/>
                        <a:pt x="90" y="30"/>
                        <a:pt x="90" y="30"/>
                      </a:cubicBezTo>
                      <a:cubicBezTo>
                        <a:pt x="92" y="32"/>
                        <a:pt x="92" y="32"/>
                        <a:pt x="92" y="32"/>
                      </a:cubicBezTo>
                      <a:cubicBezTo>
                        <a:pt x="72" y="43"/>
                        <a:pt x="72" y="43"/>
                        <a:pt x="72" y="43"/>
                      </a:cubicBezTo>
                      <a:cubicBezTo>
                        <a:pt x="71" y="41"/>
                        <a:pt x="71" y="41"/>
                        <a:pt x="71" y="41"/>
                      </a:cubicBezTo>
                      <a:lnTo>
                        <a:pt x="86" y="32"/>
                      </a:lnTo>
                      <a:close/>
                      <a:moveTo>
                        <a:pt x="32" y="58"/>
                      </a:moveTo>
                      <a:cubicBezTo>
                        <a:pt x="29" y="54"/>
                        <a:pt x="29" y="54"/>
                        <a:pt x="29" y="54"/>
                      </a:cubicBezTo>
                      <a:cubicBezTo>
                        <a:pt x="24" y="45"/>
                        <a:pt x="24" y="45"/>
                        <a:pt x="24" y="45"/>
                      </a:cubicBezTo>
                      <a:cubicBezTo>
                        <a:pt x="23" y="42"/>
                        <a:pt x="23" y="42"/>
                        <a:pt x="23" y="42"/>
                      </a:cubicBezTo>
                      <a:cubicBezTo>
                        <a:pt x="33" y="30"/>
                        <a:pt x="33" y="30"/>
                        <a:pt x="33" y="30"/>
                      </a:cubicBezTo>
                      <a:cubicBezTo>
                        <a:pt x="32" y="40"/>
                        <a:pt x="32" y="49"/>
                        <a:pt x="32" y="58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2" name="Freeform 223"/>
                <p:cNvSpPr>
                  <a:spLocks/>
                </p:cNvSpPr>
                <p:nvPr/>
              </p:nvSpPr>
              <p:spPr bwMode="auto">
                <a:xfrm>
                  <a:off x="6104533" y="5418326"/>
                  <a:ext cx="47644" cy="58001"/>
                </a:xfrm>
                <a:custGeom>
                  <a:avLst/>
                  <a:gdLst>
                    <a:gd name="T0" fmla="*/ 0 w 23"/>
                    <a:gd name="T1" fmla="*/ 0 h 28"/>
                    <a:gd name="T2" fmla="*/ 1 w 23"/>
                    <a:gd name="T3" fmla="*/ 28 h 28"/>
                    <a:gd name="T4" fmla="*/ 23 w 23"/>
                    <a:gd name="T5" fmla="*/ 28 h 28"/>
                    <a:gd name="T6" fmla="*/ 23 w 23"/>
                    <a:gd name="T7" fmla="*/ 25 h 28"/>
                    <a:gd name="T8" fmla="*/ 0 w 23"/>
                    <a:gd name="T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28">
                      <a:moveTo>
                        <a:pt x="0" y="0"/>
                      </a:move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23" y="27"/>
                        <a:pt x="23" y="26"/>
                        <a:pt x="23" y="25"/>
                      </a:cubicBezTo>
                      <a:cubicBezTo>
                        <a:pt x="13" y="19"/>
                        <a:pt x="5" y="10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3" name="Freeform 224"/>
                <p:cNvSpPr>
                  <a:spLocks/>
                </p:cNvSpPr>
                <p:nvPr/>
              </p:nvSpPr>
              <p:spPr bwMode="auto">
                <a:xfrm>
                  <a:off x="6191534" y="5295072"/>
                  <a:ext cx="65252" cy="123252"/>
                </a:xfrm>
                <a:custGeom>
                  <a:avLst/>
                  <a:gdLst>
                    <a:gd name="T0" fmla="*/ 20 w 32"/>
                    <a:gd name="T1" fmla="*/ 25 h 60"/>
                    <a:gd name="T2" fmla="*/ 11 w 32"/>
                    <a:gd name="T3" fmla="*/ 19 h 60"/>
                    <a:gd name="T4" fmla="*/ 18 w 32"/>
                    <a:gd name="T5" fmla="*/ 15 h 60"/>
                    <a:gd name="T6" fmla="*/ 28 w 32"/>
                    <a:gd name="T7" fmla="*/ 17 h 60"/>
                    <a:gd name="T8" fmla="*/ 30 w 32"/>
                    <a:gd name="T9" fmla="*/ 9 h 60"/>
                    <a:gd name="T10" fmla="*/ 20 w 32"/>
                    <a:gd name="T11" fmla="*/ 6 h 60"/>
                    <a:gd name="T12" fmla="*/ 20 w 32"/>
                    <a:gd name="T13" fmla="*/ 0 h 60"/>
                    <a:gd name="T14" fmla="*/ 13 w 32"/>
                    <a:gd name="T15" fmla="*/ 0 h 60"/>
                    <a:gd name="T16" fmla="*/ 13 w 32"/>
                    <a:gd name="T17" fmla="*/ 7 h 60"/>
                    <a:gd name="T18" fmla="*/ 0 w 32"/>
                    <a:gd name="T19" fmla="*/ 20 h 60"/>
                    <a:gd name="T20" fmla="*/ 13 w 32"/>
                    <a:gd name="T21" fmla="*/ 33 h 60"/>
                    <a:gd name="T22" fmla="*/ 21 w 32"/>
                    <a:gd name="T23" fmla="*/ 40 h 60"/>
                    <a:gd name="T24" fmla="*/ 14 w 32"/>
                    <a:gd name="T25" fmla="*/ 44 h 60"/>
                    <a:gd name="T26" fmla="*/ 2 w 32"/>
                    <a:gd name="T27" fmla="*/ 41 h 60"/>
                    <a:gd name="T28" fmla="*/ 0 w 32"/>
                    <a:gd name="T29" fmla="*/ 50 h 60"/>
                    <a:gd name="T30" fmla="*/ 12 w 32"/>
                    <a:gd name="T31" fmla="*/ 53 h 60"/>
                    <a:gd name="T32" fmla="*/ 12 w 32"/>
                    <a:gd name="T33" fmla="*/ 60 h 60"/>
                    <a:gd name="T34" fmla="*/ 19 w 32"/>
                    <a:gd name="T35" fmla="*/ 60 h 60"/>
                    <a:gd name="T36" fmla="*/ 19 w 32"/>
                    <a:gd name="T37" fmla="*/ 52 h 60"/>
                    <a:gd name="T38" fmla="*/ 32 w 32"/>
                    <a:gd name="T39" fmla="*/ 39 h 60"/>
                    <a:gd name="T40" fmla="*/ 20 w 32"/>
                    <a:gd name="T41" fmla="*/ 25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2" h="60">
                      <a:moveTo>
                        <a:pt x="20" y="25"/>
                      </a:moveTo>
                      <a:cubicBezTo>
                        <a:pt x="14" y="23"/>
                        <a:pt x="11" y="21"/>
                        <a:pt x="11" y="19"/>
                      </a:cubicBezTo>
                      <a:cubicBezTo>
                        <a:pt x="11" y="17"/>
                        <a:pt x="13" y="15"/>
                        <a:pt x="18" y="15"/>
                      </a:cubicBezTo>
                      <a:cubicBezTo>
                        <a:pt x="23" y="15"/>
                        <a:pt x="26" y="16"/>
                        <a:pt x="28" y="17"/>
                      </a:cubicBez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28" y="8"/>
                        <a:pt x="25" y="7"/>
                        <a:pt x="20" y="6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5" y="8"/>
                        <a:pt x="0" y="13"/>
                        <a:pt x="0" y="20"/>
                      </a:cubicBezTo>
                      <a:cubicBezTo>
                        <a:pt x="0" y="27"/>
                        <a:pt x="6" y="31"/>
                        <a:pt x="13" y="33"/>
                      </a:cubicBezTo>
                      <a:cubicBezTo>
                        <a:pt x="19" y="35"/>
                        <a:pt x="21" y="37"/>
                        <a:pt x="21" y="40"/>
                      </a:cubicBezTo>
                      <a:cubicBezTo>
                        <a:pt x="21" y="43"/>
                        <a:pt x="18" y="44"/>
                        <a:pt x="14" y="44"/>
                      </a:cubicBezTo>
                      <a:cubicBezTo>
                        <a:pt x="9" y="44"/>
                        <a:pt x="5" y="43"/>
                        <a:pt x="2" y="41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3" y="51"/>
                        <a:pt x="7" y="52"/>
                        <a:pt x="12" y="53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9" y="60"/>
                        <a:pt x="19" y="60"/>
                        <a:pt x="19" y="60"/>
                      </a:cubicBezTo>
                      <a:cubicBezTo>
                        <a:pt x="19" y="52"/>
                        <a:pt x="19" y="52"/>
                        <a:pt x="19" y="52"/>
                      </a:cubicBezTo>
                      <a:cubicBezTo>
                        <a:pt x="28" y="51"/>
                        <a:pt x="32" y="45"/>
                        <a:pt x="32" y="39"/>
                      </a:cubicBezTo>
                      <a:cubicBezTo>
                        <a:pt x="32" y="32"/>
                        <a:pt x="29" y="28"/>
                        <a:pt x="20" y="25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4" name="Freeform 225"/>
                <p:cNvSpPr>
                  <a:spLocks noEditPoints="1"/>
                </p:cNvSpPr>
                <p:nvPr/>
              </p:nvSpPr>
              <p:spPr bwMode="auto">
                <a:xfrm>
                  <a:off x="6098318" y="5230858"/>
                  <a:ext cx="251684" cy="250648"/>
                </a:xfrm>
                <a:custGeom>
                  <a:avLst/>
                  <a:gdLst>
                    <a:gd name="T0" fmla="*/ 118 w 122"/>
                    <a:gd name="T1" fmla="*/ 61 h 122"/>
                    <a:gd name="T2" fmla="*/ 121 w 122"/>
                    <a:gd name="T3" fmla="*/ 54 h 122"/>
                    <a:gd name="T4" fmla="*/ 117 w 122"/>
                    <a:gd name="T5" fmla="*/ 52 h 122"/>
                    <a:gd name="T6" fmla="*/ 120 w 122"/>
                    <a:gd name="T7" fmla="*/ 46 h 122"/>
                    <a:gd name="T8" fmla="*/ 116 w 122"/>
                    <a:gd name="T9" fmla="*/ 41 h 122"/>
                    <a:gd name="T10" fmla="*/ 114 w 122"/>
                    <a:gd name="T11" fmla="*/ 34 h 122"/>
                    <a:gd name="T12" fmla="*/ 112 w 122"/>
                    <a:gd name="T13" fmla="*/ 29 h 122"/>
                    <a:gd name="T14" fmla="*/ 106 w 122"/>
                    <a:gd name="T15" fmla="*/ 26 h 122"/>
                    <a:gd name="T16" fmla="*/ 104 w 122"/>
                    <a:gd name="T17" fmla="*/ 18 h 122"/>
                    <a:gd name="T18" fmla="*/ 99 w 122"/>
                    <a:gd name="T19" fmla="*/ 19 h 122"/>
                    <a:gd name="T20" fmla="*/ 98 w 122"/>
                    <a:gd name="T21" fmla="*/ 13 h 122"/>
                    <a:gd name="T22" fmla="*/ 90 w 122"/>
                    <a:gd name="T23" fmla="*/ 12 h 122"/>
                    <a:gd name="T24" fmla="*/ 86 w 122"/>
                    <a:gd name="T25" fmla="*/ 6 h 122"/>
                    <a:gd name="T26" fmla="*/ 81 w 122"/>
                    <a:gd name="T27" fmla="*/ 4 h 122"/>
                    <a:gd name="T28" fmla="*/ 75 w 122"/>
                    <a:gd name="T29" fmla="*/ 6 h 122"/>
                    <a:gd name="T30" fmla="*/ 67 w 122"/>
                    <a:gd name="T31" fmla="*/ 0 h 122"/>
                    <a:gd name="T32" fmla="*/ 65 w 122"/>
                    <a:gd name="T33" fmla="*/ 4 h 122"/>
                    <a:gd name="T34" fmla="*/ 60 w 122"/>
                    <a:gd name="T35" fmla="*/ 0 h 122"/>
                    <a:gd name="T36" fmla="*/ 52 w 122"/>
                    <a:gd name="T37" fmla="*/ 5 h 122"/>
                    <a:gd name="T38" fmla="*/ 46 w 122"/>
                    <a:gd name="T39" fmla="*/ 3 h 122"/>
                    <a:gd name="T40" fmla="*/ 41 w 122"/>
                    <a:gd name="T41" fmla="*/ 5 h 122"/>
                    <a:gd name="T42" fmla="*/ 36 w 122"/>
                    <a:gd name="T43" fmla="*/ 9 h 122"/>
                    <a:gd name="T44" fmla="*/ 28 w 122"/>
                    <a:gd name="T45" fmla="*/ 10 h 122"/>
                    <a:gd name="T46" fmla="*/ 26 w 122"/>
                    <a:gd name="T47" fmla="*/ 16 h 122"/>
                    <a:gd name="T48" fmla="*/ 22 w 122"/>
                    <a:gd name="T49" fmla="*/ 14 h 122"/>
                    <a:gd name="T50" fmla="*/ 19 w 122"/>
                    <a:gd name="T51" fmla="*/ 23 h 122"/>
                    <a:gd name="T52" fmla="*/ 13 w 122"/>
                    <a:gd name="T53" fmla="*/ 25 h 122"/>
                    <a:gd name="T54" fmla="*/ 10 w 122"/>
                    <a:gd name="T55" fmla="*/ 29 h 122"/>
                    <a:gd name="T56" fmla="*/ 8 w 122"/>
                    <a:gd name="T57" fmla="*/ 37 h 122"/>
                    <a:gd name="T58" fmla="*/ 3 w 122"/>
                    <a:gd name="T59" fmla="*/ 42 h 122"/>
                    <a:gd name="T60" fmla="*/ 6 w 122"/>
                    <a:gd name="T61" fmla="*/ 47 h 122"/>
                    <a:gd name="T62" fmla="*/ 1 w 122"/>
                    <a:gd name="T63" fmla="*/ 49 h 122"/>
                    <a:gd name="T64" fmla="*/ 4 w 122"/>
                    <a:gd name="T65" fmla="*/ 58 h 122"/>
                    <a:gd name="T66" fmla="*/ 1 w 122"/>
                    <a:gd name="T67" fmla="*/ 63 h 122"/>
                    <a:gd name="T68" fmla="*/ 2 w 122"/>
                    <a:gd name="T69" fmla="*/ 68 h 122"/>
                    <a:gd name="T70" fmla="*/ 3 w 122"/>
                    <a:gd name="T71" fmla="*/ 76 h 122"/>
                    <a:gd name="T72" fmla="*/ 4 w 122"/>
                    <a:gd name="T73" fmla="*/ 82 h 122"/>
                    <a:gd name="T74" fmla="*/ 10 w 122"/>
                    <a:gd name="T75" fmla="*/ 85 h 122"/>
                    <a:gd name="T76" fmla="*/ 10 w 122"/>
                    <a:gd name="T77" fmla="*/ 94 h 122"/>
                    <a:gd name="T78" fmla="*/ 16 w 122"/>
                    <a:gd name="T79" fmla="*/ 96 h 122"/>
                    <a:gd name="T80" fmla="*/ 19 w 122"/>
                    <a:gd name="T81" fmla="*/ 105 h 122"/>
                    <a:gd name="T82" fmla="*/ 25 w 122"/>
                    <a:gd name="T83" fmla="*/ 105 h 122"/>
                    <a:gd name="T84" fmla="*/ 30 w 122"/>
                    <a:gd name="T85" fmla="*/ 113 h 122"/>
                    <a:gd name="T86" fmla="*/ 36 w 122"/>
                    <a:gd name="T87" fmla="*/ 112 h 122"/>
                    <a:gd name="T88" fmla="*/ 42 w 122"/>
                    <a:gd name="T89" fmla="*/ 119 h 122"/>
                    <a:gd name="T90" fmla="*/ 48 w 122"/>
                    <a:gd name="T91" fmla="*/ 116 h 122"/>
                    <a:gd name="T92" fmla="*/ 56 w 122"/>
                    <a:gd name="T93" fmla="*/ 121 h 122"/>
                    <a:gd name="T94" fmla="*/ 61 w 122"/>
                    <a:gd name="T95" fmla="*/ 118 h 122"/>
                    <a:gd name="T96" fmla="*/ 69 w 122"/>
                    <a:gd name="T97" fmla="*/ 121 h 122"/>
                    <a:gd name="T98" fmla="*/ 73 w 122"/>
                    <a:gd name="T99" fmla="*/ 116 h 122"/>
                    <a:gd name="T100" fmla="*/ 83 w 122"/>
                    <a:gd name="T101" fmla="*/ 118 h 122"/>
                    <a:gd name="T102" fmla="*/ 86 w 122"/>
                    <a:gd name="T103" fmla="*/ 112 h 122"/>
                    <a:gd name="T104" fmla="*/ 95 w 122"/>
                    <a:gd name="T105" fmla="*/ 111 h 122"/>
                    <a:gd name="T106" fmla="*/ 96 w 122"/>
                    <a:gd name="T107" fmla="*/ 105 h 122"/>
                    <a:gd name="T108" fmla="*/ 105 w 122"/>
                    <a:gd name="T109" fmla="*/ 103 h 122"/>
                    <a:gd name="T110" fmla="*/ 106 w 122"/>
                    <a:gd name="T111" fmla="*/ 96 h 122"/>
                    <a:gd name="T112" fmla="*/ 113 w 122"/>
                    <a:gd name="T113" fmla="*/ 92 h 122"/>
                    <a:gd name="T114" fmla="*/ 112 w 122"/>
                    <a:gd name="T115" fmla="*/ 86 h 122"/>
                    <a:gd name="T116" fmla="*/ 119 w 122"/>
                    <a:gd name="T117" fmla="*/ 79 h 122"/>
                    <a:gd name="T118" fmla="*/ 116 w 122"/>
                    <a:gd name="T119" fmla="*/ 76 h 122"/>
                    <a:gd name="T120" fmla="*/ 121 w 122"/>
                    <a:gd name="T121" fmla="*/ 72 h 122"/>
                    <a:gd name="T122" fmla="*/ 121 w 122"/>
                    <a:gd name="T123" fmla="*/ 66 h 122"/>
                    <a:gd name="T124" fmla="*/ 61 w 122"/>
                    <a:gd name="T125" fmla="*/ 15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2" h="122">
                      <a:moveTo>
                        <a:pt x="121" y="66"/>
                      </a:moveTo>
                      <a:cubicBezTo>
                        <a:pt x="119" y="66"/>
                        <a:pt x="118" y="65"/>
                        <a:pt x="118" y="63"/>
                      </a:cubicBezTo>
                      <a:cubicBezTo>
                        <a:pt x="118" y="63"/>
                        <a:pt x="118" y="62"/>
                        <a:pt x="118" y="61"/>
                      </a:cubicBezTo>
                      <a:cubicBezTo>
                        <a:pt x="118" y="59"/>
                        <a:pt x="119" y="58"/>
                        <a:pt x="121" y="58"/>
                      </a:cubicBezTo>
                      <a:cubicBezTo>
                        <a:pt x="121" y="58"/>
                        <a:pt x="121" y="58"/>
                        <a:pt x="122" y="58"/>
                      </a:cubicBezTo>
                      <a:cubicBezTo>
                        <a:pt x="122" y="57"/>
                        <a:pt x="122" y="55"/>
                        <a:pt x="121" y="54"/>
                      </a:cubicBezTo>
                      <a:cubicBezTo>
                        <a:pt x="121" y="54"/>
                        <a:pt x="121" y="54"/>
                        <a:pt x="120" y="54"/>
                      </a:cubicBezTo>
                      <a:cubicBezTo>
                        <a:pt x="120" y="54"/>
                        <a:pt x="120" y="54"/>
                        <a:pt x="120" y="54"/>
                      </a:cubicBezTo>
                      <a:cubicBezTo>
                        <a:pt x="119" y="54"/>
                        <a:pt x="118" y="53"/>
                        <a:pt x="117" y="52"/>
                      </a:cubicBezTo>
                      <a:cubicBezTo>
                        <a:pt x="117" y="51"/>
                        <a:pt x="117" y="50"/>
                        <a:pt x="117" y="49"/>
                      </a:cubicBezTo>
                      <a:cubicBezTo>
                        <a:pt x="117" y="48"/>
                        <a:pt x="118" y="47"/>
                        <a:pt x="119" y="46"/>
                      </a:cubicBezTo>
                      <a:cubicBezTo>
                        <a:pt x="119" y="46"/>
                        <a:pt x="120" y="46"/>
                        <a:pt x="120" y="46"/>
                      </a:cubicBezTo>
                      <a:cubicBezTo>
                        <a:pt x="120" y="44"/>
                        <a:pt x="119" y="42"/>
                        <a:pt x="118" y="41"/>
                      </a:cubicBezTo>
                      <a:cubicBezTo>
                        <a:pt x="118" y="41"/>
                        <a:pt x="118" y="41"/>
                        <a:pt x="117" y="41"/>
                      </a:cubicBezTo>
                      <a:cubicBezTo>
                        <a:pt x="117" y="41"/>
                        <a:pt x="117" y="41"/>
                        <a:pt x="116" y="41"/>
                      </a:cubicBezTo>
                      <a:cubicBezTo>
                        <a:pt x="115" y="41"/>
                        <a:pt x="114" y="41"/>
                        <a:pt x="114" y="40"/>
                      </a:cubicBezTo>
                      <a:cubicBezTo>
                        <a:pt x="114" y="39"/>
                        <a:pt x="113" y="38"/>
                        <a:pt x="113" y="37"/>
                      </a:cubicBezTo>
                      <a:cubicBezTo>
                        <a:pt x="112" y="36"/>
                        <a:pt x="113" y="34"/>
                        <a:pt x="114" y="34"/>
                      </a:cubicBezTo>
                      <a:cubicBezTo>
                        <a:pt x="115" y="34"/>
                        <a:pt x="115" y="33"/>
                        <a:pt x="115" y="33"/>
                      </a:cubicBezTo>
                      <a:cubicBezTo>
                        <a:pt x="114" y="32"/>
                        <a:pt x="113" y="30"/>
                        <a:pt x="112" y="28"/>
                      </a:cubicBezTo>
                      <a:cubicBezTo>
                        <a:pt x="112" y="29"/>
                        <a:pt x="112" y="29"/>
                        <a:pt x="112" y="29"/>
                      </a:cubicBezTo>
                      <a:cubicBezTo>
                        <a:pt x="111" y="29"/>
                        <a:pt x="111" y="30"/>
                        <a:pt x="110" y="30"/>
                      </a:cubicBezTo>
                      <a:cubicBezTo>
                        <a:pt x="109" y="30"/>
                        <a:pt x="108" y="29"/>
                        <a:pt x="108" y="28"/>
                      </a:cubicBezTo>
                      <a:cubicBezTo>
                        <a:pt x="107" y="28"/>
                        <a:pt x="107" y="27"/>
                        <a:pt x="106" y="26"/>
                      </a:cubicBezTo>
                      <a:cubicBezTo>
                        <a:pt x="105" y="25"/>
                        <a:pt x="106" y="23"/>
                        <a:pt x="107" y="23"/>
                      </a:cubicBezTo>
                      <a:cubicBezTo>
                        <a:pt x="107" y="22"/>
                        <a:pt x="108" y="22"/>
                        <a:pt x="108" y="22"/>
                      </a:cubicBezTo>
                      <a:cubicBezTo>
                        <a:pt x="107" y="21"/>
                        <a:pt x="105" y="19"/>
                        <a:pt x="104" y="18"/>
                      </a:cubicBezTo>
                      <a:cubicBezTo>
                        <a:pt x="104" y="18"/>
                        <a:pt x="104" y="18"/>
                        <a:pt x="103" y="19"/>
                      </a:cubicBezTo>
                      <a:cubicBezTo>
                        <a:pt x="103" y="19"/>
                        <a:pt x="102" y="19"/>
                        <a:pt x="101" y="19"/>
                      </a:cubicBezTo>
                      <a:cubicBezTo>
                        <a:pt x="101" y="19"/>
                        <a:pt x="100" y="19"/>
                        <a:pt x="99" y="19"/>
                      </a:cubicBezTo>
                      <a:cubicBezTo>
                        <a:pt x="99" y="18"/>
                        <a:pt x="98" y="18"/>
                        <a:pt x="98" y="17"/>
                      </a:cubicBezTo>
                      <a:cubicBezTo>
                        <a:pt x="96" y="16"/>
                        <a:pt x="96" y="14"/>
                        <a:pt x="97" y="13"/>
                      </a:cubicBezTo>
                      <a:cubicBezTo>
                        <a:pt x="97" y="13"/>
                        <a:pt x="98" y="13"/>
                        <a:pt x="98" y="13"/>
                      </a:cubicBezTo>
                      <a:cubicBezTo>
                        <a:pt x="96" y="11"/>
                        <a:pt x="95" y="10"/>
                        <a:pt x="93" y="9"/>
                      </a:cubicBezTo>
                      <a:cubicBezTo>
                        <a:pt x="93" y="10"/>
                        <a:pt x="93" y="10"/>
                        <a:pt x="93" y="10"/>
                      </a:cubicBezTo>
                      <a:cubicBezTo>
                        <a:pt x="92" y="11"/>
                        <a:pt x="91" y="12"/>
                        <a:pt x="90" y="12"/>
                      </a:cubicBezTo>
                      <a:cubicBezTo>
                        <a:pt x="90" y="12"/>
                        <a:pt x="90" y="11"/>
                        <a:pt x="89" y="11"/>
                      </a:cubicBezTo>
                      <a:cubicBezTo>
                        <a:pt x="88" y="11"/>
                        <a:pt x="88" y="10"/>
                        <a:pt x="87" y="10"/>
                      </a:cubicBezTo>
                      <a:cubicBezTo>
                        <a:pt x="86" y="9"/>
                        <a:pt x="85" y="8"/>
                        <a:pt x="86" y="6"/>
                      </a:cubicBezTo>
                      <a:cubicBezTo>
                        <a:pt x="86" y="6"/>
                        <a:pt x="86" y="6"/>
                        <a:pt x="86" y="6"/>
                      </a:cubicBezTo>
                      <a:cubicBezTo>
                        <a:pt x="85" y="5"/>
                        <a:pt x="83" y="4"/>
                        <a:pt x="81" y="3"/>
                      </a:cubicBezTo>
                      <a:cubicBezTo>
                        <a:pt x="81" y="4"/>
                        <a:pt x="81" y="4"/>
                        <a:pt x="81" y="4"/>
                      </a:cubicBezTo>
                      <a:cubicBezTo>
                        <a:pt x="80" y="6"/>
                        <a:pt x="79" y="6"/>
                        <a:pt x="78" y="6"/>
                      </a:cubicBezTo>
                      <a:cubicBezTo>
                        <a:pt x="78" y="6"/>
                        <a:pt x="78" y="6"/>
                        <a:pt x="77" y="6"/>
                      </a:cubicBezTo>
                      <a:cubicBezTo>
                        <a:pt x="77" y="6"/>
                        <a:pt x="76" y="6"/>
                        <a:pt x="75" y="6"/>
                      </a:cubicBezTo>
                      <a:cubicBezTo>
                        <a:pt x="73" y="5"/>
                        <a:pt x="73" y="4"/>
                        <a:pt x="73" y="2"/>
                      </a:cubicBezTo>
                      <a:cubicBezTo>
                        <a:pt x="73" y="2"/>
                        <a:pt x="73" y="2"/>
                        <a:pt x="73" y="1"/>
                      </a:cubicBezTo>
                      <a:cubicBezTo>
                        <a:pt x="71" y="1"/>
                        <a:pt x="69" y="1"/>
                        <a:pt x="67" y="0"/>
                      </a:cubicBezTo>
                      <a:cubicBezTo>
                        <a:pt x="68" y="1"/>
                        <a:pt x="68" y="1"/>
                        <a:pt x="68" y="1"/>
                      </a:cubicBezTo>
                      <a:cubicBezTo>
                        <a:pt x="67" y="3"/>
                        <a:pt x="66" y="4"/>
                        <a:pt x="65" y="4"/>
                      </a:cubicBezTo>
                      <a:cubicBezTo>
                        <a:pt x="65" y="4"/>
                        <a:pt x="65" y="4"/>
                        <a:pt x="65" y="4"/>
                      </a:cubicBezTo>
                      <a:cubicBezTo>
                        <a:pt x="64" y="4"/>
                        <a:pt x="63" y="4"/>
                        <a:pt x="62" y="4"/>
                      </a:cubicBezTo>
                      <a:cubicBezTo>
                        <a:pt x="61" y="4"/>
                        <a:pt x="59" y="3"/>
                        <a:pt x="60" y="1"/>
                      </a:cubicBezTo>
                      <a:cubicBezTo>
                        <a:pt x="60" y="1"/>
                        <a:pt x="60" y="0"/>
                        <a:pt x="60" y="0"/>
                      </a:cubicBezTo>
                      <a:cubicBezTo>
                        <a:pt x="58" y="0"/>
                        <a:pt x="56" y="0"/>
                        <a:pt x="54" y="1"/>
                      </a:cubicBezTo>
                      <a:cubicBezTo>
                        <a:pt x="54" y="1"/>
                        <a:pt x="54" y="1"/>
                        <a:pt x="54" y="2"/>
                      </a:cubicBezTo>
                      <a:cubicBezTo>
                        <a:pt x="54" y="3"/>
                        <a:pt x="53" y="4"/>
                        <a:pt x="52" y="5"/>
                      </a:cubicBezTo>
                      <a:cubicBezTo>
                        <a:pt x="51" y="5"/>
                        <a:pt x="50" y="5"/>
                        <a:pt x="49" y="5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8" y="5"/>
                        <a:pt x="46" y="4"/>
                        <a:pt x="46" y="3"/>
                      </a:cubicBezTo>
                      <a:cubicBezTo>
                        <a:pt x="46" y="3"/>
                        <a:pt x="46" y="2"/>
                        <a:pt x="46" y="2"/>
                      </a:cubicBezTo>
                      <a:cubicBezTo>
                        <a:pt x="44" y="2"/>
                        <a:pt x="42" y="3"/>
                        <a:pt x="40" y="4"/>
                      </a:cubicBezTo>
                      <a:cubicBezTo>
                        <a:pt x="41" y="4"/>
                        <a:pt x="41" y="4"/>
                        <a:pt x="41" y="5"/>
                      </a:cubicBezTo>
                      <a:cubicBezTo>
                        <a:pt x="42" y="6"/>
                        <a:pt x="41" y="8"/>
                        <a:pt x="40" y="8"/>
                      </a:cubicBezTo>
                      <a:cubicBezTo>
                        <a:pt x="39" y="8"/>
                        <a:pt x="38" y="9"/>
                        <a:pt x="37" y="9"/>
                      </a:cubicBezTo>
                      <a:cubicBezTo>
                        <a:pt x="37" y="9"/>
                        <a:pt x="37" y="9"/>
                        <a:pt x="36" y="9"/>
                      </a:cubicBezTo>
                      <a:cubicBezTo>
                        <a:pt x="35" y="9"/>
                        <a:pt x="34" y="9"/>
                        <a:pt x="34" y="8"/>
                      </a:cubicBezTo>
                      <a:cubicBezTo>
                        <a:pt x="34" y="7"/>
                        <a:pt x="33" y="7"/>
                        <a:pt x="33" y="7"/>
                      </a:cubicBezTo>
                      <a:cubicBezTo>
                        <a:pt x="32" y="8"/>
                        <a:pt x="30" y="9"/>
                        <a:pt x="28" y="10"/>
                      </a:cubicBezTo>
                      <a:cubicBezTo>
                        <a:pt x="29" y="10"/>
                        <a:pt x="29" y="10"/>
                        <a:pt x="29" y="10"/>
                      </a:cubicBezTo>
                      <a:cubicBezTo>
                        <a:pt x="30" y="12"/>
                        <a:pt x="30" y="13"/>
                        <a:pt x="28" y="14"/>
                      </a:cubicBezTo>
                      <a:cubicBezTo>
                        <a:pt x="28" y="15"/>
                        <a:pt x="27" y="15"/>
                        <a:pt x="26" y="16"/>
                      </a:cubicBezTo>
                      <a:cubicBezTo>
                        <a:pt x="26" y="16"/>
                        <a:pt x="25" y="16"/>
                        <a:pt x="25" y="16"/>
                      </a:cubicBezTo>
                      <a:cubicBezTo>
                        <a:pt x="24" y="16"/>
                        <a:pt x="23" y="16"/>
                        <a:pt x="23" y="15"/>
                      </a:cubicBezTo>
                      <a:cubicBezTo>
                        <a:pt x="22" y="15"/>
                        <a:pt x="22" y="15"/>
                        <a:pt x="22" y="14"/>
                      </a:cubicBezTo>
                      <a:cubicBezTo>
                        <a:pt x="21" y="16"/>
                        <a:pt x="19" y="17"/>
                        <a:pt x="18" y="18"/>
                      </a:cubicBezTo>
                      <a:cubicBezTo>
                        <a:pt x="18" y="18"/>
                        <a:pt x="18" y="19"/>
                        <a:pt x="19" y="19"/>
                      </a:cubicBezTo>
                      <a:cubicBezTo>
                        <a:pt x="20" y="20"/>
                        <a:pt x="20" y="22"/>
                        <a:pt x="19" y="23"/>
                      </a:cubicBezTo>
                      <a:cubicBezTo>
                        <a:pt x="18" y="23"/>
                        <a:pt x="18" y="24"/>
                        <a:pt x="17" y="25"/>
                      </a:cubicBezTo>
                      <a:cubicBezTo>
                        <a:pt x="17" y="25"/>
                        <a:pt x="16" y="26"/>
                        <a:pt x="15" y="26"/>
                      </a:cubicBezTo>
                      <a:cubicBezTo>
                        <a:pt x="14" y="26"/>
                        <a:pt x="14" y="25"/>
                        <a:pt x="13" y="25"/>
                      </a:cubicBezTo>
                      <a:cubicBezTo>
                        <a:pt x="13" y="25"/>
                        <a:pt x="13" y="25"/>
                        <a:pt x="13" y="24"/>
                      </a:cubicBezTo>
                      <a:cubicBezTo>
                        <a:pt x="11" y="26"/>
                        <a:pt x="10" y="27"/>
                        <a:pt x="9" y="29"/>
                      </a:cubicBezTo>
                      <a:cubicBezTo>
                        <a:pt x="10" y="29"/>
                        <a:pt x="10" y="29"/>
                        <a:pt x="10" y="29"/>
                      </a:cubicBezTo>
                      <a:cubicBezTo>
                        <a:pt x="12" y="30"/>
                        <a:pt x="12" y="32"/>
                        <a:pt x="11" y="33"/>
                      </a:cubicBezTo>
                      <a:cubicBezTo>
                        <a:pt x="11" y="34"/>
                        <a:pt x="11" y="35"/>
                        <a:pt x="10" y="35"/>
                      </a:cubicBezTo>
                      <a:cubicBezTo>
                        <a:pt x="10" y="36"/>
                        <a:pt x="9" y="37"/>
                        <a:pt x="8" y="37"/>
                      </a:cubicBezTo>
                      <a:cubicBezTo>
                        <a:pt x="7" y="37"/>
                        <a:pt x="7" y="37"/>
                        <a:pt x="7" y="37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5" y="38"/>
                        <a:pt x="4" y="40"/>
                        <a:pt x="3" y="42"/>
                      </a:cubicBezTo>
                      <a:cubicBezTo>
                        <a:pt x="4" y="41"/>
                        <a:pt x="4" y="41"/>
                        <a:pt x="5" y="42"/>
                      </a:cubicBezTo>
                      <a:cubicBezTo>
                        <a:pt x="6" y="42"/>
                        <a:pt x="7" y="44"/>
                        <a:pt x="6" y="45"/>
                      </a:cubicBezTo>
                      <a:cubicBezTo>
                        <a:pt x="6" y="46"/>
                        <a:pt x="6" y="47"/>
                        <a:pt x="6" y="47"/>
                      </a:cubicBezTo>
                      <a:cubicBezTo>
                        <a:pt x="5" y="49"/>
                        <a:pt x="4" y="49"/>
                        <a:pt x="3" y="49"/>
                      </a:cubicBezTo>
                      <a:cubicBezTo>
                        <a:pt x="3" y="49"/>
                        <a:pt x="3" y="49"/>
                        <a:pt x="3" y="49"/>
                      </a:cubicBezTo>
                      <a:cubicBezTo>
                        <a:pt x="2" y="49"/>
                        <a:pt x="2" y="49"/>
                        <a:pt x="1" y="49"/>
                      </a:cubicBezTo>
                      <a:cubicBezTo>
                        <a:pt x="1" y="51"/>
                        <a:pt x="1" y="53"/>
                        <a:pt x="1" y="55"/>
                      </a:cubicBezTo>
                      <a:cubicBezTo>
                        <a:pt x="1" y="55"/>
                        <a:pt x="1" y="55"/>
                        <a:pt x="2" y="55"/>
                      </a:cubicBezTo>
                      <a:cubicBezTo>
                        <a:pt x="3" y="55"/>
                        <a:pt x="4" y="56"/>
                        <a:pt x="4" y="58"/>
                      </a:cubicBezTo>
                      <a:cubicBezTo>
                        <a:pt x="4" y="58"/>
                        <a:pt x="4" y="59"/>
                        <a:pt x="4" y="60"/>
                      </a:cubicBezTo>
                      <a:cubicBezTo>
                        <a:pt x="4" y="62"/>
                        <a:pt x="3" y="63"/>
                        <a:pt x="1" y="63"/>
                      </a:cubicBezTo>
                      <a:cubicBezTo>
                        <a:pt x="1" y="63"/>
                        <a:pt x="1" y="63"/>
                        <a:pt x="1" y="63"/>
                      </a:cubicBezTo>
                      <a:cubicBezTo>
                        <a:pt x="1" y="63"/>
                        <a:pt x="1" y="63"/>
                        <a:pt x="0" y="63"/>
                      </a:cubicBezTo>
                      <a:cubicBezTo>
                        <a:pt x="0" y="65"/>
                        <a:pt x="1" y="67"/>
                        <a:pt x="1" y="69"/>
                      </a:cubicBezTo>
                      <a:cubicBezTo>
                        <a:pt x="1" y="68"/>
                        <a:pt x="1" y="68"/>
                        <a:pt x="2" y="68"/>
                      </a:cubicBezTo>
                      <a:cubicBezTo>
                        <a:pt x="3" y="68"/>
                        <a:pt x="5" y="69"/>
                        <a:pt x="5" y="70"/>
                      </a:cubicBezTo>
                      <a:cubicBezTo>
                        <a:pt x="5" y="71"/>
                        <a:pt x="5" y="72"/>
                        <a:pt x="5" y="73"/>
                      </a:cubicBezTo>
                      <a:cubicBezTo>
                        <a:pt x="6" y="74"/>
                        <a:pt x="5" y="76"/>
                        <a:pt x="3" y="76"/>
                      </a:cubicBezTo>
                      <a:cubicBezTo>
                        <a:pt x="3" y="76"/>
                        <a:pt x="3" y="76"/>
                        <a:pt x="3" y="76"/>
                      </a:cubicBezTo>
                      <a:cubicBezTo>
                        <a:pt x="3" y="76"/>
                        <a:pt x="2" y="76"/>
                        <a:pt x="2" y="76"/>
                      </a:cubicBezTo>
                      <a:cubicBezTo>
                        <a:pt x="3" y="78"/>
                        <a:pt x="3" y="80"/>
                        <a:pt x="4" y="82"/>
                      </a:cubicBezTo>
                      <a:cubicBezTo>
                        <a:pt x="4" y="82"/>
                        <a:pt x="5" y="81"/>
                        <a:pt x="5" y="81"/>
                      </a:cubicBezTo>
                      <a:cubicBezTo>
                        <a:pt x="6" y="81"/>
                        <a:pt x="8" y="81"/>
                        <a:pt x="9" y="83"/>
                      </a:cubicBezTo>
                      <a:cubicBezTo>
                        <a:pt x="9" y="83"/>
                        <a:pt x="9" y="84"/>
                        <a:pt x="10" y="85"/>
                      </a:cubicBezTo>
                      <a:cubicBezTo>
                        <a:pt x="10" y="86"/>
                        <a:pt x="10" y="88"/>
                        <a:pt x="8" y="89"/>
                      </a:cubicBezTo>
                      <a:cubicBezTo>
                        <a:pt x="8" y="89"/>
                        <a:pt x="8" y="89"/>
                        <a:pt x="7" y="89"/>
                      </a:cubicBezTo>
                      <a:cubicBezTo>
                        <a:pt x="8" y="91"/>
                        <a:pt x="9" y="92"/>
                        <a:pt x="10" y="94"/>
                      </a:cubicBezTo>
                      <a:cubicBezTo>
                        <a:pt x="10" y="94"/>
                        <a:pt x="11" y="93"/>
                        <a:pt x="11" y="93"/>
                      </a:cubicBezTo>
                      <a:cubicBezTo>
                        <a:pt x="12" y="92"/>
                        <a:pt x="14" y="93"/>
                        <a:pt x="15" y="94"/>
                      </a:cubicBezTo>
                      <a:cubicBezTo>
                        <a:pt x="15" y="95"/>
                        <a:pt x="16" y="95"/>
                        <a:pt x="16" y="96"/>
                      </a:cubicBezTo>
                      <a:cubicBezTo>
                        <a:pt x="17" y="97"/>
                        <a:pt x="17" y="99"/>
                        <a:pt x="16" y="100"/>
                      </a:cubicBezTo>
                      <a:cubicBezTo>
                        <a:pt x="15" y="100"/>
                        <a:pt x="15" y="100"/>
                        <a:pt x="15" y="100"/>
                      </a:cubicBezTo>
                      <a:cubicBezTo>
                        <a:pt x="16" y="102"/>
                        <a:pt x="17" y="103"/>
                        <a:pt x="19" y="105"/>
                      </a:cubicBezTo>
                      <a:cubicBezTo>
                        <a:pt x="19" y="104"/>
                        <a:pt x="19" y="104"/>
                        <a:pt x="19" y="104"/>
                      </a:cubicBezTo>
                      <a:cubicBezTo>
                        <a:pt x="20" y="102"/>
                        <a:pt x="22" y="102"/>
                        <a:pt x="23" y="103"/>
                      </a:cubicBezTo>
                      <a:cubicBezTo>
                        <a:pt x="24" y="104"/>
                        <a:pt x="25" y="104"/>
                        <a:pt x="25" y="105"/>
                      </a:cubicBezTo>
                      <a:cubicBezTo>
                        <a:pt x="26" y="106"/>
                        <a:pt x="27" y="108"/>
                        <a:pt x="26" y="109"/>
                      </a:cubicBezTo>
                      <a:cubicBezTo>
                        <a:pt x="25" y="109"/>
                        <a:pt x="25" y="109"/>
                        <a:pt x="25" y="109"/>
                      </a:cubicBezTo>
                      <a:cubicBezTo>
                        <a:pt x="26" y="111"/>
                        <a:pt x="28" y="112"/>
                        <a:pt x="30" y="113"/>
                      </a:cubicBezTo>
                      <a:cubicBezTo>
                        <a:pt x="30" y="112"/>
                        <a:pt x="30" y="112"/>
                        <a:pt x="30" y="112"/>
                      </a:cubicBezTo>
                      <a:cubicBezTo>
                        <a:pt x="31" y="110"/>
                        <a:pt x="32" y="110"/>
                        <a:pt x="34" y="111"/>
                      </a:cubicBezTo>
                      <a:cubicBezTo>
                        <a:pt x="34" y="111"/>
                        <a:pt x="35" y="112"/>
                        <a:pt x="36" y="112"/>
                      </a:cubicBezTo>
                      <a:cubicBezTo>
                        <a:pt x="37" y="113"/>
                        <a:pt x="38" y="114"/>
                        <a:pt x="37" y="116"/>
                      </a:cubicBezTo>
                      <a:cubicBezTo>
                        <a:pt x="37" y="116"/>
                        <a:pt x="37" y="116"/>
                        <a:pt x="36" y="116"/>
                      </a:cubicBezTo>
                      <a:cubicBezTo>
                        <a:pt x="38" y="117"/>
                        <a:pt x="40" y="118"/>
                        <a:pt x="42" y="119"/>
                      </a:cubicBezTo>
                      <a:cubicBezTo>
                        <a:pt x="42" y="118"/>
                        <a:pt x="42" y="118"/>
                        <a:pt x="42" y="117"/>
                      </a:cubicBezTo>
                      <a:cubicBezTo>
                        <a:pt x="43" y="116"/>
                        <a:pt x="44" y="115"/>
                        <a:pt x="46" y="116"/>
                      </a:cubicBezTo>
                      <a:cubicBezTo>
                        <a:pt x="46" y="116"/>
                        <a:pt x="47" y="116"/>
                        <a:pt x="48" y="116"/>
                      </a:cubicBezTo>
                      <a:cubicBezTo>
                        <a:pt x="49" y="117"/>
                        <a:pt x="50" y="118"/>
                        <a:pt x="50" y="119"/>
                      </a:cubicBezTo>
                      <a:cubicBezTo>
                        <a:pt x="50" y="120"/>
                        <a:pt x="50" y="120"/>
                        <a:pt x="50" y="120"/>
                      </a:cubicBezTo>
                      <a:cubicBezTo>
                        <a:pt x="52" y="121"/>
                        <a:pt x="54" y="121"/>
                        <a:pt x="56" y="121"/>
                      </a:cubicBezTo>
                      <a:cubicBezTo>
                        <a:pt x="55" y="121"/>
                        <a:pt x="55" y="121"/>
                        <a:pt x="55" y="120"/>
                      </a:cubicBezTo>
                      <a:cubicBezTo>
                        <a:pt x="55" y="119"/>
                        <a:pt x="57" y="118"/>
                        <a:pt x="58" y="118"/>
                      </a:cubicBezTo>
                      <a:cubicBezTo>
                        <a:pt x="59" y="118"/>
                        <a:pt x="60" y="118"/>
                        <a:pt x="61" y="118"/>
                      </a:cubicBezTo>
                      <a:cubicBezTo>
                        <a:pt x="62" y="118"/>
                        <a:pt x="63" y="119"/>
                        <a:pt x="63" y="120"/>
                      </a:cubicBezTo>
                      <a:cubicBezTo>
                        <a:pt x="63" y="121"/>
                        <a:pt x="63" y="121"/>
                        <a:pt x="63" y="122"/>
                      </a:cubicBezTo>
                      <a:cubicBezTo>
                        <a:pt x="65" y="121"/>
                        <a:pt x="67" y="121"/>
                        <a:pt x="69" y="121"/>
                      </a:cubicBezTo>
                      <a:cubicBezTo>
                        <a:pt x="69" y="121"/>
                        <a:pt x="69" y="120"/>
                        <a:pt x="69" y="120"/>
                      </a:cubicBezTo>
                      <a:cubicBezTo>
                        <a:pt x="69" y="119"/>
                        <a:pt x="69" y="117"/>
                        <a:pt x="71" y="117"/>
                      </a:cubicBezTo>
                      <a:cubicBezTo>
                        <a:pt x="72" y="117"/>
                        <a:pt x="73" y="117"/>
                        <a:pt x="73" y="116"/>
                      </a:cubicBezTo>
                      <a:cubicBezTo>
                        <a:pt x="75" y="116"/>
                        <a:pt x="76" y="117"/>
                        <a:pt x="77" y="118"/>
                      </a:cubicBezTo>
                      <a:cubicBezTo>
                        <a:pt x="77" y="119"/>
                        <a:pt x="77" y="119"/>
                        <a:pt x="77" y="120"/>
                      </a:cubicBezTo>
                      <a:cubicBezTo>
                        <a:pt x="79" y="119"/>
                        <a:pt x="81" y="118"/>
                        <a:pt x="83" y="118"/>
                      </a:cubicBezTo>
                      <a:cubicBezTo>
                        <a:pt x="82" y="117"/>
                        <a:pt x="82" y="117"/>
                        <a:pt x="82" y="117"/>
                      </a:cubicBezTo>
                      <a:cubicBezTo>
                        <a:pt x="81" y="115"/>
                        <a:pt x="82" y="114"/>
                        <a:pt x="83" y="113"/>
                      </a:cubicBezTo>
                      <a:cubicBezTo>
                        <a:pt x="84" y="113"/>
                        <a:pt x="85" y="113"/>
                        <a:pt x="86" y="112"/>
                      </a:cubicBezTo>
                      <a:cubicBezTo>
                        <a:pt x="87" y="112"/>
                        <a:pt x="89" y="112"/>
                        <a:pt x="89" y="113"/>
                      </a:cubicBezTo>
                      <a:cubicBezTo>
                        <a:pt x="89" y="114"/>
                        <a:pt x="89" y="114"/>
                        <a:pt x="89" y="115"/>
                      </a:cubicBezTo>
                      <a:cubicBezTo>
                        <a:pt x="91" y="114"/>
                        <a:pt x="93" y="113"/>
                        <a:pt x="95" y="111"/>
                      </a:cubicBezTo>
                      <a:cubicBezTo>
                        <a:pt x="94" y="111"/>
                        <a:pt x="94" y="111"/>
                        <a:pt x="94" y="111"/>
                      </a:cubicBezTo>
                      <a:cubicBezTo>
                        <a:pt x="93" y="110"/>
                        <a:pt x="93" y="108"/>
                        <a:pt x="94" y="107"/>
                      </a:cubicBezTo>
                      <a:cubicBezTo>
                        <a:pt x="95" y="107"/>
                        <a:pt x="96" y="106"/>
                        <a:pt x="96" y="105"/>
                      </a:cubicBezTo>
                      <a:cubicBezTo>
                        <a:pt x="98" y="105"/>
                        <a:pt x="99" y="105"/>
                        <a:pt x="100" y="106"/>
                      </a:cubicBezTo>
                      <a:cubicBezTo>
                        <a:pt x="100" y="106"/>
                        <a:pt x="101" y="107"/>
                        <a:pt x="101" y="107"/>
                      </a:cubicBezTo>
                      <a:cubicBezTo>
                        <a:pt x="102" y="106"/>
                        <a:pt x="104" y="104"/>
                        <a:pt x="105" y="103"/>
                      </a:cubicBezTo>
                      <a:cubicBezTo>
                        <a:pt x="105" y="103"/>
                        <a:pt x="104" y="102"/>
                        <a:pt x="104" y="102"/>
                      </a:cubicBezTo>
                      <a:cubicBezTo>
                        <a:pt x="103" y="101"/>
                        <a:pt x="103" y="100"/>
                        <a:pt x="104" y="98"/>
                      </a:cubicBezTo>
                      <a:cubicBezTo>
                        <a:pt x="104" y="98"/>
                        <a:pt x="105" y="97"/>
                        <a:pt x="106" y="96"/>
                      </a:cubicBezTo>
                      <a:cubicBezTo>
                        <a:pt x="106" y="95"/>
                        <a:pt x="108" y="95"/>
                        <a:pt x="109" y="96"/>
                      </a:cubicBezTo>
                      <a:cubicBezTo>
                        <a:pt x="110" y="96"/>
                        <a:pt x="110" y="97"/>
                        <a:pt x="110" y="97"/>
                      </a:cubicBezTo>
                      <a:cubicBezTo>
                        <a:pt x="111" y="95"/>
                        <a:pt x="112" y="94"/>
                        <a:pt x="113" y="92"/>
                      </a:cubicBezTo>
                      <a:cubicBezTo>
                        <a:pt x="113" y="92"/>
                        <a:pt x="113" y="92"/>
                        <a:pt x="112" y="92"/>
                      </a:cubicBezTo>
                      <a:cubicBezTo>
                        <a:pt x="111" y="91"/>
                        <a:pt x="110" y="89"/>
                        <a:pt x="111" y="88"/>
                      </a:cubicBezTo>
                      <a:cubicBezTo>
                        <a:pt x="112" y="87"/>
                        <a:pt x="112" y="86"/>
                        <a:pt x="112" y="86"/>
                      </a:cubicBezTo>
                      <a:cubicBezTo>
                        <a:pt x="113" y="84"/>
                        <a:pt x="115" y="84"/>
                        <a:pt x="116" y="84"/>
                      </a:cubicBezTo>
                      <a:cubicBezTo>
                        <a:pt x="116" y="85"/>
                        <a:pt x="117" y="85"/>
                        <a:pt x="117" y="85"/>
                      </a:cubicBezTo>
                      <a:cubicBezTo>
                        <a:pt x="118" y="83"/>
                        <a:pt x="118" y="81"/>
                        <a:pt x="119" y="79"/>
                      </a:cubicBezTo>
                      <a:cubicBezTo>
                        <a:pt x="119" y="79"/>
                        <a:pt x="119" y="79"/>
                        <a:pt x="119" y="79"/>
                      </a:cubicBezTo>
                      <a:cubicBezTo>
                        <a:pt x="118" y="79"/>
                        <a:pt x="118" y="79"/>
                        <a:pt x="118" y="79"/>
                      </a:cubicBezTo>
                      <a:cubicBezTo>
                        <a:pt x="116" y="79"/>
                        <a:pt x="116" y="77"/>
                        <a:pt x="116" y="76"/>
                      </a:cubicBezTo>
                      <a:cubicBezTo>
                        <a:pt x="116" y="75"/>
                        <a:pt x="116" y="74"/>
                        <a:pt x="117" y="74"/>
                      </a:cubicBezTo>
                      <a:cubicBezTo>
                        <a:pt x="117" y="72"/>
                        <a:pt x="118" y="71"/>
                        <a:pt x="120" y="72"/>
                      </a:cubicBezTo>
                      <a:cubicBezTo>
                        <a:pt x="120" y="72"/>
                        <a:pt x="121" y="72"/>
                        <a:pt x="121" y="72"/>
                      </a:cubicBezTo>
                      <a:cubicBezTo>
                        <a:pt x="121" y="70"/>
                        <a:pt x="121" y="68"/>
                        <a:pt x="122" y="66"/>
                      </a:cubicBezTo>
                      <a:cubicBezTo>
                        <a:pt x="121" y="66"/>
                        <a:pt x="121" y="66"/>
                        <a:pt x="121" y="66"/>
                      </a:cubicBezTo>
                      <a:cubicBezTo>
                        <a:pt x="121" y="66"/>
                        <a:pt x="121" y="66"/>
                        <a:pt x="121" y="66"/>
                      </a:cubicBezTo>
                      <a:close/>
                      <a:moveTo>
                        <a:pt x="61" y="106"/>
                      </a:moveTo>
                      <a:cubicBezTo>
                        <a:pt x="36" y="106"/>
                        <a:pt x="16" y="86"/>
                        <a:pt x="16" y="61"/>
                      </a:cubicBezTo>
                      <a:cubicBezTo>
                        <a:pt x="16" y="36"/>
                        <a:pt x="36" y="15"/>
                        <a:pt x="61" y="15"/>
                      </a:cubicBezTo>
                      <a:cubicBezTo>
                        <a:pt x="86" y="15"/>
                        <a:pt x="106" y="36"/>
                        <a:pt x="106" y="61"/>
                      </a:cubicBezTo>
                      <a:cubicBezTo>
                        <a:pt x="106" y="86"/>
                        <a:pt x="86" y="106"/>
                        <a:pt x="61" y="106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95" name="组合 94"/>
            <p:cNvGrpSpPr/>
            <p:nvPr userDrawn="1"/>
          </p:nvGrpSpPr>
          <p:grpSpPr>
            <a:xfrm>
              <a:off x="1186401" y="366870"/>
              <a:ext cx="514249" cy="514249"/>
              <a:chOff x="9065817" y="4776360"/>
              <a:chExt cx="828000" cy="828000"/>
            </a:xfrm>
          </p:grpSpPr>
          <p:sp>
            <p:nvSpPr>
              <p:cNvPr id="96" name="Oval 33"/>
              <p:cNvSpPr>
                <a:spLocks noChangeArrowheads="1"/>
              </p:cNvSpPr>
              <p:nvPr/>
            </p:nvSpPr>
            <p:spPr bwMode="auto">
              <a:xfrm>
                <a:off x="9065817" y="4776360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97" name="Oval 33"/>
              <p:cNvSpPr>
                <a:spLocks noChangeArrowheads="1"/>
              </p:cNvSpPr>
              <p:nvPr/>
            </p:nvSpPr>
            <p:spPr bwMode="auto">
              <a:xfrm>
                <a:off x="9119817" y="4830360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98" name="Freeform 29"/>
              <p:cNvSpPr>
                <a:spLocks noEditPoints="1" noChangeArrowheads="1"/>
              </p:cNvSpPr>
              <p:nvPr/>
            </p:nvSpPr>
            <p:spPr bwMode="auto">
              <a:xfrm>
                <a:off x="9245817" y="4902360"/>
                <a:ext cx="468000" cy="576000"/>
              </a:xfrm>
              <a:custGeom>
                <a:avLst/>
                <a:gdLst>
                  <a:gd name="T0" fmla="*/ 90 w 142"/>
                  <a:gd name="T1" fmla="*/ 141 h 165"/>
                  <a:gd name="T2" fmla="*/ 92 w 142"/>
                  <a:gd name="T3" fmla="*/ 148 h 165"/>
                  <a:gd name="T4" fmla="*/ 51 w 142"/>
                  <a:gd name="T5" fmla="*/ 150 h 165"/>
                  <a:gd name="T6" fmla="*/ 49 w 142"/>
                  <a:gd name="T7" fmla="*/ 144 h 165"/>
                  <a:gd name="T8" fmla="*/ 51 w 142"/>
                  <a:gd name="T9" fmla="*/ 141 h 165"/>
                  <a:gd name="T10" fmla="*/ 85 w 142"/>
                  <a:gd name="T11" fmla="*/ 160 h 165"/>
                  <a:gd name="T12" fmla="*/ 61 w 142"/>
                  <a:gd name="T13" fmla="*/ 165 h 165"/>
                  <a:gd name="T14" fmla="*/ 56 w 142"/>
                  <a:gd name="T15" fmla="*/ 155 h 165"/>
                  <a:gd name="T16" fmla="*/ 71 w 142"/>
                  <a:gd name="T17" fmla="*/ 38 h 165"/>
                  <a:gd name="T18" fmla="*/ 89 w 142"/>
                  <a:gd name="T19" fmla="*/ 136 h 165"/>
                  <a:gd name="T20" fmla="*/ 34 w 142"/>
                  <a:gd name="T21" fmla="*/ 74 h 165"/>
                  <a:gd name="T22" fmla="*/ 71 w 142"/>
                  <a:gd name="T23" fmla="*/ 38 h 165"/>
                  <a:gd name="T24" fmla="*/ 78 w 142"/>
                  <a:gd name="T25" fmla="*/ 45 h 165"/>
                  <a:gd name="T26" fmla="*/ 85 w 142"/>
                  <a:gd name="T27" fmla="*/ 49 h 165"/>
                  <a:gd name="T28" fmla="*/ 77 w 142"/>
                  <a:gd name="T29" fmla="*/ 48 h 165"/>
                  <a:gd name="T30" fmla="*/ 54 w 142"/>
                  <a:gd name="T31" fmla="*/ 58 h 165"/>
                  <a:gd name="T32" fmla="*/ 45 w 142"/>
                  <a:gd name="T33" fmla="*/ 75 h 165"/>
                  <a:gd name="T34" fmla="*/ 43 w 142"/>
                  <a:gd name="T35" fmla="*/ 89 h 165"/>
                  <a:gd name="T36" fmla="*/ 41 w 142"/>
                  <a:gd name="T37" fmla="*/ 81 h 165"/>
                  <a:gd name="T38" fmla="*/ 41 w 142"/>
                  <a:gd name="T39" fmla="*/ 65 h 165"/>
                  <a:gd name="T40" fmla="*/ 50 w 142"/>
                  <a:gd name="T41" fmla="*/ 52 h 165"/>
                  <a:gd name="T42" fmla="*/ 71 w 142"/>
                  <a:gd name="T43" fmla="*/ 44 h 165"/>
                  <a:gd name="T44" fmla="*/ 75 w 142"/>
                  <a:gd name="T45" fmla="*/ 44 h 165"/>
                  <a:gd name="T46" fmla="*/ 75 w 142"/>
                  <a:gd name="T47" fmla="*/ 0 h 165"/>
                  <a:gd name="T48" fmla="*/ 71 w 142"/>
                  <a:gd name="T49" fmla="*/ 25 h 165"/>
                  <a:gd name="T50" fmla="*/ 67 w 142"/>
                  <a:gd name="T51" fmla="*/ 0 h 165"/>
                  <a:gd name="T52" fmla="*/ 124 w 142"/>
                  <a:gd name="T53" fmla="*/ 24 h 165"/>
                  <a:gd name="T54" fmla="*/ 101 w 142"/>
                  <a:gd name="T55" fmla="*/ 35 h 165"/>
                  <a:gd name="T56" fmla="*/ 37 w 142"/>
                  <a:gd name="T57" fmla="*/ 111 h 165"/>
                  <a:gd name="T58" fmla="*/ 18 w 142"/>
                  <a:gd name="T59" fmla="*/ 118 h 165"/>
                  <a:gd name="T60" fmla="*/ 37 w 142"/>
                  <a:gd name="T61" fmla="*/ 111 h 165"/>
                  <a:gd name="T62" fmla="*/ 24 w 142"/>
                  <a:gd name="T63" fmla="*/ 18 h 165"/>
                  <a:gd name="T64" fmla="*/ 34 w 142"/>
                  <a:gd name="T65" fmla="*/ 41 h 165"/>
                  <a:gd name="T66" fmla="*/ 24 w 142"/>
                  <a:gd name="T67" fmla="*/ 18 h 165"/>
                  <a:gd name="T68" fmla="*/ 118 w 142"/>
                  <a:gd name="T69" fmla="*/ 124 h 165"/>
                  <a:gd name="T70" fmla="*/ 111 w 142"/>
                  <a:gd name="T71" fmla="*/ 105 h 165"/>
                  <a:gd name="T72" fmla="*/ 105 w 142"/>
                  <a:gd name="T73" fmla="*/ 111 h 165"/>
                  <a:gd name="T74" fmla="*/ 142 w 142"/>
                  <a:gd name="T75" fmla="*/ 75 h 165"/>
                  <a:gd name="T76" fmla="*/ 121 w 142"/>
                  <a:gd name="T77" fmla="*/ 75 h 165"/>
                  <a:gd name="T78" fmla="*/ 142 w 142"/>
                  <a:gd name="T79" fmla="*/ 67 h 165"/>
                  <a:gd name="T80" fmla="*/ 0 w 142"/>
                  <a:gd name="T81" fmla="*/ 75 h 165"/>
                  <a:gd name="T82" fmla="*/ 22 w 142"/>
                  <a:gd name="T83" fmla="*/ 67 h 165"/>
                  <a:gd name="T84" fmla="*/ 21 w 142"/>
                  <a:gd name="T85" fmla="*/ 75 h 16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2"/>
                  <a:gd name="T130" fmla="*/ 0 h 165"/>
                  <a:gd name="T131" fmla="*/ 142 w 142"/>
                  <a:gd name="T132" fmla="*/ 165 h 16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2" h="165">
                    <a:moveTo>
                      <a:pt x="51" y="141"/>
                    </a:moveTo>
                    <a:cubicBezTo>
                      <a:pt x="90" y="141"/>
                      <a:pt x="90" y="141"/>
                      <a:pt x="90" y="141"/>
                    </a:cubicBezTo>
                    <a:cubicBezTo>
                      <a:pt x="91" y="141"/>
                      <a:pt x="92" y="143"/>
                      <a:pt x="92" y="144"/>
                    </a:cubicBezTo>
                    <a:cubicBezTo>
                      <a:pt x="92" y="148"/>
                      <a:pt x="92" y="148"/>
                      <a:pt x="92" y="148"/>
                    </a:cubicBezTo>
                    <a:cubicBezTo>
                      <a:pt x="92" y="149"/>
                      <a:pt x="91" y="150"/>
                      <a:pt x="90" y="150"/>
                    </a:cubicBezTo>
                    <a:cubicBezTo>
                      <a:pt x="51" y="150"/>
                      <a:pt x="51" y="150"/>
                      <a:pt x="51" y="150"/>
                    </a:cubicBezTo>
                    <a:cubicBezTo>
                      <a:pt x="50" y="150"/>
                      <a:pt x="49" y="149"/>
                      <a:pt x="49" y="148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49" y="143"/>
                      <a:pt x="50" y="141"/>
                      <a:pt x="51" y="141"/>
                    </a:cubicBezTo>
                    <a:cubicBezTo>
                      <a:pt x="51" y="141"/>
                      <a:pt x="51" y="141"/>
                      <a:pt x="51" y="141"/>
                    </a:cubicBezTo>
                    <a:close/>
                    <a:moveTo>
                      <a:pt x="85" y="155"/>
                    </a:moveTo>
                    <a:cubicBezTo>
                      <a:pt x="85" y="160"/>
                      <a:pt x="85" y="160"/>
                      <a:pt x="85" y="160"/>
                    </a:cubicBezTo>
                    <a:cubicBezTo>
                      <a:pt x="85" y="162"/>
                      <a:pt x="83" y="165"/>
                      <a:pt x="80" y="165"/>
                    </a:cubicBezTo>
                    <a:cubicBezTo>
                      <a:pt x="61" y="165"/>
                      <a:pt x="61" y="165"/>
                      <a:pt x="61" y="165"/>
                    </a:cubicBezTo>
                    <a:cubicBezTo>
                      <a:pt x="58" y="165"/>
                      <a:pt x="56" y="162"/>
                      <a:pt x="56" y="160"/>
                    </a:cubicBezTo>
                    <a:cubicBezTo>
                      <a:pt x="56" y="155"/>
                      <a:pt x="56" y="155"/>
                      <a:pt x="56" y="155"/>
                    </a:cubicBezTo>
                    <a:cubicBezTo>
                      <a:pt x="85" y="155"/>
                      <a:pt x="85" y="155"/>
                      <a:pt x="85" y="155"/>
                    </a:cubicBezTo>
                    <a:close/>
                    <a:moveTo>
                      <a:pt x="71" y="38"/>
                    </a:moveTo>
                    <a:cubicBezTo>
                      <a:pt x="91" y="38"/>
                      <a:pt x="107" y="54"/>
                      <a:pt x="107" y="74"/>
                    </a:cubicBezTo>
                    <a:cubicBezTo>
                      <a:pt x="107" y="97"/>
                      <a:pt x="89" y="103"/>
                      <a:pt x="89" y="136"/>
                    </a:cubicBezTo>
                    <a:cubicBezTo>
                      <a:pt x="52" y="136"/>
                      <a:pt x="52" y="136"/>
                      <a:pt x="52" y="136"/>
                    </a:cubicBezTo>
                    <a:cubicBezTo>
                      <a:pt x="52" y="103"/>
                      <a:pt x="34" y="97"/>
                      <a:pt x="34" y="74"/>
                    </a:cubicBezTo>
                    <a:cubicBezTo>
                      <a:pt x="34" y="54"/>
                      <a:pt x="50" y="38"/>
                      <a:pt x="71" y="38"/>
                    </a:cubicBezTo>
                    <a:cubicBezTo>
                      <a:pt x="71" y="38"/>
                      <a:pt x="71" y="38"/>
                      <a:pt x="71" y="38"/>
                    </a:cubicBezTo>
                    <a:close/>
                    <a:moveTo>
                      <a:pt x="75" y="44"/>
                    </a:moveTo>
                    <a:cubicBezTo>
                      <a:pt x="78" y="45"/>
                      <a:pt x="78" y="45"/>
                      <a:pt x="78" y="45"/>
                    </a:cubicBezTo>
                    <a:cubicBezTo>
                      <a:pt x="83" y="46"/>
                      <a:pt x="86" y="48"/>
                      <a:pt x="90" y="51"/>
                    </a:cubicBezTo>
                    <a:cubicBezTo>
                      <a:pt x="88" y="50"/>
                      <a:pt x="87" y="50"/>
                      <a:pt x="85" y="49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0" y="48"/>
                      <a:pt x="79" y="48"/>
                      <a:pt x="77" y="48"/>
                    </a:cubicBezTo>
                    <a:cubicBezTo>
                      <a:pt x="74" y="48"/>
                      <a:pt x="71" y="48"/>
                      <a:pt x="69" y="49"/>
                    </a:cubicBezTo>
                    <a:cubicBezTo>
                      <a:pt x="63" y="51"/>
                      <a:pt x="59" y="54"/>
                      <a:pt x="54" y="58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9" y="65"/>
                      <a:pt x="46" y="69"/>
                      <a:pt x="45" y="75"/>
                    </a:cubicBezTo>
                    <a:cubicBezTo>
                      <a:pt x="44" y="79"/>
                      <a:pt x="44" y="79"/>
                      <a:pt x="44" y="79"/>
                    </a:cubicBezTo>
                    <a:cubicBezTo>
                      <a:pt x="43" y="82"/>
                      <a:pt x="43" y="85"/>
                      <a:pt x="43" y="89"/>
                    </a:cubicBezTo>
                    <a:cubicBezTo>
                      <a:pt x="43" y="87"/>
                      <a:pt x="42" y="85"/>
                      <a:pt x="41" y="84"/>
                    </a:cubicBezTo>
                    <a:cubicBezTo>
                      <a:pt x="41" y="81"/>
                      <a:pt x="41" y="81"/>
                      <a:pt x="41" y="81"/>
                    </a:cubicBezTo>
                    <a:cubicBezTo>
                      <a:pt x="40" y="77"/>
                      <a:pt x="40" y="73"/>
                      <a:pt x="41" y="68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3" y="61"/>
                      <a:pt x="45" y="58"/>
                      <a:pt x="48" y="54"/>
                    </a:cubicBezTo>
                    <a:cubicBezTo>
                      <a:pt x="50" y="52"/>
                      <a:pt x="50" y="52"/>
                      <a:pt x="50" y="52"/>
                    </a:cubicBezTo>
                    <a:cubicBezTo>
                      <a:pt x="54" y="48"/>
                      <a:pt x="58" y="46"/>
                      <a:pt x="63" y="45"/>
                    </a:cubicBezTo>
                    <a:cubicBezTo>
                      <a:pt x="66" y="44"/>
                      <a:pt x="68" y="44"/>
                      <a:pt x="71" y="44"/>
                    </a:cubicBezTo>
                    <a:cubicBezTo>
                      <a:pt x="72" y="44"/>
                      <a:pt x="74" y="44"/>
                      <a:pt x="75" y="44"/>
                    </a:cubicBezTo>
                    <a:cubicBezTo>
                      <a:pt x="75" y="44"/>
                      <a:pt x="75" y="44"/>
                      <a:pt x="75" y="44"/>
                    </a:cubicBezTo>
                    <a:close/>
                    <a:moveTo>
                      <a:pt x="67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75" y="25"/>
                      <a:pt x="75" y="25"/>
                      <a:pt x="75" y="25"/>
                    </a:cubicBezTo>
                    <a:cubicBezTo>
                      <a:pt x="74" y="25"/>
                      <a:pt x="72" y="25"/>
                      <a:pt x="71" y="25"/>
                    </a:cubicBezTo>
                    <a:cubicBezTo>
                      <a:pt x="69" y="25"/>
                      <a:pt x="68" y="25"/>
                      <a:pt x="67" y="25"/>
                    </a:cubicBezTo>
                    <a:cubicBezTo>
                      <a:pt x="67" y="0"/>
                      <a:pt x="67" y="0"/>
                      <a:pt x="67" y="0"/>
                    </a:cubicBezTo>
                    <a:close/>
                    <a:moveTo>
                      <a:pt x="118" y="18"/>
                    </a:moveTo>
                    <a:cubicBezTo>
                      <a:pt x="124" y="24"/>
                      <a:pt x="124" y="24"/>
                      <a:pt x="124" y="24"/>
                    </a:cubicBezTo>
                    <a:cubicBezTo>
                      <a:pt x="107" y="41"/>
                      <a:pt x="107" y="41"/>
                      <a:pt x="107" y="41"/>
                    </a:cubicBezTo>
                    <a:cubicBezTo>
                      <a:pt x="105" y="39"/>
                      <a:pt x="103" y="37"/>
                      <a:pt x="101" y="35"/>
                    </a:cubicBezTo>
                    <a:cubicBezTo>
                      <a:pt x="118" y="18"/>
                      <a:pt x="118" y="18"/>
                      <a:pt x="118" y="18"/>
                    </a:cubicBezTo>
                    <a:close/>
                    <a:moveTo>
                      <a:pt x="37" y="111"/>
                    </a:moveTo>
                    <a:cubicBezTo>
                      <a:pt x="24" y="124"/>
                      <a:pt x="24" y="124"/>
                      <a:pt x="24" y="124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31" y="105"/>
                      <a:pt x="31" y="105"/>
                      <a:pt x="31" y="105"/>
                    </a:cubicBezTo>
                    <a:cubicBezTo>
                      <a:pt x="33" y="107"/>
                      <a:pt x="35" y="109"/>
                      <a:pt x="37" y="111"/>
                    </a:cubicBezTo>
                    <a:cubicBezTo>
                      <a:pt x="37" y="111"/>
                      <a:pt x="37" y="111"/>
                      <a:pt x="37" y="111"/>
                    </a:cubicBezTo>
                    <a:close/>
                    <a:moveTo>
                      <a:pt x="24" y="18"/>
                    </a:moveTo>
                    <a:cubicBezTo>
                      <a:pt x="18" y="24"/>
                      <a:pt x="18" y="24"/>
                      <a:pt x="18" y="24"/>
                    </a:cubicBezTo>
                    <a:cubicBezTo>
                      <a:pt x="34" y="41"/>
                      <a:pt x="34" y="41"/>
                      <a:pt x="34" y="41"/>
                    </a:cubicBezTo>
                    <a:cubicBezTo>
                      <a:pt x="37" y="39"/>
                      <a:pt x="39" y="37"/>
                      <a:pt x="41" y="35"/>
                    </a:cubicBezTo>
                    <a:cubicBezTo>
                      <a:pt x="24" y="18"/>
                      <a:pt x="24" y="18"/>
                      <a:pt x="24" y="18"/>
                    </a:cubicBezTo>
                    <a:close/>
                    <a:moveTo>
                      <a:pt x="105" y="111"/>
                    </a:moveTo>
                    <a:cubicBezTo>
                      <a:pt x="118" y="124"/>
                      <a:pt x="118" y="124"/>
                      <a:pt x="118" y="124"/>
                    </a:cubicBezTo>
                    <a:cubicBezTo>
                      <a:pt x="124" y="118"/>
                      <a:pt x="124" y="118"/>
                      <a:pt x="124" y="118"/>
                    </a:cubicBezTo>
                    <a:cubicBezTo>
                      <a:pt x="111" y="105"/>
                      <a:pt x="111" y="105"/>
                      <a:pt x="111" y="105"/>
                    </a:cubicBezTo>
                    <a:cubicBezTo>
                      <a:pt x="109" y="107"/>
                      <a:pt x="107" y="109"/>
                      <a:pt x="105" y="111"/>
                    </a:cubicBezTo>
                    <a:cubicBezTo>
                      <a:pt x="105" y="111"/>
                      <a:pt x="105" y="111"/>
                      <a:pt x="105" y="111"/>
                    </a:cubicBezTo>
                    <a:close/>
                    <a:moveTo>
                      <a:pt x="142" y="67"/>
                    </a:moveTo>
                    <a:cubicBezTo>
                      <a:pt x="142" y="75"/>
                      <a:pt x="142" y="75"/>
                      <a:pt x="142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1" y="72"/>
                      <a:pt x="120" y="69"/>
                      <a:pt x="120" y="67"/>
                    </a:cubicBezTo>
                    <a:cubicBezTo>
                      <a:pt x="142" y="67"/>
                      <a:pt x="142" y="67"/>
                      <a:pt x="142" y="67"/>
                    </a:cubicBezTo>
                    <a:close/>
                    <a:moveTo>
                      <a:pt x="21" y="75"/>
                    </a:moveTo>
                    <a:cubicBezTo>
                      <a:pt x="0" y="75"/>
                      <a:pt x="0" y="75"/>
                      <a:pt x="0" y="75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21" y="69"/>
                      <a:pt x="21" y="72"/>
                      <a:pt x="21" y="75"/>
                    </a:cubicBezTo>
                    <a:cubicBezTo>
                      <a:pt x="21" y="75"/>
                      <a:pt x="21" y="75"/>
                      <a:pt x="21" y="75"/>
                    </a:cubicBezTo>
                    <a:cubicBezTo>
                      <a:pt x="21" y="75"/>
                      <a:pt x="21" y="75"/>
                      <a:pt x="21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rgbClr val="000000"/>
                    </a:solidFill>
                    <a:bevel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zh-CN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</p:grpSp>
        <p:grpSp>
          <p:nvGrpSpPr>
            <p:cNvPr id="99" name="组合 98"/>
            <p:cNvGrpSpPr/>
            <p:nvPr userDrawn="1"/>
          </p:nvGrpSpPr>
          <p:grpSpPr>
            <a:xfrm>
              <a:off x="2085800" y="366870"/>
              <a:ext cx="514249" cy="514249"/>
              <a:chOff x="9935736" y="794100"/>
              <a:chExt cx="828000" cy="828000"/>
            </a:xfrm>
          </p:grpSpPr>
          <p:sp>
            <p:nvSpPr>
              <p:cNvPr id="100" name="Oval 33"/>
              <p:cNvSpPr>
                <a:spLocks noChangeArrowheads="1"/>
              </p:cNvSpPr>
              <p:nvPr/>
            </p:nvSpPr>
            <p:spPr bwMode="auto">
              <a:xfrm>
                <a:off x="9935736" y="794100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101" name="Oval 33"/>
              <p:cNvSpPr>
                <a:spLocks noChangeArrowheads="1"/>
              </p:cNvSpPr>
              <p:nvPr/>
            </p:nvSpPr>
            <p:spPr bwMode="auto">
              <a:xfrm>
                <a:off x="9989736" y="848100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102" name="组合 101"/>
              <p:cNvGrpSpPr/>
              <p:nvPr/>
            </p:nvGrpSpPr>
            <p:grpSpPr>
              <a:xfrm>
                <a:off x="10221099" y="992100"/>
                <a:ext cx="324000" cy="432000"/>
                <a:chOff x="3011764" y="4118564"/>
                <a:chExt cx="256862" cy="380114"/>
              </a:xfrm>
            </p:grpSpPr>
            <p:sp>
              <p:nvSpPr>
                <p:cNvPr id="103" name="Freeform 191"/>
                <p:cNvSpPr>
                  <a:spLocks/>
                </p:cNvSpPr>
                <p:nvPr/>
              </p:nvSpPr>
              <p:spPr bwMode="auto">
                <a:xfrm>
                  <a:off x="3036621" y="4190029"/>
                  <a:ext cx="48680" cy="43501"/>
                </a:xfrm>
                <a:custGeom>
                  <a:avLst/>
                  <a:gdLst>
                    <a:gd name="T0" fmla="*/ 24 w 24"/>
                    <a:gd name="T1" fmla="*/ 17 h 21"/>
                    <a:gd name="T2" fmla="*/ 20 w 24"/>
                    <a:gd name="T3" fmla="*/ 21 h 21"/>
                    <a:gd name="T4" fmla="*/ 4 w 24"/>
                    <a:gd name="T5" fmla="*/ 21 h 21"/>
                    <a:gd name="T6" fmla="*/ 0 w 24"/>
                    <a:gd name="T7" fmla="*/ 17 h 21"/>
                    <a:gd name="T8" fmla="*/ 0 w 24"/>
                    <a:gd name="T9" fmla="*/ 4 h 21"/>
                    <a:gd name="T10" fmla="*/ 4 w 24"/>
                    <a:gd name="T11" fmla="*/ 0 h 21"/>
                    <a:gd name="T12" fmla="*/ 20 w 24"/>
                    <a:gd name="T13" fmla="*/ 0 h 21"/>
                    <a:gd name="T14" fmla="*/ 24 w 24"/>
                    <a:gd name="T15" fmla="*/ 4 h 21"/>
                    <a:gd name="T16" fmla="*/ 24 w 24"/>
                    <a:gd name="T17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4" h="21">
                      <a:moveTo>
                        <a:pt x="24" y="17"/>
                      </a:moveTo>
                      <a:cubicBezTo>
                        <a:pt x="24" y="19"/>
                        <a:pt x="22" y="21"/>
                        <a:pt x="20" y="21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2" y="21"/>
                        <a:pt x="0" y="19"/>
                        <a:pt x="0" y="17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2"/>
                        <a:pt x="24" y="4"/>
                      </a:cubicBezTo>
                      <a:lnTo>
                        <a:pt x="24" y="1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4" name="Freeform 192"/>
                <p:cNvSpPr>
                  <a:spLocks/>
                </p:cNvSpPr>
                <p:nvPr/>
              </p:nvSpPr>
              <p:spPr bwMode="auto">
                <a:xfrm>
                  <a:off x="3036621" y="4245959"/>
                  <a:ext cx="48680" cy="41429"/>
                </a:xfrm>
                <a:custGeom>
                  <a:avLst/>
                  <a:gdLst>
                    <a:gd name="T0" fmla="*/ 24 w 24"/>
                    <a:gd name="T1" fmla="*/ 16 h 20"/>
                    <a:gd name="T2" fmla="*/ 20 w 24"/>
                    <a:gd name="T3" fmla="*/ 20 h 20"/>
                    <a:gd name="T4" fmla="*/ 4 w 24"/>
                    <a:gd name="T5" fmla="*/ 20 h 20"/>
                    <a:gd name="T6" fmla="*/ 0 w 24"/>
                    <a:gd name="T7" fmla="*/ 16 h 20"/>
                    <a:gd name="T8" fmla="*/ 0 w 24"/>
                    <a:gd name="T9" fmla="*/ 4 h 20"/>
                    <a:gd name="T10" fmla="*/ 4 w 24"/>
                    <a:gd name="T11" fmla="*/ 0 h 20"/>
                    <a:gd name="T12" fmla="*/ 20 w 24"/>
                    <a:gd name="T13" fmla="*/ 0 h 20"/>
                    <a:gd name="T14" fmla="*/ 24 w 24"/>
                    <a:gd name="T15" fmla="*/ 4 h 20"/>
                    <a:gd name="T16" fmla="*/ 24 w 24"/>
                    <a:gd name="T17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4" h="20">
                      <a:moveTo>
                        <a:pt x="24" y="16"/>
                      </a:moveTo>
                      <a:cubicBezTo>
                        <a:pt x="24" y="19"/>
                        <a:pt x="22" y="20"/>
                        <a:pt x="20" y="20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2" y="20"/>
                        <a:pt x="0" y="19"/>
                        <a:pt x="0" y="16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2"/>
                        <a:pt x="24" y="4"/>
                      </a:cubicBezTo>
                      <a:lnTo>
                        <a:pt x="24" y="1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5" name="Freeform 193"/>
                <p:cNvSpPr>
                  <a:spLocks/>
                </p:cNvSpPr>
                <p:nvPr/>
              </p:nvSpPr>
              <p:spPr bwMode="auto">
                <a:xfrm>
                  <a:off x="3036621" y="4299817"/>
                  <a:ext cx="44537" cy="42465"/>
                </a:xfrm>
                <a:custGeom>
                  <a:avLst/>
                  <a:gdLst>
                    <a:gd name="T0" fmla="*/ 18 w 22"/>
                    <a:gd name="T1" fmla="*/ 10 h 21"/>
                    <a:gd name="T2" fmla="*/ 18 w 22"/>
                    <a:gd name="T3" fmla="*/ 2 h 21"/>
                    <a:gd name="T4" fmla="*/ 19 w 22"/>
                    <a:gd name="T5" fmla="*/ 0 h 21"/>
                    <a:gd name="T6" fmla="*/ 4 w 22"/>
                    <a:gd name="T7" fmla="*/ 0 h 21"/>
                    <a:gd name="T8" fmla="*/ 0 w 22"/>
                    <a:gd name="T9" fmla="*/ 4 h 21"/>
                    <a:gd name="T10" fmla="*/ 0 w 22"/>
                    <a:gd name="T11" fmla="*/ 17 h 21"/>
                    <a:gd name="T12" fmla="*/ 4 w 22"/>
                    <a:gd name="T13" fmla="*/ 21 h 21"/>
                    <a:gd name="T14" fmla="*/ 20 w 22"/>
                    <a:gd name="T15" fmla="*/ 21 h 21"/>
                    <a:gd name="T16" fmla="*/ 22 w 22"/>
                    <a:gd name="T17" fmla="*/ 20 h 21"/>
                    <a:gd name="T18" fmla="*/ 18 w 22"/>
                    <a:gd name="T19" fmla="*/ 1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" h="21">
                      <a:moveTo>
                        <a:pt x="18" y="10"/>
                      </a:moveTo>
                      <a:cubicBezTo>
                        <a:pt x="17" y="7"/>
                        <a:pt x="17" y="4"/>
                        <a:pt x="18" y="2"/>
                      </a:cubicBezTo>
                      <a:cubicBezTo>
                        <a:pt x="18" y="1"/>
                        <a:pt x="19" y="1"/>
                        <a:pt x="19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9"/>
                        <a:pt x="2" y="21"/>
                        <a:pt x="4" y="21"/>
                      </a:cubicBezTo>
                      <a:cubicBezTo>
                        <a:pt x="20" y="21"/>
                        <a:pt x="20" y="21"/>
                        <a:pt x="20" y="21"/>
                      </a:cubicBezTo>
                      <a:cubicBezTo>
                        <a:pt x="20" y="21"/>
                        <a:pt x="21" y="21"/>
                        <a:pt x="22" y="20"/>
                      </a:cubicBezTo>
                      <a:cubicBezTo>
                        <a:pt x="20" y="14"/>
                        <a:pt x="18" y="10"/>
                        <a:pt x="18" y="1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6" name="Freeform 194"/>
                <p:cNvSpPr>
                  <a:spLocks/>
                </p:cNvSpPr>
                <p:nvPr/>
              </p:nvSpPr>
              <p:spPr bwMode="auto">
                <a:xfrm>
                  <a:off x="3099800" y="4245959"/>
                  <a:ext cx="18644" cy="41429"/>
                </a:xfrm>
                <a:custGeom>
                  <a:avLst/>
                  <a:gdLst>
                    <a:gd name="T0" fmla="*/ 3 w 9"/>
                    <a:gd name="T1" fmla="*/ 18 h 20"/>
                    <a:gd name="T2" fmla="*/ 9 w 9"/>
                    <a:gd name="T3" fmla="*/ 20 h 20"/>
                    <a:gd name="T4" fmla="*/ 9 w 9"/>
                    <a:gd name="T5" fmla="*/ 0 h 20"/>
                    <a:gd name="T6" fmla="*/ 4 w 9"/>
                    <a:gd name="T7" fmla="*/ 0 h 20"/>
                    <a:gd name="T8" fmla="*/ 0 w 9"/>
                    <a:gd name="T9" fmla="*/ 4 h 20"/>
                    <a:gd name="T10" fmla="*/ 0 w 9"/>
                    <a:gd name="T11" fmla="*/ 16 h 20"/>
                    <a:gd name="T12" fmla="*/ 0 w 9"/>
                    <a:gd name="T13" fmla="*/ 18 h 20"/>
                    <a:gd name="T14" fmla="*/ 3 w 9"/>
                    <a:gd name="T15" fmla="*/ 1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20">
                      <a:moveTo>
                        <a:pt x="3" y="18"/>
                      </a:moveTo>
                      <a:cubicBezTo>
                        <a:pt x="5" y="18"/>
                        <a:pt x="7" y="19"/>
                        <a:pt x="9" y="2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1" y="0"/>
                        <a:pt x="0" y="2"/>
                        <a:pt x="0" y="4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7"/>
                        <a:pt x="0" y="18"/>
                        <a:pt x="0" y="18"/>
                      </a:cubicBezTo>
                      <a:cubicBezTo>
                        <a:pt x="1" y="18"/>
                        <a:pt x="2" y="18"/>
                        <a:pt x="3" y="18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7" name="Freeform 195"/>
                <p:cNvSpPr>
                  <a:spLocks/>
                </p:cNvSpPr>
                <p:nvPr/>
              </p:nvSpPr>
              <p:spPr bwMode="auto">
                <a:xfrm>
                  <a:off x="3099801" y="4190029"/>
                  <a:ext cx="47644" cy="43501"/>
                </a:xfrm>
                <a:custGeom>
                  <a:avLst/>
                  <a:gdLst>
                    <a:gd name="T0" fmla="*/ 4 w 23"/>
                    <a:gd name="T1" fmla="*/ 21 h 21"/>
                    <a:gd name="T2" fmla="*/ 9 w 23"/>
                    <a:gd name="T3" fmla="*/ 21 h 21"/>
                    <a:gd name="T4" fmla="*/ 9 w 23"/>
                    <a:gd name="T5" fmla="*/ 20 h 21"/>
                    <a:gd name="T6" fmla="*/ 23 w 23"/>
                    <a:gd name="T7" fmla="*/ 5 h 21"/>
                    <a:gd name="T8" fmla="*/ 23 w 23"/>
                    <a:gd name="T9" fmla="*/ 4 h 21"/>
                    <a:gd name="T10" fmla="*/ 19 w 23"/>
                    <a:gd name="T11" fmla="*/ 0 h 21"/>
                    <a:gd name="T12" fmla="*/ 4 w 23"/>
                    <a:gd name="T13" fmla="*/ 0 h 21"/>
                    <a:gd name="T14" fmla="*/ 0 w 23"/>
                    <a:gd name="T15" fmla="*/ 4 h 21"/>
                    <a:gd name="T16" fmla="*/ 0 w 23"/>
                    <a:gd name="T17" fmla="*/ 17 h 21"/>
                    <a:gd name="T18" fmla="*/ 4 w 23"/>
                    <a:gd name="T1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" h="21">
                      <a:moveTo>
                        <a:pt x="4" y="21"/>
                      </a:moveTo>
                      <a:cubicBezTo>
                        <a:pt x="9" y="21"/>
                        <a:pt x="9" y="21"/>
                        <a:pt x="9" y="21"/>
                      </a:cubicBezTo>
                      <a:cubicBezTo>
                        <a:pt x="9" y="20"/>
                        <a:pt x="9" y="20"/>
                        <a:pt x="9" y="20"/>
                      </a:cubicBezTo>
                      <a:cubicBezTo>
                        <a:pt x="9" y="12"/>
                        <a:pt x="15" y="6"/>
                        <a:pt x="23" y="5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3" y="2"/>
                        <a:pt x="21" y="0"/>
                        <a:pt x="19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1" y="0"/>
                        <a:pt x="0" y="2"/>
                        <a:pt x="0" y="4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9"/>
                        <a:pt x="1" y="21"/>
                        <a:pt x="4" y="21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" name="Freeform 196"/>
                <p:cNvSpPr>
                  <a:spLocks noEditPoints="1"/>
                </p:cNvSpPr>
                <p:nvPr/>
              </p:nvSpPr>
              <p:spPr bwMode="auto">
                <a:xfrm>
                  <a:off x="3011764" y="4118564"/>
                  <a:ext cx="181253" cy="359399"/>
                </a:xfrm>
                <a:custGeom>
                  <a:avLst/>
                  <a:gdLst>
                    <a:gd name="T0" fmla="*/ 60 w 88"/>
                    <a:gd name="T1" fmla="*/ 163 h 175"/>
                    <a:gd name="T2" fmla="*/ 52 w 88"/>
                    <a:gd name="T3" fmla="*/ 155 h 175"/>
                    <a:gd name="T4" fmla="*/ 51 w 88"/>
                    <a:gd name="T5" fmla="*/ 153 h 175"/>
                    <a:gd name="T6" fmla="*/ 52 w 88"/>
                    <a:gd name="T7" fmla="*/ 157 h 175"/>
                    <a:gd name="T8" fmla="*/ 44 w 88"/>
                    <a:gd name="T9" fmla="*/ 165 h 175"/>
                    <a:gd name="T10" fmla="*/ 36 w 88"/>
                    <a:gd name="T11" fmla="*/ 157 h 175"/>
                    <a:gd name="T12" fmla="*/ 44 w 88"/>
                    <a:gd name="T13" fmla="*/ 149 h 175"/>
                    <a:gd name="T14" fmla="*/ 50 w 88"/>
                    <a:gd name="T15" fmla="*/ 152 h 175"/>
                    <a:gd name="T16" fmla="*/ 49 w 88"/>
                    <a:gd name="T17" fmla="*/ 151 h 175"/>
                    <a:gd name="T18" fmla="*/ 42 w 88"/>
                    <a:gd name="T19" fmla="*/ 141 h 175"/>
                    <a:gd name="T20" fmla="*/ 6 w 88"/>
                    <a:gd name="T21" fmla="*/ 141 h 175"/>
                    <a:gd name="T22" fmla="*/ 6 w 88"/>
                    <a:gd name="T23" fmla="*/ 27 h 175"/>
                    <a:gd name="T24" fmla="*/ 83 w 88"/>
                    <a:gd name="T25" fmla="*/ 27 h 175"/>
                    <a:gd name="T26" fmla="*/ 83 w 88"/>
                    <a:gd name="T27" fmla="*/ 52 h 175"/>
                    <a:gd name="T28" fmla="*/ 83 w 88"/>
                    <a:gd name="T29" fmla="*/ 55 h 175"/>
                    <a:gd name="T30" fmla="*/ 83 w 88"/>
                    <a:gd name="T31" fmla="*/ 64 h 175"/>
                    <a:gd name="T32" fmla="*/ 84 w 88"/>
                    <a:gd name="T33" fmla="*/ 64 h 175"/>
                    <a:gd name="T34" fmla="*/ 88 w 88"/>
                    <a:gd name="T35" fmla="*/ 65 h 175"/>
                    <a:gd name="T36" fmla="*/ 88 w 88"/>
                    <a:gd name="T37" fmla="*/ 13 h 175"/>
                    <a:gd name="T38" fmla="*/ 75 w 88"/>
                    <a:gd name="T39" fmla="*/ 0 h 175"/>
                    <a:gd name="T40" fmla="*/ 13 w 88"/>
                    <a:gd name="T41" fmla="*/ 0 h 175"/>
                    <a:gd name="T42" fmla="*/ 0 w 88"/>
                    <a:gd name="T43" fmla="*/ 13 h 175"/>
                    <a:gd name="T44" fmla="*/ 0 w 88"/>
                    <a:gd name="T45" fmla="*/ 161 h 175"/>
                    <a:gd name="T46" fmla="*/ 13 w 88"/>
                    <a:gd name="T47" fmla="*/ 175 h 175"/>
                    <a:gd name="T48" fmla="*/ 60 w 88"/>
                    <a:gd name="T49" fmla="*/ 175 h 175"/>
                    <a:gd name="T50" fmla="*/ 60 w 88"/>
                    <a:gd name="T51" fmla="*/ 163 h 175"/>
                    <a:gd name="T52" fmla="*/ 32 w 88"/>
                    <a:gd name="T53" fmla="*/ 10 h 175"/>
                    <a:gd name="T54" fmla="*/ 56 w 88"/>
                    <a:gd name="T55" fmla="*/ 10 h 175"/>
                    <a:gd name="T56" fmla="*/ 57 w 88"/>
                    <a:gd name="T57" fmla="*/ 12 h 175"/>
                    <a:gd name="T58" fmla="*/ 56 w 88"/>
                    <a:gd name="T59" fmla="*/ 13 h 175"/>
                    <a:gd name="T60" fmla="*/ 32 w 88"/>
                    <a:gd name="T61" fmla="*/ 13 h 175"/>
                    <a:gd name="T62" fmla="*/ 31 w 88"/>
                    <a:gd name="T63" fmla="*/ 12 h 175"/>
                    <a:gd name="T64" fmla="*/ 32 w 88"/>
                    <a:gd name="T65" fmla="*/ 10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88" h="175">
                      <a:moveTo>
                        <a:pt x="60" y="163"/>
                      </a:moveTo>
                      <a:cubicBezTo>
                        <a:pt x="52" y="155"/>
                        <a:pt x="52" y="155"/>
                        <a:pt x="52" y="155"/>
                      </a:cubicBezTo>
                      <a:cubicBezTo>
                        <a:pt x="52" y="154"/>
                        <a:pt x="51" y="154"/>
                        <a:pt x="51" y="153"/>
                      </a:cubicBezTo>
                      <a:cubicBezTo>
                        <a:pt x="51" y="154"/>
                        <a:pt x="52" y="156"/>
                        <a:pt x="52" y="157"/>
                      </a:cubicBezTo>
                      <a:cubicBezTo>
                        <a:pt x="52" y="161"/>
                        <a:pt x="48" y="165"/>
                        <a:pt x="44" y="165"/>
                      </a:cubicBezTo>
                      <a:cubicBezTo>
                        <a:pt x="40" y="165"/>
                        <a:pt x="36" y="161"/>
                        <a:pt x="36" y="157"/>
                      </a:cubicBezTo>
                      <a:cubicBezTo>
                        <a:pt x="36" y="153"/>
                        <a:pt x="40" y="149"/>
                        <a:pt x="44" y="149"/>
                      </a:cubicBezTo>
                      <a:cubicBezTo>
                        <a:pt x="46" y="149"/>
                        <a:pt x="49" y="150"/>
                        <a:pt x="50" y="152"/>
                      </a:cubicBezTo>
                      <a:cubicBezTo>
                        <a:pt x="50" y="152"/>
                        <a:pt x="50" y="151"/>
                        <a:pt x="49" y="151"/>
                      </a:cubicBezTo>
                      <a:cubicBezTo>
                        <a:pt x="46" y="147"/>
                        <a:pt x="44" y="144"/>
                        <a:pt x="42" y="141"/>
                      </a:cubicBezTo>
                      <a:cubicBezTo>
                        <a:pt x="6" y="141"/>
                        <a:pt x="6" y="141"/>
                        <a:pt x="6" y="141"/>
                      </a:cubicBezTo>
                      <a:cubicBezTo>
                        <a:pt x="6" y="27"/>
                        <a:pt x="6" y="27"/>
                        <a:pt x="6" y="27"/>
                      </a:cubicBezTo>
                      <a:cubicBezTo>
                        <a:pt x="83" y="27"/>
                        <a:pt x="83" y="27"/>
                        <a:pt x="83" y="27"/>
                      </a:cubicBezTo>
                      <a:cubicBezTo>
                        <a:pt x="83" y="52"/>
                        <a:pt x="83" y="52"/>
                        <a:pt x="83" y="52"/>
                      </a:cubicBezTo>
                      <a:cubicBezTo>
                        <a:pt x="83" y="53"/>
                        <a:pt x="83" y="54"/>
                        <a:pt x="83" y="55"/>
                      </a:cubicBezTo>
                      <a:cubicBezTo>
                        <a:pt x="83" y="64"/>
                        <a:pt x="83" y="64"/>
                        <a:pt x="83" y="64"/>
                      </a:cubicBezTo>
                      <a:cubicBezTo>
                        <a:pt x="83" y="64"/>
                        <a:pt x="84" y="64"/>
                        <a:pt x="84" y="64"/>
                      </a:cubicBezTo>
                      <a:cubicBezTo>
                        <a:pt x="86" y="64"/>
                        <a:pt x="87" y="64"/>
                        <a:pt x="88" y="65"/>
                      </a:cubicBezTo>
                      <a:cubicBezTo>
                        <a:pt x="88" y="13"/>
                        <a:pt x="88" y="13"/>
                        <a:pt x="88" y="13"/>
                      </a:cubicBezTo>
                      <a:cubicBezTo>
                        <a:pt x="88" y="6"/>
                        <a:pt x="82" y="0"/>
                        <a:pt x="75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69"/>
                        <a:pt x="6" y="175"/>
                        <a:pt x="13" y="175"/>
                      </a:cubicBezTo>
                      <a:cubicBezTo>
                        <a:pt x="60" y="175"/>
                        <a:pt x="60" y="175"/>
                        <a:pt x="60" y="175"/>
                      </a:cubicBezTo>
                      <a:lnTo>
                        <a:pt x="60" y="163"/>
                      </a:lnTo>
                      <a:close/>
                      <a:moveTo>
                        <a:pt x="32" y="10"/>
                      </a:move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6" y="10"/>
                        <a:pt x="57" y="11"/>
                        <a:pt x="57" y="12"/>
                      </a:cubicBezTo>
                      <a:cubicBezTo>
                        <a:pt x="57" y="13"/>
                        <a:pt x="56" y="13"/>
                        <a:pt x="56" y="13"/>
                      </a:cubicBezTo>
                      <a:cubicBezTo>
                        <a:pt x="32" y="13"/>
                        <a:pt x="32" y="13"/>
                        <a:pt x="32" y="13"/>
                      </a:cubicBezTo>
                      <a:cubicBezTo>
                        <a:pt x="32" y="13"/>
                        <a:pt x="31" y="13"/>
                        <a:pt x="31" y="12"/>
                      </a:cubicBezTo>
                      <a:cubicBezTo>
                        <a:pt x="31" y="11"/>
                        <a:pt x="32" y="10"/>
                        <a:pt x="32" y="1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9" name="Freeform 197"/>
                <p:cNvSpPr>
                  <a:spLocks/>
                </p:cNvSpPr>
                <p:nvPr/>
              </p:nvSpPr>
              <p:spPr bwMode="auto">
                <a:xfrm>
                  <a:off x="3085301" y="4216958"/>
                  <a:ext cx="183325" cy="281720"/>
                </a:xfrm>
                <a:custGeom>
                  <a:avLst/>
                  <a:gdLst>
                    <a:gd name="T0" fmla="*/ 88 w 89"/>
                    <a:gd name="T1" fmla="*/ 72 h 137"/>
                    <a:gd name="T2" fmla="*/ 88 w 89"/>
                    <a:gd name="T3" fmla="*/ 69 h 137"/>
                    <a:gd name="T4" fmla="*/ 88 w 89"/>
                    <a:gd name="T5" fmla="*/ 48 h 137"/>
                    <a:gd name="T6" fmla="*/ 81 w 89"/>
                    <a:gd name="T7" fmla="*/ 40 h 137"/>
                    <a:gd name="T8" fmla="*/ 74 w 89"/>
                    <a:gd name="T9" fmla="*/ 48 h 137"/>
                    <a:gd name="T10" fmla="*/ 74 w 89"/>
                    <a:gd name="T11" fmla="*/ 49 h 137"/>
                    <a:gd name="T12" fmla="*/ 72 w 89"/>
                    <a:gd name="T13" fmla="*/ 49 h 137"/>
                    <a:gd name="T14" fmla="*/ 72 w 89"/>
                    <a:gd name="T15" fmla="*/ 38 h 137"/>
                    <a:gd name="T16" fmla="*/ 65 w 89"/>
                    <a:gd name="T17" fmla="*/ 30 h 137"/>
                    <a:gd name="T18" fmla="*/ 57 w 89"/>
                    <a:gd name="T19" fmla="*/ 38 h 137"/>
                    <a:gd name="T20" fmla="*/ 57 w 89"/>
                    <a:gd name="T21" fmla="*/ 44 h 137"/>
                    <a:gd name="T22" fmla="*/ 55 w 89"/>
                    <a:gd name="T23" fmla="*/ 43 h 137"/>
                    <a:gd name="T24" fmla="*/ 55 w 89"/>
                    <a:gd name="T25" fmla="*/ 31 h 137"/>
                    <a:gd name="T26" fmla="*/ 48 w 89"/>
                    <a:gd name="T27" fmla="*/ 24 h 137"/>
                    <a:gd name="T28" fmla="*/ 41 w 89"/>
                    <a:gd name="T29" fmla="*/ 31 h 137"/>
                    <a:gd name="T30" fmla="*/ 41 w 89"/>
                    <a:gd name="T31" fmla="*/ 41 h 137"/>
                    <a:gd name="T32" fmla="*/ 39 w 89"/>
                    <a:gd name="T33" fmla="*/ 41 h 137"/>
                    <a:gd name="T34" fmla="*/ 39 w 89"/>
                    <a:gd name="T35" fmla="*/ 7 h 137"/>
                    <a:gd name="T36" fmla="*/ 32 w 89"/>
                    <a:gd name="T37" fmla="*/ 0 h 137"/>
                    <a:gd name="T38" fmla="*/ 24 w 89"/>
                    <a:gd name="T39" fmla="*/ 7 h 137"/>
                    <a:gd name="T40" fmla="*/ 24 w 89"/>
                    <a:gd name="T41" fmla="*/ 67 h 137"/>
                    <a:gd name="T42" fmla="*/ 22 w 89"/>
                    <a:gd name="T43" fmla="*/ 56 h 137"/>
                    <a:gd name="T44" fmla="*/ 8 w 89"/>
                    <a:gd name="T45" fmla="*/ 40 h 137"/>
                    <a:gd name="T46" fmla="*/ 1 w 89"/>
                    <a:gd name="T47" fmla="*/ 47 h 137"/>
                    <a:gd name="T48" fmla="*/ 8 w 89"/>
                    <a:gd name="T49" fmla="*/ 73 h 137"/>
                    <a:gd name="T50" fmla="*/ 20 w 89"/>
                    <a:gd name="T51" fmla="*/ 98 h 137"/>
                    <a:gd name="T52" fmla="*/ 22 w 89"/>
                    <a:gd name="T53" fmla="*/ 101 h 137"/>
                    <a:gd name="T54" fmla="*/ 32 w 89"/>
                    <a:gd name="T55" fmla="*/ 111 h 137"/>
                    <a:gd name="T56" fmla="*/ 32 w 89"/>
                    <a:gd name="T57" fmla="*/ 137 h 137"/>
                    <a:gd name="T58" fmla="*/ 81 w 89"/>
                    <a:gd name="T59" fmla="*/ 137 h 137"/>
                    <a:gd name="T60" fmla="*/ 81 w 89"/>
                    <a:gd name="T61" fmla="*/ 111 h 137"/>
                    <a:gd name="T62" fmla="*/ 88 w 89"/>
                    <a:gd name="T63" fmla="*/ 91 h 137"/>
                    <a:gd name="T64" fmla="*/ 88 w 89"/>
                    <a:gd name="T65" fmla="*/ 73 h 137"/>
                    <a:gd name="T66" fmla="*/ 88 w 89"/>
                    <a:gd name="T67" fmla="*/ 72 h 137"/>
                    <a:gd name="T68" fmla="*/ 88 w 89"/>
                    <a:gd name="T69" fmla="*/ 72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9" h="137">
                      <a:moveTo>
                        <a:pt x="88" y="72"/>
                      </a:moveTo>
                      <a:cubicBezTo>
                        <a:pt x="89" y="71"/>
                        <a:pt x="88" y="70"/>
                        <a:pt x="88" y="69"/>
                      </a:cubicBezTo>
                      <a:cubicBezTo>
                        <a:pt x="88" y="48"/>
                        <a:pt x="88" y="48"/>
                        <a:pt x="88" y="48"/>
                      </a:cubicBezTo>
                      <a:cubicBezTo>
                        <a:pt x="88" y="44"/>
                        <a:pt x="85" y="40"/>
                        <a:pt x="81" y="40"/>
                      </a:cubicBezTo>
                      <a:cubicBezTo>
                        <a:pt x="77" y="40"/>
                        <a:pt x="74" y="44"/>
                        <a:pt x="74" y="48"/>
                      </a:cubicBezTo>
                      <a:cubicBezTo>
                        <a:pt x="74" y="49"/>
                        <a:pt x="74" y="49"/>
                        <a:pt x="74" y="49"/>
                      </a:cubicBezTo>
                      <a:cubicBezTo>
                        <a:pt x="73" y="49"/>
                        <a:pt x="73" y="49"/>
                        <a:pt x="72" y="49"/>
                      </a:cubicBezTo>
                      <a:cubicBezTo>
                        <a:pt x="72" y="38"/>
                        <a:pt x="72" y="38"/>
                        <a:pt x="72" y="38"/>
                      </a:cubicBezTo>
                      <a:cubicBezTo>
                        <a:pt x="72" y="34"/>
                        <a:pt x="69" y="30"/>
                        <a:pt x="65" y="30"/>
                      </a:cubicBezTo>
                      <a:cubicBezTo>
                        <a:pt x="61" y="30"/>
                        <a:pt x="57" y="34"/>
                        <a:pt x="57" y="38"/>
                      </a:cubicBezTo>
                      <a:cubicBezTo>
                        <a:pt x="57" y="44"/>
                        <a:pt x="57" y="44"/>
                        <a:pt x="57" y="44"/>
                      </a:cubicBezTo>
                      <a:cubicBezTo>
                        <a:pt x="57" y="44"/>
                        <a:pt x="56" y="44"/>
                        <a:pt x="55" y="43"/>
                      </a:cubicBezTo>
                      <a:cubicBezTo>
                        <a:pt x="55" y="31"/>
                        <a:pt x="55" y="31"/>
                        <a:pt x="55" y="31"/>
                      </a:cubicBezTo>
                      <a:cubicBezTo>
                        <a:pt x="55" y="27"/>
                        <a:pt x="52" y="24"/>
                        <a:pt x="48" y="24"/>
                      </a:cubicBezTo>
                      <a:cubicBezTo>
                        <a:pt x="44" y="24"/>
                        <a:pt x="41" y="27"/>
                        <a:pt x="41" y="31"/>
                      </a:cubicBezTo>
                      <a:cubicBezTo>
                        <a:pt x="41" y="41"/>
                        <a:pt x="41" y="41"/>
                        <a:pt x="41" y="41"/>
                      </a:cubicBezTo>
                      <a:cubicBezTo>
                        <a:pt x="40" y="41"/>
                        <a:pt x="40" y="41"/>
                        <a:pt x="39" y="41"/>
                      </a:cubicBezTo>
                      <a:cubicBezTo>
                        <a:pt x="39" y="7"/>
                        <a:pt x="39" y="7"/>
                        <a:pt x="39" y="7"/>
                      </a:cubicBezTo>
                      <a:cubicBezTo>
                        <a:pt x="39" y="3"/>
                        <a:pt x="36" y="0"/>
                        <a:pt x="32" y="0"/>
                      </a:cubicBezTo>
                      <a:cubicBezTo>
                        <a:pt x="28" y="0"/>
                        <a:pt x="24" y="3"/>
                        <a:pt x="24" y="7"/>
                      </a:cubicBezTo>
                      <a:cubicBezTo>
                        <a:pt x="24" y="67"/>
                        <a:pt x="24" y="67"/>
                        <a:pt x="24" y="67"/>
                      </a:cubicBezTo>
                      <a:cubicBezTo>
                        <a:pt x="23" y="64"/>
                        <a:pt x="23" y="60"/>
                        <a:pt x="22" y="56"/>
                      </a:cubicBezTo>
                      <a:cubicBezTo>
                        <a:pt x="19" y="44"/>
                        <a:pt x="12" y="39"/>
                        <a:pt x="8" y="40"/>
                      </a:cubicBezTo>
                      <a:cubicBezTo>
                        <a:pt x="7" y="41"/>
                        <a:pt x="0" y="43"/>
                        <a:pt x="1" y="47"/>
                      </a:cubicBezTo>
                      <a:cubicBezTo>
                        <a:pt x="2" y="49"/>
                        <a:pt x="7" y="61"/>
                        <a:pt x="8" y="73"/>
                      </a:cubicBezTo>
                      <a:cubicBezTo>
                        <a:pt x="8" y="82"/>
                        <a:pt x="14" y="91"/>
                        <a:pt x="20" y="98"/>
                      </a:cubicBezTo>
                      <a:cubicBezTo>
                        <a:pt x="21" y="99"/>
                        <a:pt x="21" y="100"/>
                        <a:pt x="22" y="101"/>
                      </a:cubicBezTo>
                      <a:cubicBezTo>
                        <a:pt x="32" y="111"/>
                        <a:pt x="32" y="111"/>
                        <a:pt x="32" y="111"/>
                      </a:cubicBezTo>
                      <a:cubicBezTo>
                        <a:pt x="32" y="137"/>
                        <a:pt x="32" y="137"/>
                        <a:pt x="32" y="137"/>
                      </a:cubicBezTo>
                      <a:cubicBezTo>
                        <a:pt x="81" y="137"/>
                        <a:pt x="81" y="137"/>
                        <a:pt x="81" y="137"/>
                      </a:cubicBezTo>
                      <a:cubicBezTo>
                        <a:pt x="81" y="111"/>
                        <a:pt x="81" y="111"/>
                        <a:pt x="81" y="111"/>
                      </a:cubicBezTo>
                      <a:cubicBezTo>
                        <a:pt x="85" y="105"/>
                        <a:pt x="87" y="98"/>
                        <a:pt x="88" y="91"/>
                      </a:cubicBezTo>
                      <a:cubicBezTo>
                        <a:pt x="88" y="85"/>
                        <a:pt x="88" y="79"/>
                        <a:pt x="88" y="73"/>
                      </a:cubicBezTo>
                      <a:cubicBezTo>
                        <a:pt x="88" y="72"/>
                        <a:pt x="88" y="72"/>
                        <a:pt x="88" y="72"/>
                      </a:cubicBezTo>
                      <a:cubicBezTo>
                        <a:pt x="88" y="72"/>
                        <a:pt x="88" y="72"/>
                        <a:pt x="88" y="7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CDAE1F8B-08FD-4596-9D2C-CCDD005B335F}"/>
                </a:ext>
              </a:extLst>
            </p:cNvPr>
            <p:cNvGrpSpPr/>
            <p:nvPr userDrawn="1"/>
          </p:nvGrpSpPr>
          <p:grpSpPr>
            <a:xfrm>
              <a:off x="6582795" y="366870"/>
              <a:ext cx="514249" cy="514249"/>
              <a:chOff x="1184682" y="3861987"/>
              <a:chExt cx="514249" cy="514249"/>
            </a:xfrm>
          </p:grpSpPr>
          <p:sp>
            <p:nvSpPr>
              <p:cNvPr id="70" name="Oval 33"/>
              <p:cNvSpPr>
                <a:spLocks noChangeArrowheads="1"/>
              </p:cNvSpPr>
              <p:nvPr/>
            </p:nvSpPr>
            <p:spPr bwMode="auto">
              <a:xfrm>
                <a:off x="1184682" y="3861987"/>
                <a:ext cx="514249" cy="51424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71" name="Oval 33"/>
              <p:cNvSpPr>
                <a:spLocks noChangeArrowheads="1"/>
              </p:cNvSpPr>
              <p:nvPr/>
            </p:nvSpPr>
            <p:spPr bwMode="auto">
              <a:xfrm>
                <a:off x="1218220" y="3895525"/>
                <a:ext cx="447173" cy="447173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42" name="组合 41"/>
              <p:cNvGrpSpPr/>
              <p:nvPr/>
            </p:nvGrpSpPr>
            <p:grpSpPr>
              <a:xfrm>
                <a:off x="1283258" y="3969677"/>
                <a:ext cx="313021" cy="290663"/>
                <a:chOff x="8111715" y="3136688"/>
                <a:chExt cx="425687" cy="391508"/>
              </a:xfrm>
            </p:grpSpPr>
            <p:sp>
              <p:nvSpPr>
                <p:cNvPr id="43" name="Freeform 165"/>
                <p:cNvSpPr>
                  <a:spLocks noEditPoints="1"/>
                </p:cNvSpPr>
                <p:nvPr/>
              </p:nvSpPr>
              <p:spPr bwMode="auto">
                <a:xfrm>
                  <a:off x="8111715" y="3388371"/>
                  <a:ext cx="141896" cy="48680"/>
                </a:xfrm>
                <a:custGeom>
                  <a:avLst/>
                  <a:gdLst>
                    <a:gd name="T0" fmla="*/ 66 w 69"/>
                    <a:gd name="T1" fmla="*/ 10 h 24"/>
                    <a:gd name="T2" fmla="*/ 35 w 69"/>
                    <a:gd name="T3" fmla="*/ 0 h 24"/>
                    <a:gd name="T4" fmla="*/ 3 w 69"/>
                    <a:gd name="T5" fmla="*/ 10 h 24"/>
                    <a:gd name="T6" fmla="*/ 34 w 69"/>
                    <a:gd name="T7" fmla="*/ 24 h 24"/>
                    <a:gd name="T8" fmla="*/ 66 w 69"/>
                    <a:gd name="T9" fmla="*/ 10 h 24"/>
                    <a:gd name="T10" fmla="*/ 35 w 69"/>
                    <a:gd name="T11" fmla="*/ 19 h 24"/>
                    <a:gd name="T12" fmla="*/ 11 w 69"/>
                    <a:gd name="T13" fmla="*/ 9 h 24"/>
                    <a:gd name="T14" fmla="*/ 35 w 69"/>
                    <a:gd name="T15" fmla="*/ 2 h 24"/>
                    <a:gd name="T16" fmla="*/ 58 w 69"/>
                    <a:gd name="T17" fmla="*/ 9 h 24"/>
                    <a:gd name="T18" fmla="*/ 35 w 69"/>
                    <a:gd name="T19" fmla="*/ 19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" h="24">
                      <a:moveTo>
                        <a:pt x="66" y="10"/>
                      </a:moveTo>
                      <a:cubicBezTo>
                        <a:pt x="63" y="3"/>
                        <a:pt x="49" y="0"/>
                        <a:pt x="35" y="0"/>
                      </a:cubicBezTo>
                      <a:cubicBezTo>
                        <a:pt x="21" y="0"/>
                        <a:pt x="6" y="4"/>
                        <a:pt x="3" y="10"/>
                      </a:cubicBezTo>
                      <a:cubicBezTo>
                        <a:pt x="0" y="16"/>
                        <a:pt x="14" y="24"/>
                        <a:pt x="34" y="24"/>
                      </a:cubicBezTo>
                      <a:cubicBezTo>
                        <a:pt x="55" y="24"/>
                        <a:pt x="69" y="16"/>
                        <a:pt x="66" y="10"/>
                      </a:cubicBezTo>
                      <a:close/>
                      <a:moveTo>
                        <a:pt x="35" y="19"/>
                      </a:moveTo>
                      <a:cubicBezTo>
                        <a:pt x="20" y="19"/>
                        <a:pt x="9" y="13"/>
                        <a:pt x="11" y="9"/>
                      </a:cubicBezTo>
                      <a:cubicBezTo>
                        <a:pt x="13" y="5"/>
                        <a:pt x="24" y="2"/>
                        <a:pt x="35" y="2"/>
                      </a:cubicBezTo>
                      <a:cubicBezTo>
                        <a:pt x="46" y="2"/>
                        <a:pt x="57" y="5"/>
                        <a:pt x="58" y="9"/>
                      </a:cubicBezTo>
                      <a:cubicBezTo>
                        <a:pt x="60" y="13"/>
                        <a:pt x="50" y="19"/>
                        <a:pt x="35" y="19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" name="Freeform 166"/>
                <p:cNvSpPr>
                  <a:spLocks/>
                </p:cNvSpPr>
                <p:nvPr/>
              </p:nvSpPr>
              <p:spPr bwMode="auto">
                <a:xfrm>
                  <a:off x="8211146" y="3426693"/>
                  <a:ext cx="36251" cy="20715"/>
                </a:xfrm>
                <a:custGeom>
                  <a:avLst/>
                  <a:gdLst>
                    <a:gd name="T0" fmla="*/ 10 w 35"/>
                    <a:gd name="T1" fmla="*/ 0 h 20"/>
                    <a:gd name="T2" fmla="*/ 35 w 35"/>
                    <a:gd name="T3" fmla="*/ 8 h 20"/>
                    <a:gd name="T4" fmla="*/ 20 w 35"/>
                    <a:gd name="T5" fmla="*/ 20 h 20"/>
                    <a:gd name="T6" fmla="*/ 0 w 35"/>
                    <a:gd name="T7" fmla="*/ 4 h 20"/>
                    <a:gd name="T8" fmla="*/ 10 w 35"/>
                    <a:gd name="T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20">
                      <a:moveTo>
                        <a:pt x="10" y="0"/>
                      </a:moveTo>
                      <a:lnTo>
                        <a:pt x="35" y="8"/>
                      </a:lnTo>
                      <a:lnTo>
                        <a:pt x="20" y="20"/>
                      </a:lnTo>
                      <a:lnTo>
                        <a:pt x="0" y="4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" name="Freeform 167"/>
                <p:cNvSpPr>
                  <a:spLocks noEditPoints="1"/>
                </p:cNvSpPr>
                <p:nvPr/>
              </p:nvSpPr>
              <p:spPr bwMode="auto">
                <a:xfrm>
                  <a:off x="8393435" y="3388371"/>
                  <a:ext cx="143967" cy="48680"/>
                </a:xfrm>
                <a:custGeom>
                  <a:avLst/>
                  <a:gdLst>
                    <a:gd name="T0" fmla="*/ 66 w 70"/>
                    <a:gd name="T1" fmla="*/ 10 h 24"/>
                    <a:gd name="T2" fmla="*/ 35 w 70"/>
                    <a:gd name="T3" fmla="*/ 0 h 24"/>
                    <a:gd name="T4" fmla="*/ 3 w 70"/>
                    <a:gd name="T5" fmla="*/ 10 h 24"/>
                    <a:gd name="T6" fmla="*/ 35 w 70"/>
                    <a:gd name="T7" fmla="*/ 24 h 24"/>
                    <a:gd name="T8" fmla="*/ 66 w 70"/>
                    <a:gd name="T9" fmla="*/ 10 h 24"/>
                    <a:gd name="T10" fmla="*/ 35 w 70"/>
                    <a:gd name="T11" fmla="*/ 19 h 24"/>
                    <a:gd name="T12" fmla="*/ 11 w 70"/>
                    <a:gd name="T13" fmla="*/ 9 h 24"/>
                    <a:gd name="T14" fmla="*/ 35 w 70"/>
                    <a:gd name="T15" fmla="*/ 2 h 24"/>
                    <a:gd name="T16" fmla="*/ 58 w 70"/>
                    <a:gd name="T17" fmla="*/ 9 h 24"/>
                    <a:gd name="T18" fmla="*/ 35 w 70"/>
                    <a:gd name="T19" fmla="*/ 19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0" h="24">
                      <a:moveTo>
                        <a:pt x="66" y="10"/>
                      </a:moveTo>
                      <a:cubicBezTo>
                        <a:pt x="63" y="4"/>
                        <a:pt x="49" y="0"/>
                        <a:pt x="35" y="0"/>
                      </a:cubicBezTo>
                      <a:cubicBezTo>
                        <a:pt x="21" y="0"/>
                        <a:pt x="7" y="3"/>
                        <a:pt x="3" y="10"/>
                      </a:cubicBezTo>
                      <a:cubicBezTo>
                        <a:pt x="0" y="16"/>
                        <a:pt x="14" y="24"/>
                        <a:pt x="35" y="24"/>
                      </a:cubicBezTo>
                      <a:cubicBezTo>
                        <a:pt x="56" y="24"/>
                        <a:pt x="70" y="16"/>
                        <a:pt x="66" y="10"/>
                      </a:cubicBezTo>
                      <a:close/>
                      <a:moveTo>
                        <a:pt x="35" y="19"/>
                      </a:moveTo>
                      <a:cubicBezTo>
                        <a:pt x="20" y="19"/>
                        <a:pt x="9" y="13"/>
                        <a:pt x="11" y="9"/>
                      </a:cubicBezTo>
                      <a:cubicBezTo>
                        <a:pt x="13" y="5"/>
                        <a:pt x="23" y="2"/>
                        <a:pt x="35" y="2"/>
                      </a:cubicBezTo>
                      <a:cubicBezTo>
                        <a:pt x="46" y="2"/>
                        <a:pt x="56" y="5"/>
                        <a:pt x="58" y="9"/>
                      </a:cubicBezTo>
                      <a:cubicBezTo>
                        <a:pt x="60" y="13"/>
                        <a:pt x="50" y="19"/>
                        <a:pt x="35" y="19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" name="Freeform 168"/>
                <p:cNvSpPr>
                  <a:spLocks/>
                </p:cNvSpPr>
                <p:nvPr/>
              </p:nvSpPr>
              <p:spPr bwMode="auto">
                <a:xfrm>
                  <a:off x="8401720" y="3426693"/>
                  <a:ext cx="35215" cy="20715"/>
                </a:xfrm>
                <a:custGeom>
                  <a:avLst/>
                  <a:gdLst>
                    <a:gd name="T0" fmla="*/ 24 w 34"/>
                    <a:gd name="T1" fmla="*/ 0 h 20"/>
                    <a:gd name="T2" fmla="*/ 0 w 34"/>
                    <a:gd name="T3" fmla="*/ 8 h 20"/>
                    <a:gd name="T4" fmla="*/ 14 w 34"/>
                    <a:gd name="T5" fmla="*/ 20 h 20"/>
                    <a:gd name="T6" fmla="*/ 34 w 34"/>
                    <a:gd name="T7" fmla="*/ 4 h 20"/>
                    <a:gd name="T8" fmla="*/ 24 w 34"/>
                    <a:gd name="T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20">
                      <a:moveTo>
                        <a:pt x="24" y="0"/>
                      </a:moveTo>
                      <a:lnTo>
                        <a:pt x="0" y="8"/>
                      </a:lnTo>
                      <a:lnTo>
                        <a:pt x="14" y="20"/>
                      </a:lnTo>
                      <a:lnTo>
                        <a:pt x="34" y="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" name="Freeform 169"/>
                <p:cNvSpPr>
                  <a:spLocks noEditPoints="1"/>
                </p:cNvSpPr>
                <p:nvPr/>
              </p:nvSpPr>
              <p:spPr bwMode="auto">
                <a:xfrm>
                  <a:off x="8184216" y="3422551"/>
                  <a:ext cx="279648" cy="105645"/>
                </a:xfrm>
                <a:custGeom>
                  <a:avLst/>
                  <a:gdLst>
                    <a:gd name="T0" fmla="*/ 129 w 136"/>
                    <a:gd name="T1" fmla="*/ 21 h 51"/>
                    <a:gd name="T2" fmla="*/ 69 w 136"/>
                    <a:gd name="T3" fmla="*/ 0 h 51"/>
                    <a:gd name="T4" fmla="*/ 7 w 136"/>
                    <a:gd name="T5" fmla="*/ 21 h 51"/>
                    <a:gd name="T6" fmla="*/ 68 w 136"/>
                    <a:gd name="T7" fmla="*/ 51 h 51"/>
                    <a:gd name="T8" fmla="*/ 129 w 136"/>
                    <a:gd name="T9" fmla="*/ 21 h 51"/>
                    <a:gd name="T10" fmla="*/ 68 w 136"/>
                    <a:gd name="T11" fmla="*/ 39 h 51"/>
                    <a:gd name="T12" fmla="*/ 22 w 136"/>
                    <a:gd name="T13" fmla="*/ 19 h 51"/>
                    <a:gd name="T14" fmla="*/ 69 w 136"/>
                    <a:gd name="T15" fmla="*/ 5 h 51"/>
                    <a:gd name="T16" fmla="*/ 115 w 136"/>
                    <a:gd name="T17" fmla="*/ 19 h 51"/>
                    <a:gd name="T18" fmla="*/ 68 w 136"/>
                    <a:gd name="T19" fmla="*/ 39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6" h="51">
                      <a:moveTo>
                        <a:pt x="129" y="21"/>
                      </a:moveTo>
                      <a:cubicBezTo>
                        <a:pt x="123" y="8"/>
                        <a:pt x="96" y="0"/>
                        <a:pt x="69" y="0"/>
                      </a:cubicBezTo>
                      <a:cubicBezTo>
                        <a:pt x="41" y="0"/>
                        <a:pt x="13" y="8"/>
                        <a:pt x="7" y="21"/>
                      </a:cubicBezTo>
                      <a:cubicBezTo>
                        <a:pt x="0" y="33"/>
                        <a:pt x="28" y="51"/>
                        <a:pt x="68" y="51"/>
                      </a:cubicBezTo>
                      <a:cubicBezTo>
                        <a:pt x="108" y="51"/>
                        <a:pt x="136" y="33"/>
                        <a:pt x="129" y="21"/>
                      </a:cubicBezTo>
                      <a:close/>
                      <a:moveTo>
                        <a:pt x="68" y="39"/>
                      </a:moveTo>
                      <a:cubicBezTo>
                        <a:pt x="39" y="39"/>
                        <a:pt x="19" y="28"/>
                        <a:pt x="22" y="19"/>
                      </a:cubicBezTo>
                      <a:cubicBezTo>
                        <a:pt x="26" y="10"/>
                        <a:pt x="47" y="5"/>
                        <a:pt x="69" y="5"/>
                      </a:cubicBezTo>
                      <a:cubicBezTo>
                        <a:pt x="91" y="5"/>
                        <a:pt x="111" y="10"/>
                        <a:pt x="115" y="19"/>
                      </a:cubicBezTo>
                      <a:cubicBezTo>
                        <a:pt x="118" y="28"/>
                        <a:pt x="98" y="39"/>
                        <a:pt x="68" y="39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" name="Freeform 170"/>
                <p:cNvSpPr>
                  <a:spLocks/>
                </p:cNvSpPr>
                <p:nvPr/>
              </p:nvSpPr>
              <p:spPr bwMode="auto">
                <a:xfrm>
                  <a:off x="8282612" y="3338655"/>
                  <a:ext cx="41429" cy="137753"/>
                </a:xfrm>
                <a:custGeom>
                  <a:avLst/>
                  <a:gdLst>
                    <a:gd name="T0" fmla="*/ 0 w 20"/>
                    <a:gd name="T1" fmla="*/ 0 h 67"/>
                    <a:gd name="T2" fmla="*/ 2 w 20"/>
                    <a:gd name="T3" fmla="*/ 67 h 67"/>
                    <a:gd name="T4" fmla="*/ 19 w 20"/>
                    <a:gd name="T5" fmla="*/ 67 h 67"/>
                    <a:gd name="T6" fmla="*/ 19 w 20"/>
                    <a:gd name="T7" fmla="*/ 0 h 67"/>
                    <a:gd name="T8" fmla="*/ 0 w 20"/>
                    <a:gd name="T9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67">
                      <a:moveTo>
                        <a:pt x="0" y="0"/>
                      </a:moveTo>
                      <a:cubicBezTo>
                        <a:pt x="2" y="67"/>
                        <a:pt x="2" y="67"/>
                        <a:pt x="2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0" y="44"/>
                        <a:pt x="19" y="0"/>
                        <a:pt x="19" y="0"/>
                      </a:cubicBezTo>
                      <a:cubicBezTo>
                        <a:pt x="19" y="0"/>
                        <a:pt x="7" y="0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" name="Freeform 171"/>
                <p:cNvSpPr>
                  <a:spLocks/>
                </p:cNvSpPr>
                <p:nvPr/>
              </p:nvSpPr>
              <p:spPr bwMode="auto">
                <a:xfrm>
                  <a:off x="8326112" y="3338655"/>
                  <a:ext cx="41429" cy="137753"/>
                </a:xfrm>
                <a:custGeom>
                  <a:avLst/>
                  <a:gdLst>
                    <a:gd name="T0" fmla="*/ 0 w 20"/>
                    <a:gd name="T1" fmla="*/ 0 h 67"/>
                    <a:gd name="T2" fmla="*/ 2 w 20"/>
                    <a:gd name="T3" fmla="*/ 67 h 67"/>
                    <a:gd name="T4" fmla="*/ 19 w 20"/>
                    <a:gd name="T5" fmla="*/ 67 h 67"/>
                    <a:gd name="T6" fmla="*/ 19 w 20"/>
                    <a:gd name="T7" fmla="*/ 0 h 67"/>
                    <a:gd name="T8" fmla="*/ 0 w 20"/>
                    <a:gd name="T9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67">
                      <a:moveTo>
                        <a:pt x="0" y="0"/>
                      </a:moveTo>
                      <a:cubicBezTo>
                        <a:pt x="2" y="67"/>
                        <a:pt x="2" y="67"/>
                        <a:pt x="2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0" y="44"/>
                        <a:pt x="19" y="0"/>
                        <a:pt x="19" y="0"/>
                      </a:cubicBezTo>
                      <a:cubicBezTo>
                        <a:pt x="19" y="0"/>
                        <a:pt x="7" y="0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" name="Oval 172"/>
                <p:cNvSpPr>
                  <a:spLocks noChangeArrowheads="1"/>
                </p:cNvSpPr>
                <p:nvPr/>
              </p:nvSpPr>
              <p:spPr bwMode="auto">
                <a:xfrm>
                  <a:off x="8297112" y="3136688"/>
                  <a:ext cx="53858" cy="64216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" name="Rectangle 173"/>
                <p:cNvSpPr>
                  <a:spLocks noChangeArrowheads="1"/>
                </p:cNvSpPr>
                <p:nvPr/>
              </p:nvSpPr>
              <p:spPr bwMode="auto">
                <a:xfrm>
                  <a:off x="8324041" y="3293084"/>
                  <a:ext cx="1036" cy="1036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" name="Freeform 174"/>
                <p:cNvSpPr>
                  <a:spLocks/>
                </p:cNvSpPr>
                <p:nvPr/>
              </p:nvSpPr>
              <p:spPr bwMode="auto">
                <a:xfrm>
                  <a:off x="8261896" y="3209189"/>
                  <a:ext cx="125324" cy="139824"/>
                </a:xfrm>
                <a:custGeom>
                  <a:avLst/>
                  <a:gdLst>
                    <a:gd name="T0" fmla="*/ 56 w 61"/>
                    <a:gd name="T1" fmla="*/ 8 h 68"/>
                    <a:gd name="T2" fmla="*/ 49 w 61"/>
                    <a:gd name="T3" fmla="*/ 1 h 68"/>
                    <a:gd name="T4" fmla="*/ 41 w 61"/>
                    <a:gd name="T5" fmla="*/ 0 h 68"/>
                    <a:gd name="T6" fmla="*/ 41 w 61"/>
                    <a:gd name="T7" fmla="*/ 0 h 68"/>
                    <a:gd name="T8" fmla="*/ 46 w 61"/>
                    <a:gd name="T9" fmla="*/ 5 h 68"/>
                    <a:gd name="T10" fmla="*/ 40 w 61"/>
                    <a:gd name="T11" fmla="*/ 8 h 68"/>
                    <a:gd name="T12" fmla="*/ 43 w 61"/>
                    <a:gd name="T13" fmla="*/ 13 h 68"/>
                    <a:gd name="T14" fmla="*/ 30 w 61"/>
                    <a:gd name="T15" fmla="*/ 41 h 68"/>
                    <a:gd name="T16" fmla="*/ 30 w 61"/>
                    <a:gd name="T17" fmla="*/ 41 h 68"/>
                    <a:gd name="T18" fmla="*/ 30 w 61"/>
                    <a:gd name="T19" fmla="*/ 41 h 68"/>
                    <a:gd name="T20" fmla="*/ 30 w 61"/>
                    <a:gd name="T21" fmla="*/ 41 h 68"/>
                    <a:gd name="T22" fmla="*/ 30 w 61"/>
                    <a:gd name="T23" fmla="*/ 41 h 68"/>
                    <a:gd name="T24" fmla="*/ 17 w 61"/>
                    <a:gd name="T25" fmla="*/ 13 h 68"/>
                    <a:gd name="T26" fmla="*/ 20 w 61"/>
                    <a:gd name="T27" fmla="*/ 8 h 68"/>
                    <a:gd name="T28" fmla="*/ 14 w 61"/>
                    <a:gd name="T29" fmla="*/ 5 h 68"/>
                    <a:gd name="T30" fmla="*/ 19 w 61"/>
                    <a:gd name="T31" fmla="*/ 0 h 68"/>
                    <a:gd name="T32" fmla="*/ 19 w 61"/>
                    <a:gd name="T33" fmla="*/ 0 h 68"/>
                    <a:gd name="T34" fmla="*/ 12 w 61"/>
                    <a:gd name="T35" fmla="*/ 1 h 68"/>
                    <a:gd name="T36" fmla="*/ 12 w 61"/>
                    <a:gd name="T37" fmla="*/ 1 h 68"/>
                    <a:gd name="T38" fmla="*/ 5 w 61"/>
                    <a:gd name="T39" fmla="*/ 8 h 68"/>
                    <a:gd name="T40" fmla="*/ 0 w 61"/>
                    <a:gd name="T41" fmla="*/ 68 h 68"/>
                    <a:gd name="T42" fmla="*/ 8 w 61"/>
                    <a:gd name="T43" fmla="*/ 68 h 68"/>
                    <a:gd name="T44" fmla="*/ 8 w 61"/>
                    <a:gd name="T45" fmla="*/ 68 h 68"/>
                    <a:gd name="T46" fmla="*/ 9 w 61"/>
                    <a:gd name="T47" fmla="*/ 68 h 68"/>
                    <a:gd name="T48" fmla="*/ 18 w 61"/>
                    <a:gd name="T49" fmla="*/ 68 h 68"/>
                    <a:gd name="T50" fmla="*/ 18 w 61"/>
                    <a:gd name="T51" fmla="*/ 68 h 68"/>
                    <a:gd name="T52" fmla="*/ 43 w 61"/>
                    <a:gd name="T53" fmla="*/ 68 h 68"/>
                    <a:gd name="T54" fmla="*/ 43 w 61"/>
                    <a:gd name="T55" fmla="*/ 68 h 68"/>
                    <a:gd name="T56" fmla="*/ 52 w 61"/>
                    <a:gd name="T57" fmla="*/ 68 h 68"/>
                    <a:gd name="T58" fmla="*/ 52 w 61"/>
                    <a:gd name="T59" fmla="*/ 68 h 68"/>
                    <a:gd name="T60" fmla="*/ 52 w 61"/>
                    <a:gd name="T61" fmla="*/ 68 h 68"/>
                    <a:gd name="T62" fmla="*/ 61 w 61"/>
                    <a:gd name="T63" fmla="*/ 68 h 68"/>
                    <a:gd name="T64" fmla="*/ 56 w 61"/>
                    <a:gd name="T65" fmla="*/ 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1" h="68">
                      <a:moveTo>
                        <a:pt x="56" y="8"/>
                      </a:moveTo>
                      <a:cubicBezTo>
                        <a:pt x="56" y="4"/>
                        <a:pt x="53" y="1"/>
                        <a:pt x="49" y="1"/>
                      </a:cubicBezTo>
                      <a:cubicBezTo>
                        <a:pt x="48" y="1"/>
                        <a:pt x="43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46" y="5"/>
                        <a:pt x="46" y="5"/>
                        <a:pt x="46" y="5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43" y="13"/>
                        <a:pt x="43" y="13"/>
                        <a:pt x="43" y="13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20" y="8"/>
                        <a:pt x="20" y="8"/>
                        <a:pt x="20" y="8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7" y="0"/>
                        <a:pt x="13" y="0"/>
                        <a:pt x="12" y="1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8" y="1"/>
                        <a:pt x="5" y="4"/>
                        <a:pt x="5" y="8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3" y="68"/>
                        <a:pt x="5" y="68"/>
                        <a:pt x="8" y="68"/>
                      </a:cubicBezTo>
                      <a:cubicBezTo>
                        <a:pt x="8" y="68"/>
                        <a:pt x="8" y="68"/>
                        <a:pt x="8" y="68"/>
                      </a:cubicBezTo>
                      <a:cubicBezTo>
                        <a:pt x="8" y="68"/>
                        <a:pt x="9" y="68"/>
                        <a:pt x="9" y="68"/>
                      </a:cubicBezTo>
                      <a:cubicBezTo>
                        <a:pt x="12" y="68"/>
                        <a:pt x="15" y="68"/>
                        <a:pt x="18" y="68"/>
                      </a:cubicBezTo>
                      <a:cubicBezTo>
                        <a:pt x="18" y="68"/>
                        <a:pt x="18" y="68"/>
                        <a:pt x="18" y="68"/>
                      </a:cubicBezTo>
                      <a:cubicBezTo>
                        <a:pt x="26" y="68"/>
                        <a:pt x="35" y="68"/>
                        <a:pt x="43" y="68"/>
                      </a:cubicBezTo>
                      <a:cubicBezTo>
                        <a:pt x="43" y="68"/>
                        <a:pt x="43" y="68"/>
                        <a:pt x="43" y="68"/>
                      </a:cubicBezTo>
                      <a:cubicBezTo>
                        <a:pt x="46" y="68"/>
                        <a:pt x="49" y="68"/>
                        <a:pt x="52" y="68"/>
                      </a:cubicBezTo>
                      <a:cubicBezTo>
                        <a:pt x="52" y="68"/>
                        <a:pt x="52" y="68"/>
                        <a:pt x="52" y="68"/>
                      </a:cubicBezTo>
                      <a:cubicBezTo>
                        <a:pt x="52" y="68"/>
                        <a:pt x="52" y="68"/>
                        <a:pt x="52" y="68"/>
                      </a:cubicBezTo>
                      <a:cubicBezTo>
                        <a:pt x="55" y="68"/>
                        <a:pt x="58" y="68"/>
                        <a:pt x="61" y="68"/>
                      </a:cubicBezTo>
                      <a:lnTo>
                        <a:pt x="56" y="8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" name="Freeform 175"/>
                <p:cNvSpPr>
                  <a:spLocks/>
                </p:cNvSpPr>
                <p:nvPr/>
              </p:nvSpPr>
              <p:spPr bwMode="auto">
                <a:xfrm>
                  <a:off x="8315754" y="3207118"/>
                  <a:ext cx="16572" cy="20715"/>
                </a:xfrm>
                <a:custGeom>
                  <a:avLst/>
                  <a:gdLst>
                    <a:gd name="T0" fmla="*/ 14 w 16"/>
                    <a:gd name="T1" fmla="*/ 0 h 20"/>
                    <a:gd name="T2" fmla="*/ 16 w 16"/>
                    <a:gd name="T3" fmla="*/ 12 h 20"/>
                    <a:gd name="T4" fmla="*/ 8 w 16"/>
                    <a:gd name="T5" fmla="*/ 20 h 20"/>
                    <a:gd name="T6" fmla="*/ 0 w 16"/>
                    <a:gd name="T7" fmla="*/ 12 h 20"/>
                    <a:gd name="T8" fmla="*/ 4 w 16"/>
                    <a:gd name="T9" fmla="*/ 0 h 20"/>
                    <a:gd name="T10" fmla="*/ 14 w 16"/>
                    <a:gd name="T1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0">
                      <a:moveTo>
                        <a:pt x="14" y="0"/>
                      </a:moveTo>
                      <a:lnTo>
                        <a:pt x="16" y="12"/>
                      </a:lnTo>
                      <a:lnTo>
                        <a:pt x="8" y="20"/>
                      </a:lnTo>
                      <a:lnTo>
                        <a:pt x="0" y="12"/>
                      </a:lnTo>
                      <a:lnTo>
                        <a:pt x="4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" name="Freeform 176"/>
                <p:cNvSpPr>
                  <a:spLocks/>
                </p:cNvSpPr>
                <p:nvPr/>
              </p:nvSpPr>
              <p:spPr bwMode="auto">
                <a:xfrm>
                  <a:off x="8313683" y="3221619"/>
                  <a:ext cx="20715" cy="79751"/>
                </a:xfrm>
                <a:custGeom>
                  <a:avLst/>
                  <a:gdLst>
                    <a:gd name="T0" fmla="*/ 16 w 20"/>
                    <a:gd name="T1" fmla="*/ 0 h 77"/>
                    <a:gd name="T2" fmla="*/ 20 w 20"/>
                    <a:gd name="T3" fmla="*/ 69 h 77"/>
                    <a:gd name="T4" fmla="*/ 10 w 20"/>
                    <a:gd name="T5" fmla="*/ 77 h 77"/>
                    <a:gd name="T6" fmla="*/ 0 w 20"/>
                    <a:gd name="T7" fmla="*/ 69 h 77"/>
                    <a:gd name="T8" fmla="*/ 4 w 20"/>
                    <a:gd name="T9" fmla="*/ 0 h 77"/>
                    <a:gd name="T10" fmla="*/ 16 w 20"/>
                    <a:gd name="T11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77">
                      <a:moveTo>
                        <a:pt x="16" y="0"/>
                      </a:moveTo>
                      <a:lnTo>
                        <a:pt x="20" y="69"/>
                      </a:lnTo>
                      <a:lnTo>
                        <a:pt x="10" y="77"/>
                      </a:lnTo>
                      <a:lnTo>
                        <a:pt x="0" y="69"/>
                      </a:lnTo>
                      <a:lnTo>
                        <a:pt x="4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" name="Freeform 177"/>
                <p:cNvSpPr>
                  <a:spLocks/>
                </p:cNvSpPr>
                <p:nvPr/>
              </p:nvSpPr>
              <p:spPr bwMode="auto">
                <a:xfrm>
                  <a:off x="8184217" y="3324156"/>
                  <a:ext cx="26929" cy="85966"/>
                </a:xfrm>
                <a:custGeom>
                  <a:avLst/>
                  <a:gdLst>
                    <a:gd name="T0" fmla="*/ 0 w 13"/>
                    <a:gd name="T1" fmla="*/ 0 h 42"/>
                    <a:gd name="T2" fmla="*/ 1 w 13"/>
                    <a:gd name="T3" fmla="*/ 42 h 42"/>
                    <a:gd name="T4" fmla="*/ 12 w 13"/>
                    <a:gd name="T5" fmla="*/ 42 h 42"/>
                    <a:gd name="T6" fmla="*/ 12 w 13"/>
                    <a:gd name="T7" fmla="*/ 0 h 42"/>
                    <a:gd name="T8" fmla="*/ 0 w 13"/>
                    <a:gd name="T9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42">
                      <a:moveTo>
                        <a:pt x="0" y="0"/>
                      </a:moveTo>
                      <a:cubicBezTo>
                        <a:pt x="1" y="42"/>
                        <a:pt x="1" y="42"/>
                        <a:pt x="1" y="42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3" y="28"/>
                        <a:pt x="12" y="0"/>
                        <a:pt x="12" y="0"/>
                      </a:cubicBezTo>
                      <a:cubicBezTo>
                        <a:pt x="12" y="0"/>
                        <a:pt x="5" y="0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" name="Freeform 178"/>
                <p:cNvSpPr>
                  <a:spLocks/>
                </p:cNvSpPr>
                <p:nvPr/>
              </p:nvSpPr>
              <p:spPr bwMode="auto">
                <a:xfrm>
                  <a:off x="8155216" y="3324156"/>
                  <a:ext cx="26929" cy="85966"/>
                </a:xfrm>
                <a:custGeom>
                  <a:avLst/>
                  <a:gdLst>
                    <a:gd name="T0" fmla="*/ 0 w 13"/>
                    <a:gd name="T1" fmla="*/ 0 h 42"/>
                    <a:gd name="T2" fmla="*/ 2 w 13"/>
                    <a:gd name="T3" fmla="*/ 42 h 42"/>
                    <a:gd name="T4" fmla="*/ 13 w 13"/>
                    <a:gd name="T5" fmla="*/ 42 h 42"/>
                    <a:gd name="T6" fmla="*/ 13 w 13"/>
                    <a:gd name="T7" fmla="*/ 0 h 42"/>
                    <a:gd name="T8" fmla="*/ 0 w 13"/>
                    <a:gd name="T9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42">
                      <a:moveTo>
                        <a:pt x="0" y="0"/>
                      </a:moveTo>
                      <a:cubicBezTo>
                        <a:pt x="2" y="42"/>
                        <a:pt x="2" y="42"/>
                        <a:pt x="2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28"/>
                        <a:pt x="13" y="0"/>
                        <a:pt x="13" y="0"/>
                      </a:cubicBezTo>
                      <a:cubicBezTo>
                        <a:pt x="13" y="0"/>
                        <a:pt x="5" y="0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" name="Oval 179"/>
                <p:cNvSpPr>
                  <a:spLocks noChangeArrowheads="1"/>
                </p:cNvSpPr>
                <p:nvPr/>
              </p:nvSpPr>
              <p:spPr bwMode="auto">
                <a:xfrm>
                  <a:off x="8165574" y="3196761"/>
                  <a:ext cx="35215" cy="41429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" name="Rectangle 180"/>
                <p:cNvSpPr>
                  <a:spLocks noChangeArrowheads="1"/>
                </p:cNvSpPr>
                <p:nvPr/>
              </p:nvSpPr>
              <p:spPr bwMode="auto">
                <a:xfrm>
                  <a:off x="8182145" y="3295155"/>
                  <a:ext cx="2072" cy="1036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" name="Freeform 181"/>
                <p:cNvSpPr>
                  <a:spLocks noEditPoints="1"/>
                </p:cNvSpPr>
                <p:nvPr/>
              </p:nvSpPr>
              <p:spPr bwMode="auto">
                <a:xfrm>
                  <a:off x="8136573" y="3242333"/>
                  <a:ext cx="106681" cy="94252"/>
                </a:xfrm>
                <a:custGeom>
                  <a:avLst/>
                  <a:gdLst>
                    <a:gd name="T0" fmla="*/ 51 w 52"/>
                    <a:gd name="T1" fmla="*/ 17 h 46"/>
                    <a:gd name="T2" fmla="*/ 51 w 52"/>
                    <a:gd name="T3" fmla="*/ 17 h 46"/>
                    <a:gd name="T4" fmla="*/ 51 w 52"/>
                    <a:gd name="T5" fmla="*/ 17 h 46"/>
                    <a:gd name="T6" fmla="*/ 37 w 52"/>
                    <a:gd name="T7" fmla="*/ 2 h 46"/>
                    <a:gd name="T8" fmla="*/ 34 w 52"/>
                    <a:gd name="T9" fmla="*/ 0 h 46"/>
                    <a:gd name="T10" fmla="*/ 29 w 52"/>
                    <a:gd name="T11" fmla="*/ 0 h 46"/>
                    <a:gd name="T12" fmla="*/ 29 w 52"/>
                    <a:gd name="T13" fmla="*/ 0 h 46"/>
                    <a:gd name="T14" fmla="*/ 33 w 52"/>
                    <a:gd name="T15" fmla="*/ 3 h 46"/>
                    <a:gd name="T16" fmla="*/ 29 w 52"/>
                    <a:gd name="T17" fmla="*/ 5 h 46"/>
                    <a:gd name="T18" fmla="*/ 31 w 52"/>
                    <a:gd name="T19" fmla="*/ 9 h 46"/>
                    <a:gd name="T20" fmla="*/ 23 w 52"/>
                    <a:gd name="T21" fmla="*/ 26 h 46"/>
                    <a:gd name="T22" fmla="*/ 23 w 52"/>
                    <a:gd name="T23" fmla="*/ 26 h 46"/>
                    <a:gd name="T24" fmla="*/ 22 w 52"/>
                    <a:gd name="T25" fmla="*/ 26 h 46"/>
                    <a:gd name="T26" fmla="*/ 22 w 52"/>
                    <a:gd name="T27" fmla="*/ 26 h 46"/>
                    <a:gd name="T28" fmla="*/ 22 w 52"/>
                    <a:gd name="T29" fmla="*/ 26 h 46"/>
                    <a:gd name="T30" fmla="*/ 14 w 52"/>
                    <a:gd name="T31" fmla="*/ 9 h 46"/>
                    <a:gd name="T32" fmla="*/ 16 w 52"/>
                    <a:gd name="T33" fmla="*/ 5 h 46"/>
                    <a:gd name="T34" fmla="*/ 12 w 52"/>
                    <a:gd name="T35" fmla="*/ 3 h 46"/>
                    <a:gd name="T36" fmla="*/ 16 w 52"/>
                    <a:gd name="T37" fmla="*/ 0 h 46"/>
                    <a:gd name="T38" fmla="*/ 16 w 52"/>
                    <a:gd name="T39" fmla="*/ 0 h 46"/>
                    <a:gd name="T40" fmla="*/ 11 w 52"/>
                    <a:gd name="T41" fmla="*/ 0 h 46"/>
                    <a:gd name="T42" fmla="*/ 7 w 52"/>
                    <a:gd name="T43" fmla="*/ 4 h 46"/>
                    <a:gd name="T44" fmla="*/ 0 w 52"/>
                    <a:gd name="T45" fmla="*/ 23 h 46"/>
                    <a:gd name="T46" fmla="*/ 8 w 52"/>
                    <a:gd name="T47" fmla="*/ 46 h 46"/>
                    <a:gd name="T48" fmla="*/ 13 w 52"/>
                    <a:gd name="T49" fmla="*/ 44 h 46"/>
                    <a:gd name="T50" fmla="*/ 37 w 52"/>
                    <a:gd name="T51" fmla="*/ 44 h 46"/>
                    <a:gd name="T52" fmla="*/ 37 w 52"/>
                    <a:gd name="T53" fmla="*/ 43 h 46"/>
                    <a:gd name="T54" fmla="*/ 36 w 52"/>
                    <a:gd name="T55" fmla="*/ 38 h 46"/>
                    <a:gd name="T56" fmla="*/ 43 w 52"/>
                    <a:gd name="T57" fmla="*/ 41 h 46"/>
                    <a:gd name="T58" fmla="*/ 47 w 52"/>
                    <a:gd name="T59" fmla="*/ 32 h 46"/>
                    <a:gd name="T60" fmla="*/ 49 w 52"/>
                    <a:gd name="T61" fmla="*/ 27 h 46"/>
                    <a:gd name="T62" fmla="*/ 51 w 52"/>
                    <a:gd name="T63" fmla="*/ 25 h 46"/>
                    <a:gd name="T64" fmla="*/ 51 w 52"/>
                    <a:gd name="T65" fmla="*/ 24 h 46"/>
                    <a:gd name="T66" fmla="*/ 51 w 52"/>
                    <a:gd name="T67" fmla="*/ 23 h 46"/>
                    <a:gd name="T68" fmla="*/ 52 w 52"/>
                    <a:gd name="T69" fmla="*/ 23 h 46"/>
                    <a:gd name="T70" fmla="*/ 52 w 52"/>
                    <a:gd name="T71" fmla="*/ 23 h 46"/>
                    <a:gd name="T72" fmla="*/ 52 w 52"/>
                    <a:gd name="T73" fmla="*/ 23 h 46"/>
                    <a:gd name="T74" fmla="*/ 52 w 52"/>
                    <a:gd name="T75" fmla="*/ 23 h 46"/>
                    <a:gd name="T76" fmla="*/ 51 w 52"/>
                    <a:gd name="T77" fmla="*/ 17 h 46"/>
                    <a:gd name="T78" fmla="*/ 40 w 52"/>
                    <a:gd name="T79" fmla="*/ 22 h 46"/>
                    <a:gd name="T80" fmla="*/ 38 w 52"/>
                    <a:gd name="T81" fmla="*/ 27 h 46"/>
                    <a:gd name="T82" fmla="*/ 36 w 52"/>
                    <a:gd name="T83" fmla="*/ 29 h 46"/>
                    <a:gd name="T84" fmla="*/ 36 w 52"/>
                    <a:gd name="T85" fmla="*/ 15 h 46"/>
                    <a:gd name="T86" fmla="*/ 41 w 52"/>
                    <a:gd name="T87" fmla="*/ 21 h 46"/>
                    <a:gd name="T88" fmla="*/ 40 w 52"/>
                    <a:gd name="T89" fmla="*/ 22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52" h="46">
                      <a:moveTo>
                        <a:pt x="51" y="17"/>
                      </a:moveTo>
                      <a:cubicBezTo>
                        <a:pt x="51" y="17"/>
                        <a:pt x="51" y="17"/>
                        <a:pt x="51" y="17"/>
                      </a:cubicBezTo>
                      <a:cubicBezTo>
                        <a:pt x="51" y="17"/>
                        <a:pt x="51" y="17"/>
                        <a:pt x="51" y="17"/>
                      </a:cubicBezTo>
                      <a:cubicBezTo>
                        <a:pt x="37" y="2"/>
                        <a:pt x="37" y="2"/>
                        <a:pt x="37" y="2"/>
                      </a:cubicBezTo>
                      <a:cubicBezTo>
                        <a:pt x="36" y="1"/>
                        <a:pt x="35" y="1"/>
                        <a:pt x="34" y="0"/>
                      </a:cubicBezTo>
                      <a:cubicBezTo>
                        <a:pt x="34" y="0"/>
                        <a:pt x="31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33" y="3"/>
                        <a:pt x="33" y="3"/>
                        <a:pt x="33" y="3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31" y="9"/>
                        <a:pt x="31" y="9"/>
                        <a:pt x="31" y="9"/>
                      </a:cubicBezTo>
                      <a:cubicBezTo>
                        <a:pt x="23" y="26"/>
                        <a:pt x="23" y="26"/>
                        <a:pt x="23" y="26"/>
                      </a:cubicBezTo>
                      <a:cubicBezTo>
                        <a:pt x="23" y="26"/>
                        <a:pt x="23" y="26"/>
                        <a:pt x="23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6" y="5"/>
                        <a:pt x="16" y="5"/>
                        <a:pt x="16" y="5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4" y="0"/>
                        <a:pt x="12" y="0"/>
                        <a:pt x="11" y="0"/>
                      </a:cubicBezTo>
                      <a:cubicBezTo>
                        <a:pt x="10" y="1"/>
                        <a:pt x="8" y="2"/>
                        <a:pt x="7" y="4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2" y="37"/>
                        <a:pt x="5" y="38"/>
                        <a:pt x="8" y="46"/>
                      </a:cubicBezTo>
                      <a:cubicBezTo>
                        <a:pt x="9" y="45"/>
                        <a:pt x="11" y="44"/>
                        <a:pt x="13" y="44"/>
                      </a:cubicBezTo>
                      <a:cubicBezTo>
                        <a:pt x="21" y="44"/>
                        <a:pt x="29" y="44"/>
                        <a:pt x="37" y="44"/>
                      </a:cubicBezTo>
                      <a:cubicBezTo>
                        <a:pt x="37" y="43"/>
                        <a:pt x="37" y="43"/>
                        <a:pt x="37" y="43"/>
                      </a:cubicBezTo>
                      <a:cubicBezTo>
                        <a:pt x="37" y="41"/>
                        <a:pt x="36" y="39"/>
                        <a:pt x="36" y="38"/>
                      </a:cubicBezTo>
                      <a:cubicBezTo>
                        <a:pt x="38" y="39"/>
                        <a:pt x="41" y="40"/>
                        <a:pt x="43" y="41"/>
                      </a:cubicBezTo>
                      <a:cubicBezTo>
                        <a:pt x="47" y="32"/>
                        <a:pt x="47" y="32"/>
                        <a:pt x="47" y="32"/>
                      </a:cubicBezTo>
                      <a:cubicBezTo>
                        <a:pt x="49" y="27"/>
                        <a:pt x="49" y="27"/>
                        <a:pt x="49" y="27"/>
                      </a:cubicBezTo>
                      <a:cubicBezTo>
                        <a:pt x="51" y="25"/>
                        <a:pt x="51" y="25"/>
                        <a:pt x="51" y="25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2" y="23"/>
                        <a:pt x="52" y="23"/>
                        <a:pt x="52" y="23"/>
                      </a:cubicBezTo>
                      <a:cubicBezTo>
                        <a:pt x="52" y="23"/>
                        <a:pt x="52" y="23"/>
                        <a:pt x="52" y="23"/>
                      </a:cubicBezTo>
                      <a:cubicBezTo>
                        <a:pt x="52" y="23"/>
                        <a:pt x="52" y="23"/>
                        <a:pt x="52" y="23"/>
                      </a:cubicBezTo>
                      <a:cubicBezTo>
                        <a:pt x="52" y="23"/>
                        <a:pt x="52" y="23"/>
                        <a:pt x="52" y="23"/>
                      </a:cubicBezTo>
                      <a:cubicBezTo>
                        <a:pt x="51" y="20"/>
                        <a:pt x="52" y="29"/>
                        <a:pt x="51" y="17"/>
                      </a:cubicBezTo>
                      <a:close/>
                      <a:moveTo>
                        <a:pt x="40" y="22"/>
                      </a:moveTo>
                      <a:cubicBezTo>
                        <a:pt x="38" y="27"/>
                        <a:pt x="38" y="27"/>
                        <a:pt x="38" y="27"/>
                      </a:cubicBezTo>
                      <a:cubicBezTo>
                        <a:pt x="36" y="29"/>
                        <a:pt x="36" y="29"/>
                        <a:pt x="36" y="29"/>
                      </a:cubicBezTo>
                      <a:cubicBezTo>
                        <a:pt x="36" y="24"/>
                        <a:pt x="36" y="20"/>
                        <a:pt x="36" y="15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lnTo>
                        <a:pt x="40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" name="Freeform 182"/>
                <p:cNvSpPr>
                  <a:spLocks/>
                </p:cNvSpPr>
                <p:nvPr/>
              </p:nvSpPr>
              <p:spPr bwMode="auto">
                <a:xfrm>
                  <a:off x="8178002" y="3240261"/>
                  <a:ext cx="10358" cy="12429"/>
                </a:xfrm>
                <a:custGeom>
                  <a:avLst/>
                  <a:gdLst>
                    <a:gd name="T0" fmla="*/ 2 w 10"/>
                    <a:gd name="T1" fmla="*/ 0 h 12"/>
                    <a:gd name="T2" fmla="*/ 0 w 10"/>
                    <a:gd name="T3" fmla="*/ 8 h 12"/>
                    <a:gd name="T4" fmla="*/ 4 w 10"/>
                    <a:gd name="T5" fmla="*/ 12 h 12"/>
                    <a:gd name="T6" fmla="*/ 10 w 10"/>
                    <a:gd name="T7" fmla="*/ 8 h 12"/>
                    <a:gd name="T8" fmla="*/ 8 w 10"/>
                    <a:gd name="T9" fmla="*/ 0 h 12"/>
                    <a:gd name="T10" fmla="*/ 2 w 10"/>
                    <a:gd name="T1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2">
                      <a:moveTo>
                        <a:pt x="2" y="0"/>
                      </a:moveTo>
                      <a:lnTo>
                        <a:pt x="0" y="8"/>
                      </a:lnTo>
                      <a:lnTo>
                        <a:pt x="4" y="12"/>
                      </a:lnTo>
                      <a:lnTo>
                        <a:pt x="10" y="8"/>
                      </a:lnTo>
                      <a:lnTo>
                        <a:pt x="8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" name="Freeform 183"/>
                <p:cNvSpPr>
                  <a:spLocks/>
                </p:cNvSpPr>
                <p:nvPr/>
              </p:nvSpPr>
              <p:spPr bwMode="auto">
                <a:xfrm>
                  <a:off x="8175930" y="3248547"/>
                  <a:ext cx="14501" cy="50751"/>
                </a:xfrm>
                <a:custGeom>
                  <a:avLst/>
                  <a:gdLst>
                    <a:gd name="T0" fmla="*/ 4 w 14"/>
                    <a:gd name="T1" fmla="*/ 0 h 49"/>
                    <a:gd name="T2" fmla="*/ 0 w 14"/>
                    <a:gd name="T3" fmla="*/ 45 h 49"/>
                    <a:gd name="T4" fmla="*/ 6 w 14"/>
                    <a:gd name="T5" fmla="*/ 49 h 49"/>
                    <a:gd name="T6" fmla="*/ 14 w 14"/>
                    <a:gd name="T7" fmla="*/ 45 h 49"/>
                    <a:gd name="T8" fmla="*/ 10 w 14"/>
                    <a:gd name="T9" fmla="*/ 0 h 49"/>
                    <a:gd name="T10" fmla="*/ 4 w 14"/>
                    <a:gd name="T11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49">
                      <a:moveTo>
                        <a:pt x="4" y="0"/>
                      </a:moveTo>
                      <a:lnTo>
                        <a:pt x="0" y="45"/>
                      </a:lnTo>
                      <a:lnTo>
                        <a:pt x="6" y="49"/>
                      </a:lnTo>
                      <a:lnTo>
                        <a:pt x="14" y="45"/>
                      </a:lnTo>
                      <a:lnTo>
                        <a:pt x="10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" name="Freeform 184"/>
                <p:cNvSpPr>
                  <a:spLocks/>
                </p:cNvSpPr>
                <p:nvPr/>
              </p:nvSpPr>
              <p:spPr bwMode="auto">
                <a:xfrm>
                  <a:off x="8465936" y="3326228"/>
                  <a:ext cx="24857" cy="88037"/>
                </a:xfrm>
                <a:custGeom>
                  <a:avLst/>
                  <a:gdLst>
                    <a:gd name="T0" fmla="*/ 0 w 12"/>
                    <a:gd name="T1" fmla="*/ 0 h 43"/>
                    <a:gd name="T2" fmla="*/ 1 w 12"/>
                    <a:gd name="T3" fmla="*/ 43 h 43"/>
                    <a:gd name="T4" fmla="*/ 12 w 12"/>
                    <a:gd name="T5" fmla="*/ 43 h 43"/>
                    <a:gd name="T6" fmla="*/ 12 w 12"/>
                    <a:gd name="T7" fmla="*/ 0 h 43"/>
                    <a:gd name="T8" fmla="*/ 0 w 12"/>
                    <a:gd name="T9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43">
                      <a:moveTo>
                        <a:pt x="0" y="0"/>
                      </a:moveTo>
                      <a:cubicBezTo>
                        <a:pt x="1" y="43"/>
                        <a:pt x="1" y="43"/>
                        <a:pt x="1" y="43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12" y="28"/>
                        <a:pt x="12" y="0"/>
                        <a:pt x="12" y="0"/>
                      </a:cubicBezTo>
                      <a:cubicBezTo>
                        <a:pt x="12" y="0"/>
                        <a:pt x="4" y="0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eform 185"/>
                <p:cNvSpPr>
                  <a:spLocks/>
                </p:cNvSpPr>
                <p:nvPr/>
              </p:nvSpPr>
              <p:spPr bwMode="auto">
                <a:xfrm>
                  <a:off x="8436936" y="3326228"/>
                  <a:ext cx="26929" cy="88037"/>
                </a:xfrm>
                <a:custGeom>
                  <a:avLst/>
                  <a:gdLst>
                    <a:gd name="T0" fmla="*/ 0 w 13"/>
                    <a:gd name="T1" fmla="*/ 0 h 43"/>
                    <a:gd name="T2" fmla="*/ 1 w 13"/>
                    <a:gd name="T3" fmla="*/ 43 h 43"/>
                    <a:gd name="T4" fmla="*/ 13 w 13"/>
                    <a:gd name="T5" fmla="*/ 43 h 43"/>
                    <a:gd name="T6" fmla="*/ 13 w 13"/>
                    <a:gd name="T7" fmla="*/ 0 h 43"/>
                    <a:gd name="T8" fmla="*/ 0 w 13"/>
                    <a:gd name="T9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43">
                      <a:moveTo>
                        <a:pt x="0" y="0"/>
                      </a:moveTo>
                      <a:cubicBezTo>
                        <a:pt x="1" y="43"/>
                        <a:pt x="1" y="43"/>
                        <a:pt x="1" y="43"/>
                      </a:cubicBezTo>
                      <a:cubicBezTo>
                        <a:pt x="13" y="43"/>
                        <a:pt x="13" y="43"/>
                        <a:pt x="13" y="43"/>
                      </a:cubicBezTo>
                      <a:cubicBezTo>
                        <a:pt x="13" y="28"/>
                        <a:pt x="13" y="0"/>
                        <a:pt x="13" y="0"/>
                      </a:cubicBezTo>
                      <a:cubicBezTo>
                        <a:pt x="13" y="0"/>
                        <a:pt x="5" y="0"/>
                        <a:pt x="0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Oval 186"/>
                <p:cNvSpPr>
                  <a:spLocks noChangeArrowheads="1"/>
                </p:cNvSpPr>
                <p:nvPr/>
              </p:nvSpPr>
              <p:spPr bwMode="auto">
                <a:xfrm>
                  <a:off x="8447294" y="3198832"/>
                  <a:ext cx="33143" cy="41429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Rectangle 187"/>
                <p:cNvSpPr>
                  <a:spLocks noChangeArrowheads="1"/>
                </p:cNvSpPr>
                <p:nvPr/>
              </p:nvSpPr>
              <p:spPr bwMode="auto">
                <a:xfrm>
                  <a:off x="8463865" y="3297227"/>
                  <a:ext cx="1036" cy="1036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eform 188"/>
                <p:cNvSpPr>
                  <a:spLocks/>
                </p:cNvSpPr>
                <p:nvPr/>
              </p:nvSpPr>
              <p:spPr bwMode="auto">
                <a:xfrm>
                  <a:off x="8418292" y="3244404"/>
                  <a:ext cx="89073" cy="94252"/>
                </a:xfrm>
                <a:custGeom>
                  <a:avLst/>
                  <a:gdLst>
                    <a:gd name="T0" fmla="*/ 42 w 43"/>
                    <a:gd name="T1" fmla="*/ 24 h 46"/>
                    <a:gd name="T2" fmla="*/ 38 w 43"/>
                    <a:gd name="T3" fmla="*/ 5 h 46"/>
                    <a:gd name="T4" fmla="*/ 34 w 43"/>
                    <a:gd name="T5" fmla="*/ 1 h 46"/>
                    <a:gd name="T6" fmla="*/ 29 w 43"/>
                    <a:gd name="T7" fmla="*/ 0 h 46"/>
                    <a:gd name="T8" fmla="*/ 29 w 43"/>
                    <a:gd name="T9" fmla="*/ 0 h 46"/>
                    <a:gd name="T10" fmla="*/ 32 w 43"/>
                    <a:gd name="T11" fmla="*/ 3 h 46"/>
                    <a:gd name="T12" fmla="*/ 28 w 43"/>
                    <a:gd name="T13" fmla="*/ 5 h 46"/>
                    <a:gd name="T14" fmla="*/ 30 w 43"/>
                    <a:gd name="T15" fmla="*/ 9 h 46"/>
                    <a:gd name="T16" fmla="*/ 22 w 43"/>
                    <a:gd name="T17" fmla="*/ 26 h 46"/>
                    <a:gd name="T18" fmla="*/ 22 w 43"/>
                    <a:gd name="T19" fmla="*/ 26 h 46"/>
                    <a:gd name="T20" fmla="*/ 22 w 43"/>
                    <a:gd name="T21" fmla="*/ 26 h 46"/>
                    <a:gd name="T22" fmla="*/ 22 w 43"/>
                    <a:gd name="T23" fmla="*/ 26 h 46"/>
                    <a:gd name="T24" fmla="*/ 22 w 43"/>
                    <a:gd name="T25" fmla="*/ 26 h 46"/>
                    <a:gd name="T26" fmla="*/ 14 w 43"/>
                    <a:gd name="T27" fmla="*/ 9 h 46"/>
                    <a:gd name="T28" fmla="*/ 16 w 43"/>
                    <a:gd name="T29" fmla="*/ 5 h 46"/>
                    <a:gd name="T30" fmla="*/ 12 w 43"/>
                    <a:gd name="T31" fmla="*/ 3 h 46"/>
                    <a:gd name="T32" fmla="*/ 15 w 43"/>
                    <a:gd name="T33" fmla="*/ 0 h 46"/>
                    <a:gd name="T34" fmla="*/ 15 w 43"/>
                    <a:gd name="T35" fmla="*/ 0 h 46"/>
                    <a:gd name="T36" fmla="*/ 11 w 43"/>
                    <a:gd name="T37" fmla="*/ 1 h 46"/>
                    <a:gd name="T38" fmla="*/ 7 w 43"/>
                    <a:gd name="T39" fmla="*/ 4 h 46"/>
                    <a:gd name="T40" fmla="*/ 0 w 43"/>
                    <a:gd name="T41" fmla="*/ 23 h 46"/>
                    <a:gd name="T42" fmla="*/ 7 w 43"/>
                    <a:gd name="T43" fmla="*/ 46 h 46"/>
                    <a:gd name="T44" fmla="*/ 12 w 43"/>
                    <a:gd name="T45" fmla="*/ 44 h 46"/>
                    <a:gd name="T46" fmla="*/ 30 w 43"/>
                    <a:gd name="T47" fmla="*/ 44 h 46"/>
                    <a:gd name="T48" fmla="*/ 30 w 43"/>
                    <a:gd name="T49" fmla="*/ 45 h 46"/>
                    <a:gd name="T50" fmla="*/ 42 w 43"/>
                    <a:gd name="T51" fmla="*/ 45 h 46"/>
                    <a:gd name="T52" fmla="*/ 42 w 43"/>
                    <a:gd name="T53" fmla="*/ 24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3" h="46">
                      <a:moveTo>
                        <a:pt x="42" y="24"/>
                      </a:moveTo>
                      <a:cubicBezTo>
                        <a:pt x="38" y="5"/>
                        <a:pt x="38" y="5"/>
                        <a:pt x="38" y="5"/>
                      </a:cubicBezTo>
                      <a:cubicBezTo>
                        <a:pt x="37" y="3"/>
                        <a:pt x="36" y="1"/>
                        <a:pt x="34" y="1"/>
                      </a:cubicBezTo>
                      <a:cubicBezTo>
                        <a:pt x="34" y="1"/>
                        <a:pt x="30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6" y="5"/>
                        <a:pt x="16" y="5"/>
                        <a:pt x="16" y="5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4" y="0"/>
                        <a:pt x="11" y="0"/>
                        <a:pt x="11" y="1"/>
                      </a:cubicBezTo>
                      <a:cubicBezTo>
                        <a:pt x="9" y="1"/>
                        <a:pt x="8" y="2"/>
                        <a:pt x="7" y="4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1" y="37"/>
                        <a:pt x="5" y="38"/>
                        <a:pt x="7" y="46"/>
                      </a:cubicBezTo>
                      <a:cubicBezTo>
                        <a:pt x="9" y="45"/>
                        <a:pt x="11" y="44"/>
                        <a:pt x="12" y="44"/>
                      </a:cubicBezTo>
                      <a:cubicBezTo>
                        <a:pt x="18" y="44"/>
                        <a:pt x="24" y="44"/>
                        <a:pt x="30" y="44"/>
                      </a:cubicBezTo>
                      <a:cubicBezTo>
                        <a:pt x="30" y="44"/>
                        <a:pt x="30" y="44"/>
                        <a:pt x="30" y="45"/>
                      </a:cubicBezTo>
                      <a:cubicBezTo>
                        <a:pt x="34" y="45"/>
                        <a:pt x="38" y="45"/>
                        <a:pt x="42" y="45"/>
                      </a:cubicBezTo>
                      <a:cubicBezTo>
                        <a:pt x="42" y="38"/>
                        <a:pt x="43" y="33"/>
                        <a:pt x="42" y="24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7" name="Freeform 189"/>
                <p:cNvSpPr>
                  <a:spLocks/>
                </p:cNvSpPr>
                <p:nvPr/>
              </p:nvSpPr>
              <p:spPr bwMode="auto">
                <a:xfrm>
                  <a:off x="8457650" y="3244404"/>
                  <a:ext cx="12429" cy="12429"/>
                </a:xfrm>
                <a:custGeom>
                  <a:avLst/>
                  <a:gdLst>
                    <a:gd name="T0" fmla="*/ 2 w 12"/>
                    <a:gd name="T1" fmla="*/ 0 h 12"/>
                    <a:gd name="T2" fmla="*/ 0 w 12"/>
                    <a:gd name="T3" fmla="*/ 8 h 12"/>
                    <a:gd name="T4" fmla="*/ 6 w 12"/>
                    <a:gd name="T5" fmla="*/ 12 h 12"/>
                    <a:gd name="T6" fmla="*/ 12 w 12"/>
                    <a:gd name="T7" fmla="*/ 8 h 12"/>
                    <a:gd name="T8" fmla="*/ 10 w 12"/>
                    <a:gd name="T9" fmla="*/ 0 h 12"/>
                    <a:gd name="T10" fmla="*/ 2 w 12"/>
                    <a:gd name="T1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12">
                      <a:moveTo>
                        <a:pt x="2" y="0"/>
                      </a:moveTo>
                      <a:lnTo>
                        <a:pt x="0" y="8"/>
                      </a:lnTo>
                      <a:lnTo>
                        <a:pt x="6" y="12"/>
                      </a:lnTo>
                      <a:lnTo>
                        <a:pt x="12" y="8"/>
                      </a:lnTo>
                      <a:lnTo>
                        <a:pt x="1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Freeform 190"/>
                <p:cNvSpPr>
                  <a:spLocks/>
                </p:cNvSpPr>
                <p:nvPr/>
              </p:nvSpPr>
              <p:spPr bwMode="auto">
                <a:xfrm>
                  <a:off x="8457650" y="3252690"/>
                  <a:ext cx="12429" cy="50751"/>
                </a:xfrm>
                <a:custGeom>
                  <a:avLst/>
                  <a:gdLst>
                    <a:gd name="T0" fmla="*/ 2 w 12"/>
                    <a:gd name="T1" fmla="*/ 0 h 49"/>
                    <a:gd name="T2" fmla="*/ 0 w 12"/>
                    <a:gd name="T3" fmla="*/ 43 h 49"/>
                    <a:gd name="T4" fmla="*/ 6 w 12"/>
                    <a:gd name="T5" fmla="*/ 49 h 49"/>
                    <a:gd name="T6" fmla="*/ 12 w 12"/>
                    <a:gd name="T7" fmla="*/ 43 h 49"/>
                    <a:gd name="T8" fmla="*/ 10 w 12"/>
                    <a:gd name="T9" fmla="*/ 0 h 49"/>
                    <a:gd name="T10" fmla="*/ 2 w 12"/>
                    <a:gd name="T11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9">
                      <a:moveTo>
                        <a:pt x="2" y="0"/>
                      </a:moveTo>
                      <a:lnTo>
                        <a:pt x="0" y="43"/>
                      </a:lnTo>
                      <a:lnTo>
                        <a:pt x="6" y="49"/>
                      </a:lnTo>
                      <a:lnTo>
                        <a:pt x="12" y="43"/>
                      </a:lnTo>
                      <a:lnTo>
                        <a:pt x="1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3" name="组合 132">
              <a:extLst>
                <a:ext uri="{FF2B5EF4-FFF2-40B4-BE49-F238E27FC236}">
                  <a16:creationId xmlns:a16="http://schemas.microsoft.com/office/drawing/2014/main" id="{710A3A3B-2B01-4B07-A801-20DD18B848E0}"/>
                </a:ext>
              </a:extLst>
            </p:cNvPr>
            <p:cNvGrpSpPr/>
            <p:nvPr userDrawn="1"/>
          </p:nvGrpSpPr>
          <p:grpSpPr>
            <a:xfrm>
              <a:off x="9280996" y="366870"/>
              <a:ext cx="514249" cy="514249"/>
              <a:chOff x="4485069" y="3107322"/>
              <a:chExt cx="828000" cy="828000"/>
            </a:xfrm>
          </p:grpSpPr>
          <p:sp>
            <p:nvSpPr>
              <p:cNvPr id="134" name="Oval 33">
                <a:extLst>
                  <a:ext uri="{FF2B5EF4-FFF2-40B4-BE49-F238E27FC236}">
                    <a16:creationId xmlns:a16="http://schemas.microsoft.com/office/drawing/2014/main" id="{73A8F702-CF71-4C5A-A469-2A800F15E6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85069" y="3107322"/>
                <a:ext cx="828000" cy="82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sp>
            <p:nvSpPr>
              <p:cNvPr id="135" name="Oval 33">
                <a:extLst>
                  <a:ext uri="{FF2B5EF4-FFF2-40B4-BE49-F238E27FC236}">
                    <a16:creationId xmlns:a16="http://schemas.microsoft.com/office/drawing/2014/main" id="{C5F9A404-DBAD-4F94-A3B5-9A4CBD9E43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9069" y="3161322"/>
                <a:ext cx="720000" cy="72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txBody>
              <a:bodyPr/>
              <a:lstStyle/>
              <a:p>
                <a:endParaRPr lang="zh-CN" altLang="zh-CN" sz="1600">
                  <a:solidFill>
                    <a:srgbClr val="000000"/>
                  </a:solidFill>
                  <a:sym typeface="宋体" panose="02010600030101010101" pitchFamily="2" charset="-122"/>
                </a:endParaRPr>
              </a:p>
            </p:txBody>
          </p:sp>
          <p:grpSp>
            <p:nvGrpSpPr>
              <p:cNvPr id="136" name="组合 135">
                <a:extLst>
                  <a:ext uri="{FF2B5EF4-FFF2-40B4-BE49-F238E27FC236}">
                    <a16:creationId xmlns:a16="http://schemas.microsoft.com/office/drawing/2014/main" id="{1115F717-E1ED-4D71-BB0B-8749A7AD052D}"/>
                  </a:ext>
                </a:extLst>
              </p:cNvPr>
              <p:cNvGrpSpPr/>
              <p:nvPr/>
            </p:nvGrpSpPr>
            <p:grpSpPr>
              <a:xfrm>
                <a:off x="4653670" y="3270052"/>
                <a:ext cx="441460" cy="502539"/>
                <a:chOff x="9007025" y="1146838"/>
                <a:chExt cx="1545345" cy="1759155"/>
              </a:xfrm>
            </p:grpSpPr>
            <p:grpSp>
              <p:nvGrpSpPr>
                <p:cNvPr id="137" name="组合 136">
                  <a:extLst>
                    <a:ext uri="{FF2B5EF4-FFF2-40B4-BE49-F238E27FC236}">
                      <a16:creationId xmlns:a16="http://schemas.microsoft.com/office/drawing/2014/main" id="{391E2A66-304D-468E-A7FC-39B8098F6712}"/>
                    </a:ext>
                  </a:extLst>
                </p:cNvPr>
                <p:cNvGrpSpPr/>
                <p:nvPr/>
              </p:nvGrpSpPr>
              <p:grpSpPr>
                <a:xfrm>
                  <a:off x="9007025" y="1700817"/>
                  <a:ext cx="1545345" cy="1205176"/>
                  <a:chOff x="6408969" y="4266674"/>
                  <a:chExt cx="329363" cy="256862"/>
                </a:xfrm>
              </p:grpSpPr>
              <p:sp>
                <p:nvSpPr>
                  <p:cNvPr id="149" name="Oval 211">
                    <a:extLst>
                      <a:ext uri="{FF2B5EF4-FFF2-40B4-BE49-F238E27FC236}">
                        <a16:creationId xmlns:a16="http://schemas.microsoft.com/office/drawing/2014/main" id="{37665954-D610-4B09-AFF6-DB3F4247FFD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669974" y="4270816"/>
                    <a:ext cx="39358" cy="46608"/>
                  </a:xfrm>
                  <a:prstGeom prst="ellipse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0" name="Freeform 212">
                    <a:extLst>
                      <a:ext uri="{FF2B5EF4-FFF2-40B4-BE49-F238E27FC236}">
                        <a16:creationId xmlns:a16="http://schemas.microsoft.com/office/drawing/2014/main" id="{5E7BE38D-56C8-411F-A932-1DB3F7A511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619223" y="4321567"/>
                    <a:ext cx="119109" cy="201968"/>
                  </a:xfrm>
                  <a:custGeom>
                    <a:avLst/>
                    <a:gdLst>
                      <a:gd name="T0" fmla="*/ 53 w 58"/>
                      <a:gd name="T1" fmla="*/ 7 h 98"/>
                      <a:gd name="T2" fmla="*/ 48 w 58"/>
                      <a:gd name="T3" fmla="*/ 1 h 98"/>
                      <a:gd name="T4" fmla="*/ 47 w 58"/>
                      <a:gd name="T5" fmla="*/ 1 h 98"/>
                      <a:gd name="T6" fmla="*/ 43 w 58"/>
                      <a:gd name="T7" fmla="*/ 1 h 98"/>
                      <a:gd name="T8" fmla="*/ 43 w 58"/>
                      <a:gd name="T9" fmla="*/ 1 h 98"/>
                      <a:gd name="T10" fmla="*/ 47 w 58"/>
                      <a:gd name="T11" fmla="*/ 4 h 98"/>
                      <a:gd name="T12" fmla="*/ 42 w 58"/>
                      <a:gd name="T13" fmla="*/ 7 h 98"/>
                      <a:gd name="T14" fmla="*/ 44 w 58"/>
                      <a:gd name="T15" fmla="*/ 11 h 98"/>
                      <a:gd name="T16" fmla="*/ 38 w 58"/>
                      <a:gd name="T17" fmla="*/ 25 h 98"/>
                      <a:gd name="T18" fmla="*/ 37 w 58"/>
                      <a:gd name="T19" fmla="*/ 5 h 98"/>
                      <a:gd name="T20" fmla="*/ 38 w 58"/>
                      <a:gd name="T21" fmla="*/ 4 h 98"/>
                      <a:gd name="T22" fmla="*/ 37 w 58"/>
                      <a:gd name="T23" fmla="*/ 0 h 98"/>
                      <a:gd name="T24" fmla="*/ 33 w 58"/>
                      <a:gd name="T25" fmla="*/ 0 h 98"/>
                      <a:gd name="T26" fmla="*/ 32 w 58"/>
                      <a:gd name="T27" fmla="*/ 4 h 98"/>
                      <a:gd name="T28" fmla="*/ 33 w 58"/>
                      <a:gd name="T29" fmla="*/ 5 h 98"/>
                      <a:gd name="T30" fmla="*/ 32 w 58"/>
                      <a:gd name="T31" fmla="*/ 25 h 98"/>
                      <a:gd name="T32" fmla="*/ 25 w 58"/>
                      <a:gd name="T33" fmla="*/ 11 h 98"/>
                      <a:gd name="T34" fmla="*/ 28 w 58"/>
                      <a:gd name="T35" fmla="*/ 7 h 98"/>
                      <a:gd name="T36" fmla="*/ 23 w 58"/>
                      <a:gd name="T37" fmla="*/ 4 h 98"/>
                      <a:gd name="T38" fmla="*/ 27 w 58"/>
                      <a:gd name="T39" fmla="*/ 1 h 98"/>
                      <a:gd name="T40" fmla="*/ 27 w 58"/>
                      <a:gd name="T41" fmla="*/ 1 h 98"/>
                      <a:gd name="T42" fmla="*/ 22 w 58"/>
                      <a:gd name="T43" fmla="*/ 1 h 98"/>
                      <a:gd name="T44" fmla="*/ 22 w 58"/>
                      <a:gd name="T45" fmla="*/ 1 h 98"/>
                      <a:gd name="T46" fmla="*/ 17 w 58"/>
                      <a:gd name="T47" fmla="*/ 5 h 98"/>
                      <a:gd name="T48" fmla="*/ 0 w 58"/>
                      <a:gd name="T49" fmla="*/ 45 h 98"/>
                      <a:gd name="T50" fmla="*/ 12 w 58"/>
                      <a:gd name="T51" fmla="*/ 51 h 98"/>
                      <a:gd name="T52" fmla="*/ 19 w 58"/>
                      <a:gd name="T53" fmla="*/ 36 h 98"/>
                      <a:gd name="T54" fmla="*/ 18 w 58"/>
                      <a:gd name="T55" fmla="*/ 52 h 98"/>
                      <a:gd name="T56" fmla="*/ 18 w 58"/>
                      <a:gd name="T57" fmla="*/ 52 h 98"/>
                      <a:gd name="T58" fmla="*/ 20 w 58"/>
                      <a:gd name="T59" fmla="*/ 52 h 98"/>
                      <a:gd name="T60" fmla="*/ 21 w 58"/>
                      <a:gd name="T61" fmla="*/ 98 h 98"/>
                      <a:gd name="T62" fmla="*/ 34 w 58"/>
                      <a:gd name="T63" fmla="*/ 98 h 98"/>
                      <a:gd name="T64" fmla="*/ 34 w 58"/>
                      <a:gd name="T65" fmla="*/ 52 h 98"/>
                      <a:gd name="T66" fmla="*/ 35 w 58"/>
                      <a:gd name="T67" fmla="*/ 52 h 98"/>
                      <a:gd name="T68" fmla="*/ 37 w 58"/>
                      <a:gd name="T69" fmla="*/ 98 h 98"/>
                      <a:gd name="T70" fmla="*/ 50 w 58"/>
                      <a:gd name="T71" fmla="*/ 98 h 98"/>
                      <a:gd name="T72" fmla="*/ 50 w 58"/>
                      <a:gd name="T73" fmla="*/ 52 h 98"/>
                      <a:gd name="T74" fmla="*/ 51 w 58"/>
                      <a:gd name="T75" fmla="*/ 52 h 98"/>
                      <a:gd name="T76" fmla="*/ 51 w 58"/>
                      <a:gd name="T77" fmla="*/ 52 h 98"/>
                      <a:gd name="T78" fmla="*/ 51 w 58"/>
                      <a:gd name="T79" fmla="*/ 52 h 98"/>
                      <a:gd name="T80" fmla="*/ 58 w 58"/>
                      <a:gd name="T81" fmla="*/ 51 h 98"/>
                      <a:gd name="T82" fmla="*/ 53 w 58"/>
                      <a:gd name="T83" fmla="*/ 7 h 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58" h="98">
                        <a:moveTo>
                          <a:pt x="53" y="7"/>
                        </a:moveTo>
                        <a:cubicBezTo>
                          <a:pt x="53" y="4"/>
                          <a:pt x="50" y="2"/>
                          <a:pt x="48" y="1"/>
                        </a:cubicBezTo>
                        <a:cubicBezTo>
                          <a:pt x="48" y="1"/>
                          <a:pt x="48" y="1"/>
                          <a:pt x="47" y="1"/>
                        </a:cubicBezTo>
                        <a:cubicBezTo>
                          <a:pt x="46" y="1"/>
                          <a:pt x="44" y="1"/>
                          <a:pt x="43" y="1"/>
                        </a:cubicBezTo>
                        <a:cubicBezTo>
                          <a:pt x="43" y="1"/>
                          <a:pt x="43" y="1"/>
                          <a:pt x="43" y="1"/>
                        </a:cubicBezTo>
                        <a:cubicBezTo>
                          <a:pt x="47" y="4"/>
                          <a:pt x="47" y="4"/>
                          <a:pt x="47" y="4"/>
                        </a:cubicBezTo>
                        <a:cubicBezTo>
                          <a:pt x="42" y="7"/>
                          <a:pt x="42" y="7"/>
                          <a:pt x="42" y="7"/>
                        </a:cubicBezTo>
                        <a:cubicBezTo>
                          <a:pt x="44" y="11"/>
                          <a:pt x="44" y="11"/>
                          <a:pt x="44" y="11"/>
                        </a:cubicBezTo>
                        <a:cubicBezTo>
                          <a:pt x="38" y="25"/>
                          <a:pt x="38" y="25"/>
                          <a:pt x="38" y="25"/>
                        </a:cubicBezTo>
                        <a:cubicBezTo>
                          <a:pt x="37" y="5"/>
                          <a:pt x="37" y="5"/>
                          <a:pt x="37" y="5"/>
                        </a:cubicBezTo>
                        <a:cubicBezTo>
                          <a:pt x="38" y="4"/>
                          <a:pt x="38" y="4"/>
                          <a:pt x="38" y="4"/>
                        </a:cubicBezTo>
                        <a:cubicBezTo>
                          <a:pt x="37" y="0"/>
                          <a:pt x="37" y="0"/>
                          <a:pt x="37" y="0"/>
                        </a:cubicBezTo>
                        <a:cubicBezTo>
                          <a:pt x="33" y="0"/>
                          <a:pt x="33" y="0"/>
                          <a:pt x="33" y="0"/>
                        </a:cubicBezTo>
                        <a:cubicBezTo>
                          <a:pt x="32" y="4"/>
                          <a:pt x="32" y="4"/>
                          <a:pt x="32" y="4"/>
                        </a:cubicBezTo>
                        <a:cubicBezTo>
                          <a:pt x="33" y="5"/>
                          <a:pt x="33" y="5"/>
                          <a:pt x="33" y="5"/>
                        </a:cubicBezTo>
                        <a:cubicBezTo>
                          <a:pt x="32" y="25"/>
                          <a:pt x="32" y="25"/>
                          <a:pt x="32" y="25"/>
                        </a:cubicBezTo>
                        <a:cubicBezTo>
                          <a:pt x="25" y="11"/>
                          <a:pt x="25" y="11"/>
                          <a:pt x="25" y="11"/>
                        </a:cubicBezTo>
                        <a:cubicBezTo>
                          <a:pt x="28" y="7"/>
                          <a:pt x="28" y="7"/>
                          <a:pt x="28" y="7"/>
                        </a:cubicBezTo>
                        <a:cubicBezTo>
                          <a:pt x="23" y="4"/>
                          <a:pt x="23" y="4"/>
                          <a:pt x="23" y="4"/>
                        </a:cubicBezTo>
                        <a:cubicBezTo>
                          <a:pt x="27" y="1"/>
                          <a:pt x="27" y="1"/>
                          <a:pt x="27" y="1"/>
                        </a:cubicBezTo>
                        <a:cubicBezTo>
                          <a:pt x="27" y="1"/>
                          <a:pt x="27" y="1"/>
                          <a:pt x="27" y="1"/>
                        </a:cubicBezTo>
                        <a:cubicBezTo>
                          <a:pt x="25" y="1"/>
                          <a:pt x="24" y="1"/>
                          <a:pt x="22" y="1"/>
                        </a:cubicBezTo>
                        <a:cubicBezTo>
                          <a:pt x="22" y="1"/>
                          <a:pt x="22" y="1"/>
                          <a:pt x="22" y="1"/>
                        </a:cubicBezTo>
                        <a:cubicBezTo>
                          <a:pt x="20" y="1"/>
                          <a:pt x="18" y="3"/>
                          <a:pt x="17" y="5"/>
                        </a:cubicBezTo>
                        <a:cubicBezTo>
                          <a:pt x="13" y="20"/>
                          <a:pt x="7" y="32"/>
                          <a:pt x="0" y="45"/>
                        </a:cubicBezTo>
                        <a:cubicBezTo>
                          <a:pt x="4" y="47"/>
                          <a:pt x="8" y="49"/>
                          <a:pt x="12" y="51"/>
                        </a:cubicBezTo>
                        <a:cubicBezTo>
                          <a:pt x="14" y="46"/>
                          <a:pt x="16" y="41"/>
                          <a:pt x="19" y="36"/>
                        </a:cubicBezTo>
                        <a:cubicBezTo>
                          <a:pt x="18" y="41"/>
                          <a:pt x="18" y="46"/>
                          <a:pt x="18" y="52"/>
                        </a:cubicBezTo>
                        <a:cubicBezTo>
                          <a:pt x="18" y="52"/>
                          <a:pt x="18" y="52"/>
                          <a:pt x="18" y="52"/>
                        </a:cubicBezTo>
                        <a:cubicBezTo>
                          <a:pt x="19" y="52"/>
                          <a:pt x="19" y="52"/>
                          <a:pt x="20" y="52"/>
                        </a:cubicBezTo>
                        <a:cubicBezTo>
                          <a:pt x="21" y="98"/>
                          <a:pt x="21" y="98"/>
                          <a:pt x="21" y="98"/>
                        </a:cubicBezTo>
                        <a:cubicBezTo>
                          <a:pt x="34" y="98"/>
                          <a:pt x="34" y="98"/>
                          <a:pt x="34" y="98"/>
                        </a:cubicBezTo>
                        <a:cubicBezTo>
                          <a:pt x="34" y="84"/>
                          <a:pt x="34" y="61"/>
                          <a:pt x="34" y="52"/>
                        </a:cubicBezTo>
                        <a:cubicBezTo>
                          <a:pt x="35" y="52"/>
                          <a:pt x="35" y="52"/>
                          <a:pt x="35" y="52"/>
                        </a:cubicBezTo>
                        <a:cubicBezTo>
                          <a:pt x="37" y="98"/>
                          <a:pt x="37" y="98"/>
                          <a:pt x="37" y="98"/>
                        </a:cubicBezTo>
                        <a:cubicBezTo>
                          <a:pt x="50" y="98"/>
                          <a:pt x="50" y="98"/>
                          <a:pt x="50" y="98"/>
                        </a:cubicBezTo>
                        <a:cubicBezTo>
                          <a:pt x="50" y="84"/>
                          <a:pt x="50" y="61"/>
                          <a:pt x="50" y="52"/>
                        </a:cubicBezTo>
                        <a:cubicBezTo>
                          <a:pt x="50" y="52"/>
                          <a:pt x="51" y="52"/>
                          <a:pt x="51" y="52"/>
                        </a:cubicBezTo>
                        <a:cubicBezTo>
                          <a:pt x="51" y="52"/>
                          <a:pt x="51" y="52"/>
                          <a:pt x="51" y="52"/>
                        </a:cubicBezTo>
                        <a:cubicBezTo>
                          <a:pt x="51" y="52"/>
                          <a:pt x="51" y="52"/>
                          <a:pt x="51" y="52"/>
                        </a:cubicBezTo>
                        <a:cubicBezTo>
                          <a:pt x="53" y="52"/>
                          <a:pt x="56" y="52"/>
                          <a:pt x="58" y="51"/>
                        </a:cubicBezTo>
                        <a:lnTo>
                          <a:pt x="53" y="7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1" name="Oval 213">
                    <a:extLst>
                      <a:ext uri="{FF2B5EF4-FFF2-40B4-BE49-F238E27FC236}">
                        <a16:creationId xmlns:a16="http://schemas.microsoft.com/office/drawing/2014/main" id="{654E1504-E1F0-483B-ACD9-A3A98863E73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462828" y="4270816"/>
                    <a:ext cx="39358" cy="46608"/>
                  </a:xfrm>
                  <a:prstGeom prst="ellipse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2" name="Freeform 214">
                    <a:extLst>
                      <a:ext uri="{FF2B5EF4-FFF2-40B4-BE49-F238E27FC236}">
                        <a16:creationId xmlns:a16="http://schemas.microsoft.com/office/drawing/2014/main" id="{F7E57242-C5EA-4295-A9E7-B48743ED512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408969" y="4266674"/>
                    <a:ext cx="152253" cy="256862"/>
                  </a:xfrm>
                  <a:custGeom>
                    <a:avLst/>
                    <a:gdLst>
                      <a:gd name="T0" fmla="*/ 71 w 74"/>
                      <a:gd name="T1" fmla="*/ 23 h 125"/>
                      <a:gd name="T2" fmla="*/ 71 w 74"/>
                      <a:gd name="T3" fmla="*/ 23 h 125"/>
                      <a:gd name="T4" fmla="*/ 71 w 74"/>
                      <a:gd name="T5" fmla="*/ 22 h 125"/>
                      <a:gd name="T6" fmla="*/ 71 w 74"/>
                      <a:gd name="T7" fmla="*/ 17 h 125"/>
                      <a:gd name="T8" fmla="*/ 70 w 74"/>
                      <a:gd name="T9" fmla="*/ 0 h 125"/>
                      <a:gd name="T10" fmla="*/ 58 w 74"/>
                      <a:gd name="T11" fmla="*/ 12 h 125"/>
                      <a:gd name="T12" fmla="*/ 58 w 74"/>
                      <a:gd name="T13" fmla="*/ 20 h 125"/>
                      <a:gd name="T14" fmla="*/ 47 w 74"/>
                      <a:gd name="T15" fmla="*/ 31 h 125"/>
                      <a:gd name="T16" fmla="*/ 45 w 74"/>
                      <a:gd name="T17" fmla="*/ 38 h 125"/>
                      <a:gd name="T18" fmla="*/ 37 w 74"/>
                      <a:gd name="T19" fmla="*/ 32 h 125"/>
                      <a:gd name="T20" fmla="*/ 37 w 74"/>
                      <a:gd name="T21" fmla="*/ 27 h 125"/>
                      <a:gd name="T22" fmla="*/ 32 w 74"/>
                      <a:gd name="T23" fmla="*/ 31 h 125"/>
                      <a:gd name="T24" fmla="*/ 32 w 74"/>
                      <a:gd name="T25" fmla="*/ 52 h 125"/>
                      <a:gd name="T26" fmla="*/ 28 w 74"/>
                      <a:gd name="T27" fmla="*/ 34 h 125"/>
                      <a:gd name="T28" fmla="*/ 27 w 74"/>
                      <a:gd name="T29" fmla="*/ 28 h 125"/>
                      <a:gd name="T30" fmla="*/ 22 w 74"/>
                      <a:gd name="T31" fmla="*/ 28 h 125"/>
                      <a:gd name="T32" fmla="*/ 18 w 74"/>
                      <a:gd name="T33" fmla="*/ 30 h 125"/>
                      <a:gd name="T34" fmla="*/ 2 w 74"/>
                      <a:gd name="T35" fmla="*/ 48 h 125"/>
                      <a:gd name="T36" fmla="*/ 1 w 74"/>
                      <a:gd name="T37" fmla="*/ 55 h 125"/>
                      <a:gd name="T38" fmla="*/ 1 w 74"/>
                      <a:gd name="T39" fmla="*/ 55 h 125"/>
                      <a:gd name="T40" fmla="*/ 1 w 74"/>
                      <a:gd name="T41" fmla="*/ 55 h 125"/>
                      <a:gd name="T42" fmla="*/ 2 w 74"/>
                      <a:gd name="T43" fmla="*/ 57 h 125"/>
                      <a:gd name="T44" fmla="*/ 6 w 74"/>
                      <a:gd name="T45" fmla="*/ 65 h 125"/>
                      <a:gd name="T46" fmla="*/ 19 w 74"/>
                      <a:gd name="T47" fmla="*/ 72 h 125"/>
                      <a:gd name="T48" fmla="*/ 19 w 74"/>
                      <a:gd name="T49" fmla="*/ 79 h 125"/>
                      <a:gd name="T50" fmla="*/ 21 w 74"/>
                      <a:gd name="T51" fmla="*/ 125 h 125"/>
                      <a:gd name="T52" fmla="*/ 34 w 74"/>
                      <a:gd name="T53" fmla="*/ 79 h 125"/>
                      <a:gd name="T54" fmla="*/ 37 w 74"/>
                      <a:gd name="T55" fmla="*/ 125 h 125"/>
                      <a:gd name="T56" fmla="*/ 50 w 74"/>
                      <a:gd name="T57" fmla="*/ 79 h 125"/>
                      <a:gd name="T58" fmla="*/ 52 w 74"/>
                      <a:gd name="T59" fmla="*/ 79 h 125"/>
                      <a:gd name="T60" fmla="*/ 67 w 74"/>
                      <a:gd name="T61" fmla="*/ 29 h 125"/>
                      <a:gd name="T62" fmla="*/ 67 w 74"/>
                      <a:gd name="T63" fmla="*/ 29 h 125"/>
                      <a:gd name="T64" fmla="*/ 19 w 74"/>
                      <a:gd name="T65" fmla="*/ 62 h 125"/>
                      <a:gd name="T66" fmla="*/ 15 w 74"/>
                      <a:gd name="T67" fmla="*/ 54 h 125"/>
                      <a:gd name="T68" fmla="*/ 20 w 74"/>
                      <a:gd name="T69" fmla="*/ 45 h 1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74" h="125">
                        <a:moveTo>
                          <a:pt x="71" y="23"/>
                        </a:move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0"/>
                          <a:pt x="71" y="20"/>
                          <a:pt x="71" y="20"/>
                        </a:cubicBezTo>
                        <a:cubicBezTo>
                          <a:pt x="71" y="17"/>
                          <a:pt x="71" y="17"/>
                          <a:pt x="71" y="17"/>
                        </a:cubicBezTo>
                        <a:cubicBezTo>
                          <a:pt x="70" y="11"/>
                          <a:pt x="70" y="11"/>
                          <a:pt x="70" y="11"/>
                        </a:cubicBezTo>
                        <a:cubicBezTo>
                          <a:pt x="70" y="0"/>
                          <a:pt x="70" y="0"/>
                          <a:pt x="70" y="0"/>
                        </a:cubicBezTo>
                        <a:cubicBezTo>
                          <a:pt x="66" y="0"/>
                          <a:pt x="61" y="0"/>
                          <a:pt x="57" y="0"/>
                        </a:cubicBezTo>
                        <a:cubicBezTo>
                          <a:pt x="58" y="12"/>
                          <a:pt x="58" y="12"/>
                          <a:pt x="58" y="12"/>
                        </a:cubicBezTo>
                        <a:cubicBezTo>
                          <a:pt x="58" y="18"/>
                          <a:pt x="58" y="18"/>
                          <a:pt x="58" y="18"/>
                        </a:cubicBezTo>
                        <a:cubicBezTo>
                          <a:pt x="58" y="20"/>
                          <a:pt x="58" y="20"/>
                          <a:pt x="58" y="20"/>
                        </a:cubicBezTo>
                        <a:cubicBezTo>
                          <a:pt x="42" y="27"/>
                          <a:pt x="42" y="27"/>
                          <a:pt x="42" y="27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2" y="34"/>
                          <a:pt x="42" y="34"/>
                          <a:pt x="42" y="34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38" y="52"/>
                          <a:pt x="38" y="52"/>
                          <a:pt x="38" y="52"/>
                        </a:cubicBezTo>
                        <a:cubicBezTo>
                          <a:pt x="37" y="32"/>
                          <a:pt x="37" y="32"/>
                          <a:pt x="37" y="32"/>
                        </a:cubicBezTo>
                        <a:cubicBezTo>
                          <a:pt x="38" y="31"/>
                          <a:pt x="38" y="31"/>
                          <a:pt x="38" y="31"/>
                        </a:cubicBezTo>
                        <a:cubicBezTo>
                          <a:pt x="37" y="27"/>
                          <a:pt x="37" y="27"/>
                          <a:pt x="37" y="27"/>
                        </a:cubicBezTo>
                        <a:cubicBezTo>
                          <a:pt x="33" y="27"/>
                          <a:pt x="33" y="27"/>
                          <a:pt x="33" y="27"/>
                        </a:cubicBezTo>
                        <a:cubicBezTo>
                          <a:pt x="32" y="31"/>
                          <a:pt x="32" y="31"/>
                          <a:pt x="32" y="31"/>
                        </a:cubicBezTo>
                        <a:cubicBezTo>
                          <a:pt x="33" y="32"/>
                          <a:pt x="33" y="32"/>
                          <a:pt x="33" y="3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26" y="38"/>
                          <a:pt x="26" y="38"/>
                          <a:pt x="26" y="38"/>
                        </a:cubicBezTo>
                        <a:cubicBezTo>
                          <a:pt x="28" y="34"/>
                          <a:pt x="28" y="34"/>
                          <a:pt x="28" y="34"/>
                        </a:cubicBezTo>
                        <a:cubicBezTo>
                          <a:pt x="23" y="31"/>
                          <a:pt x="23" y="31"/>
                          <a:pt x="23" y="31"/>
                        </a:cubicBezTo>
                        <a:cubicBezTo>
                          <a:pt x="27" y="28"/>
                          <a:pt x="27" y="28"/>
                          <a:pt x="27" y="28"/>
                        </a:cubicBezTo>
                        <a:cubicBezTo>
                          <a:pt x="27" y="28"/>
                          <a:pt x="27" y="28"/>
                          <a:pt x="27" y="28"/>
                        </a:cubicBezTo>
                        <a:cubicBezTo>
                          <a:pt x="26" y="28"/>
                          <a:pt x="24" y="28"/>
                          <a:pt x="22" y="28"/>
                        </a:cubicBezTo>
                        <a:cubicBezTo>
                          <a:pt x="22" y="28"/>
                          <a:pt x="22" y="28"/>
                          <a:pt x="22" y="28"/>
                        </a:cubicBezTo>
                        <a:cubicBezTo>
                          <a:pt x="21" y="28"/>
                          <a:pt x="19" y="29"/>
                          <a:pt x="18" y="30"/>
                        </a:cubicBezTo>
                        <a:cubicBezTo>
                          <a:pt x="2" y="48"/>
                          <a:pt x="2" y="48"/>
                          <a:pt x="2" y="48"/>
                        </a:cubicBezTo>
                        <a:cubicBezTo>
                          <a:pt x="2" y="48"/>
                          <a:pt x="2" y="48"/>
                          <a:pt x="2" y="48"/>
                        </a:cubicBezTo>
                        <a:cubicBezTo>
                          <a:pt x="2" y="48"/>
                          <a:pt x="2" y="48"/>
                          <a:pt x="2" y="48"/>
                        </a:cubicBezTo>
                        <a:cubicBezTo>
                          <a:pt x="0" y="62"/>
                          <a:pt x="1" y="52"/>
                          <a:pt x="1" y="55"/>
                        </a:cubicBezTo>
                        <a:cubicBezTo>
                          <a:pt x="1" y="55"/>
                          <a:pt x="1" y="55"/>
                          <a:pt x="1" y="55"/>
                        </a:cubicBezTo>
                        <a:cubicBezTo>
                          <a:pt x="1" y="55"/>
                          <a:pt x="1" y="55"/>
                          <a:pt x="1" y="55"/>
                        </a:cubicBezTo>
                        <a:cubicBezTo>
                          <a:pt x="1" y="55"/>
                          <a:pt x="1" y="55"/>
                          <a:pt x="1" y="55"/>
                        </a:cubicBezTo>
                        <a:cubicBezTo>
                          <a:pt x="1" y="55"/>
                          <a:pt x="1" y="55"/>
                          <a:pt x="1" y="55"/>
                        </a:cubicBezTo>
                        <a:cubicBezTo>
                          <a:pt x="2" y="56"/>
                          <a:pt x="2" y="56"/>
                          <a:pt x="2" y="56"/>
                        </a:cubicBezTo>
                        <a:cubicBezTo>
                          <a:pt x="2" y="57"/>
                          <a:pt x="2" y="57"/>
                          <a:pt x="2" y="57"/>
                        </a:cubicBezTo>
                        <a:cubicBezTo>
                          <a:pt x="4" y="60"/>
                          <a:pt x="4" y="60"/>
                          <a:pt x="4" y="60"/>
                        </a:cubicBezTo>
                        <a:cubicBezTo>
                          <a:pt x="6" y="65"/>
                          <a:pt x="6" y="65"/>
                          <a:pt x="6" y="65"/>
                        </a:cubicBezTo>
                        <a:cubicBezTo>
                          <a:pt x="12" y="76"/>
                          <a:pt x="12" y="76"/>
                          <a:pt x="12" y="76"/>
                        </a:cubicBezTo>
                        <a:cubicBezTo>
                          <a:pt x="14" y="74"/>
                          <a:pt x="16" y="73"/>
                          <a:pt x="19" y="72"/>
                        </a:cubicBezTo>
                        <a:cubicBezTo>
                          <a:pt x="19" y="74"/>
                          <a:pt x="19" y="76"/>
                          <a:pt x="19" y="79"/>
                        </a:cubicBezTo>
                        <a:cubicBezTo>
                          <a:pt x="19" y="79"/>
                          <a:pt x="19" y="79"/>
                          <a:pt x="19" y="79"/>
                        </a:cubicBezTo>
                        <a:cubicBezTo>
                          <a:pt x="19" y="79"/>
                          <a:pt x="20" y="79"/>
                          <a:pt x="20" y="79"/>
                        </a:cubicBezTo>
                        <a:cubicBezTo>
                          <a:pt x="21" y="125"/>
                          <a:pt x="21" y="125"/>
                          <a:pt x="21" y="125"/>
                        </a:cubicBezTo>
                        <a:cubicBezTo>
                          <a:pt x="34" y="125"/>
                          <a:pt x="34" y="125"/>
                          <a:pt x="34" y="125"/>
                        </a:cubicBezTo>
                        <a:cubicBezTo>
                          <a:pt x="35" y="111"/>
                          <a:pt x="35" y="88"/>
                          <a:pt x="34" y="79"/>
                        </a:cubicBezTo>
                        <a:cubicBezTo>
                          <a:pt x="35" y="79"/>
                          <a:pt x="35" y="79"/>
                          <a:pt x="36" y="79"/>
                        </a:cubicBezTo>
                        <a:cubicBezTo>
                          <a:pt x="37" y="125"/>
                          <a:pt x="37" y="125"/>
                          <a:pt x="37" y="125"/>
                        </a:cubicBezTo>
                        <a:cubicBezTo>
                          <a:pt x="50" y="125"/>
                          <a:pt x="50" y="125"/>
                          <a:pt x="50" y="125"/>
                        </a:cubicBezTo>
                        <a:cubicBezTo>
                          <a:pt x="51" y="111"/>
                          <a:pt x="50" y="88"/>
                          <a:pt x="50" y="79"/>
                        </a:cubicBezTo>
                        <a:cubicBezTo>
                          <a:pt x="51" y="79"/>
                          <a:pt x="51" y="79"/>
                          <a:pt x="52" y="79"/>
                        </a:cubicBezTo>
                        <a:cubicBezTo>
                          <a:pt x="52" y="79"/>
                          <a:pt x="52" y="79"/>
                          <a:pt x="52" y="79"/>
                        </a:cubicBezTo>
                        <a:cubicBezTo>
                          <a:pt x="52" y="64"/>
                          <a:pt x="51" y="50"/>
                          <a:pt x="50" y="36"/>
                        </a:cubicBezTo>
                        <a:cubicBezTo>
                          <a:pt x="67" y="29"/>
                          <a:pt x="67" y="29"/>
                          <a:pt x="67" y="29"/>
                        </a:cubicBezTo>
                        <a:cubicBezTo>
                          <a:pt x="67" y="29"/>
                          <a:pt x="67" y="29"/>
                          <a:pt x="67" y="29"/>
                        </a:cubicBezTo>
                        <a:cubicBezTo>
                          <a:pt x="67" y="29"/>
                          <a:pt x="67" y="29"/>
                          <a:pt x="67" y="29"/>
                        </a:cubicBezTo>
                        <a:cubicBezTo>
                          <a:pt x="74" y="17"/>
                          <a:pt x="69" y="26"/>
                          <a:pt x="71" y="23"/>
                        </a:cubicBezTo>
                        <a:close/>
                        <a:moveTo>
                          <a:pt x="19" y="62"/>
                        </a:moveTo>
                        <a:cubicBezTo>
                          <a:pt x="18" y="59"/>
                          <a:pt x="18" y="59"/>
                          <a:pt x="18" y="59"/>
                        </a:cubicBezTo>
                        <a:cubicBezTo>
                          <a:pt x="15" y="54"/>
                          <a:pt x="15" y="54"/>
                          <a:pt x="15" y="54"/>
                        </a:cubicBezTo>
                        <a:cubicBezTo>
                          <a:pt x="14" y="52"/>
                          <a:pt x="14" y="52"/>
                          <a:pt x="14" y="52"/>
                        </a:cubicBezTo>
                        <a:cubicBezTo>
                          <a:pt x="20" y="45"/>
                          <a:pt x="20" y="45"/>
                          <a:pt x="20" y="45"/>
                        </a:cubicBezTo>
                        <a:cubicBezTo>
                          <a:pt x="19" y="51"/>
                          <a:pt x="19" y="56"/>
                          <a:pt x="19" y="62"/>
                        </a:cubicBez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38" name="组合 137">
                  <a:extLst>
                    <a:ext uri="{FF2B5EF4-FFF2-40B4-BE49-F238E27FC236}">
                      <a16:creationId xmlns:a16="http://schemas.microsoft.com/office/drawing/2014/main" id="{475854CC-ED3D-41E5-8FCF-B9E34774C082}"/>
                    </a:ext>
                  </a:extLst>
                </p:cNvPr>
                <p:cNvGrpSpPr/>
                <p:nvPr/>
              </p:nvGrpSpPr>
              <p:grpSpPr>
                <a:xfrm>
                  <a:off x="9471206" y="1146838"/>
                  <a:ext cx="827054" cy="556479"/>
                  <a:chOff x="3042794" y="2185128"/>
                  <a:chExt cx="827054" cy="556479"/>
                </a:xfrm>
              </p:grpSpPr>
              <p:sp>
                <p:nvSpPr>
                  <p:cNvPr id="139" name="Freeform 200">
                    <a:extLst>
                      <a:ext uri="{FF2B5EF4-FFF2-40B4-BE49-F238E27FC236}">
                        <a16:creationId xmlns:a16="http://schemas.microsoft.com/office/drawing/2014/main" id="{7C92FA5A-E79D-446A-8470-60E87E4845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07375" y="2185128"/>
                    <a:ext cx="173579" cy="51056"/>
                  </a:xfrm>
                  <a:custGeom>
                    <a:avLst/>
                    <a:gdLst>
                      <a:gd name="T0" fmla="*/ 34 w 34"/>
                      <a:gd name="T1" fmla="*/ 0 h 10"/>
                      <a:gd name="T2" fmla="*/ 16 w 34"/>
                      <a:gd name="T3" fmla="*/ 10 h 10"/>
                      <a:gd name="T4" fmla="*/ 0 w 34"/>
                      <a:gd name="T5" fmla="*/ 0 h 10"/>
                      <a:gd name="T6" fmla="*/ 34 w 34"/>
                      <a:gd name="T7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4" h="10">
                        <a:moveTo>
                          <a:pt x="34" y="0"/>
                        </a:moveTo>
                        <a:lnTo>
                          <a:pt x="16" y="10"/>
                        </a:lnTo>
                        <a:lnTo>
                          <a:pt x="0" y="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" name="Freeform 201">
                    <a:extLst>
                      <a:ext uri="{FF2B5EF4-FFF2-40B4-BE49-F238E27FC236}">
                        <a16:creationId xmlns:a16="http://schemas.microsoft.com/office/drawing/2014/main" id="{3E9B4531-5ED4-4EA9-9E68-AC8AB2A3AC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21480" y="2185128"/>
                    <a:ext cx="183788" cy="51056"/>
                  </a:xfrm>
                  <a:custGeom>
                    <a:avLst/>
                    <a:gdLst>
                      <a:gd name="T0" fmla="*/ 36 w 36"/>
                      <a:gd name="T1" fmla="*/ 0 h 10"/>
                      <a:gd name="T2" fmla="*/ 20 w 36"/>
                      <a:gd name="T3" fmla="*/ 10 h 10"/>
                      <a:gd name="T4" fmla="*/ 0 w 36"/>
                      <a:gd name="T5" fmla="*/ 0 h 10"/>
                      <a:gd name="T6" fmla="*/ 36 w 36"/>
                      <a:gd name="T7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6" h="10">
                        <a:moveTo>
                          <a:pt x="36" y="0"/>
                        </a:moveTo>
                        <a:lnTo>
                          <a:pt x="20" y="10"/>
                        </a:lnTo>
                        <a:lnTo>
                          <a:pt x="0" y="0"/>
                        </a:lnTo>
                        <a:lnTo>
                          <a:pt x="36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" name="Freeform 202">
                    <a:extLst>
                      <a:ext uri="{FF2B5EF4-FFF2-40B4-BE49-F238E27FC236}">
                        <a16:creationId xmlns:a16="http://schemas.microsoft.com/office/drawing/2014/main" id="{1D8CE965-CE80-416D-97A2-4B160071FD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54221" y="2185133"/>
                    <a:ext cx="204209" cy="122523"/>
                  </a:xfrm>
                  <a:custGeom>
                    <a:avLst/>
                    <a:gdLst>
                      <a:gd name="T0" fmla="*/ 20 w 40"/>
                      <a:gd name="T1" fmla="*/ 0 h 24"/>
                      <a:gd name="T2" fmla="*/ 40 w 40"/>
                      <a:gd name="T3" fmla="*/ 14 h 24"/>
                      <a:gd name="T4" fmla="*/ 20 w 40"/>
                      <a:gd name="T5" fmla="*/ 24 h 24"/>
                      <a:gd name="T6" fmla="*/ 0 w 40"/>
                      <a:gd name="T7" fmla="*/ 14 h 24"/>
                      <a:gd name="T8" fmla="*/ 20 w 40"/>
                      <a:gd name="T9" fmla="*/ 0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24">
                        <a:moveTo>
                          <a:pt x="20" y="0"/>
                        </a:moveTo>
                        <a:lnTo>
                          <a:pt x="40" y="14"/>
                        </a:lnTo>
                        <a:lnTo>
                          <a:pt x="20" y="24"/>
                        </a:lnTo>
                        <a:lnTo>
                          <a:pt x="0" y="14"/>
                        </a:lnTo>
                        <a:lnTo>
                          <a:pt x="20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2" name="Freeform 203">
                    <a:extLst>
                      <a:ext uri="{FF2B5EF4-FFF2-40B4-BE49-F238E27FC236}">
                        <a16:creationId xmlns:a16="http://schemas.microsoft.com/office/drawing/2014/main" id="{625BF4EB-8049-41FF-B129-83CA0AAF7C0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17588" y="2277027"/>
                    <a:ext cx="122523" cy="30635"/>
                  </a:xfrm>
                  <a:custGeom>
                    <a:avLst/>
                    <a:gdLst>
                      <a:gd name="T0" fmla="*/ 0 w 24"/>
                      <a:gd name="T1" fmla="*/ 6 h 6"/>
                      <a:gd name="T2" fmla="*/ 14 w 24"/>
                      <a:gd name="T3" fmla="*/ 0 h 6"/>
                      <a:gd name="T4" fmla="*/ 24 w 24"/>
                      <a:gd name="T5" fmla="*/ 6 h 6"/>
                      <a:gd name="T6" fmla="*/ 0 w 24"/>
                      <a:gd name="T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6">
                        <a:moveTo>
                          <a:pt x="0" y="6"/>
                        </a:moveTo>
                        <a:lnTo>
                          <a:pt x="14" y="0"/>
                        </a:lnTo>
                        <a:lnTo>
                          <a:pt x="24" y="6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3" name="Freeform 204">
                    <a:extLst>
                      <a:ext uri="{FF2B5EF4-FFF2-40B4-BE49-F238E27FC236}">
                        <a16:creationId xmlns:a16="http://schemas.microsoft.com/office/drawing/2014/main" id="{732CC21B-0A5D-4FA2-A32C-D66F933F99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72536" y="2277027"/>
                    <a:ext cx="122523" cy="30635"/>
                  </a:xfrm>
                  <a:custGeom>
                    <a:avLst/>
                    <a:gdLst>
                      <a:gd name="T0" fmla="*/ 24 w 24"/>
                      <a:gd name="T1" fmla="*/ 6 h 6"/>
                      <a:gd name="T2" fmla="*/ 0 w 24"/>
                      <a:gd name="T3" fmla="*/ 6 h 6"/>
                      <a:gd name="T4" fmla="*/ 10 w 24"/>
                      <a:gd name="T5" fmla="*/ 0 h 6"/>
                      <a:gd name="T6" fmla="*/ 24 w 24"/>
                      <a:gd name="T7" fmla="*/ 6 h 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6">
                        <a:moveTo>
                          <a:pt x="24" y="6"/>
                        </a:moveTo>
                        <a:lnTo>
                          <a:pt x="0" y="6"/>
                        </a:lnTo>
                        <a:lnTo>
                          <a:pt x="10" y="0"/>
                        </a:lnTo>
                        <a:lnTo>
                          <a:pt x="24" y="6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4" name="Freeform 206">
                    <a:extLst>
                      <a:ext uri="{FF2B5EF4-FFF2-40B4-BE49-F238E27FC236}">
                        <a16:creationId xmlns:a16="http://schemas.microsoft.com/office/drawing/2014/main" id="{40309B6B-DE1E-47AD-BFDB-0DD99D1D1B3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19690" y="2195341"/>
                    <a:ext cx="239950" cy="112320"/>
                  </a:xfrm>
                  <a:custGeom>
                    <a:avLst/>
                    <a:gdLst>
                      <a:gd name="T0" fmla="*/ 18 w 47"/>
                      <a:gd name="T1" fmla="*/ 22 h 22"/>
                      <a:gd name="T2" fmla="*/ 18 w 47"/>
                      <a:gd name="T3" fmla="*/ 22 h 22"/>
                      <a:gd name="T4" fmla="*/ 16 w 47"/>
                      <a:gd name="T5" fmla="*/ 22 h 22"/>
                      <a:gd name="T6" fmla="*/ 0 w 47"/>
                      <a:gd name="T7" fmla="*/ 12 h 22"/>
                      <a:gd name="T8" fmla="*/ 24 w 47"/>
                      <a:gd name="T9" fmla="*/ 0 h 22"/>
                      <a:gd name="T10" fmla="*/ 47 w 47"/>
                      <a:gd name="T11" fmla="*/ 22 h 22"/>
                      <a:gd name="T12" fmla="*/ 18 w 47"/>
                      <a:gd name="T13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7" h="22">
                        <a:moveTo>
                          <a:pt x="18" y="22"/>
                        </a:moveTo>
                        <a:lnTo>
                          <a:pt x="18" y="22"/>
                        </a:lnTo>
                        <a:lnTo>
                          <a:pt x="16" y="22"/>
                        </a:lnTo>
                        <a:lnTo>
                          <a:pt x="0" y="12"/>
                        </a:lnTo>
                        <a:lnTo>
                          <a:pt x="24" y="0"/>
                        </a:lnTo>
                        <a:lnTo>
                          <a:pt x="47" y="22"/>
                        </a:lnTo>
                        <a:lnTo>
                          <a:pt x="18" y="22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5" name="Freeform 207">
                    <a:extLst>
                      <a:ext uri="{FF2B5EF4-FFF2-40B4-BE49-F238E27FC236}">
                        <a16:creationId xmlns:a16="http://schemas.microsoft.com/office/drawing/2014/main" id="{B378DA44-E942-40B2-BB0B-DABFCE30B38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42794" y="2185133"/>
                    <a:ext cx="250158" cy="122523"/>
                  </a:xfrm>
                  <a:custGeom>
                    <a:avLst/>
                    <a:gdLst>
                      <a:gd name="T0" fmla="*/ 49 w 49"/>
                      <a:gd name="T1" fmla="*/ 14 h 24"/>
                      <a:gd name="T2" fmla="*/ 33 w 49"/>
                      <a:gd name="T3" fmla="*/ 24 h 24"/>
                      <a:gd name="T4" fmla="*/ 29 w 49"/>
                      <a:gd name="T5" fmla="*/ 24 h 24"/>
                      <a:gd name="T6" fmla="*/ 29 w 49"/>
                      <a:gd name="T7" fmla="*/ 24 h 24"/>
                      <a:gd name="T8" fmla="*/ 0 w 49"/>
                      <a:gd name="T9" fmla="*/ 24 h 24"/>
                      <a:gd name="T10" fmla="*/ 23 w 49"/>
                      <a:gd name="T11" fmla="*/ 0 h 24"/>
                      <a:gd name="T12" fmla="*/ 49 w 49"/>
                      <a:gd name="T13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9" h="24">
                        <a:moveTo>
                          <a:pt x="49" y="14"/>
                        </a:moveTo>
                        <a:lnTo>
                          <a:pt x="33" y="24"/>
                        </a:lnTo>
                        <a:lnTo>
                          <a:pt x="29" y="24"/>
                        </a:lnTo>
                        <a:lnTo>
                          <a:pt x="29" y="24"/>
                        </a:lnTo>
                        <a:lnTo>
                          <a:pt x="0" y="24"/>
                        </a:lnTo>
                        <a:lnTo>
                          <a:pt x="23" y="0"/>
                        </a:lnTo>
                        <a:lnTo>
                          <a:pt x="49" y="14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6" name="Freeform 208">
                    <a:extLst>
                      <a:ext uri="{FF2B5EF4-FFF2-40B4-BE49-F238E27FC236}">
                        <a16:creationId xmlns:a16="http://schemas.microsoft.com/office/drawing/2014/main" id="{3C3DE672-2F9B-4D6E-A106-DDF2BA3FF6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41901" y="2338291"/>
                    <a:ext cx="418631" cy="403316"/>
                  </a:xfrm>
                  <a:custGeom>
                    <a:avLst/>
                    <a:gdLst>
                      <a:gd name="T0" fmla="*/ 82 w 82"/>
                      <a:gd name="T1" fmla="*/ 0 h 79"/>
                      <a:gd name="T2" fmla="*/ 42 w 82"/>
                      <a:gd name="T3" fmla="*/ 79 h 79"/>
                      <a:gd name="T4" fmla="*/ 0 w 82"/>
                      <a:gd name="T5" fmla="*/ 0 h 79"/>
                      <a:gd name="T6" fmla="*/ 82 w 82"/>
                      <a:gd name="T7" fmla="*/ 0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82" h="79">
                        <a:moveTo>
                          <a:pt x="82" y="0"/>
                        </a:moveTo>
                        <a:lnTo>
                          <a:pt x="42" y="79"/>
                        </a:lnTo>
                        <a:lnTo>
                          <a:pt x="0" y="0"/>
                        </a:lnTo>
                        <a:lnTo>
                          <a:pt x="82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7" name="Freeform 209">
                    <a:extLst>
                      <a:ext uri="{FF2B5EF4-FFF2-40B4-BE49-F238E27FC236}">
                        <a16:creationId xmlns:a16="http://schemas.microsoft.com/office/drawing/2014/main" id="{DBC38F2F-2DEA-4F35-8F1D-1276DA0C98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17588" y="2338291"/>
                    <a:ext cx="352260" cy="342057"/>
                  </a:xfrm>
                  <a:custGeom>
                    <a:avLst/>
                    <a:gdLst>
                      <a:gd name="T0" fmla="*/ 36 w 69"/>
                      <a:gd name="T1" fmla="*/ 0 h 67"/>
                      <a:gd name="T2" fmla="*/ 69 w 69"/>
                      <a:gd name="T3" fmla="*/ 0 h 67"/>
                      <a:gd name="T4" fmla="*/ 0 w 69"/>
                      <a:gd name="T5" fmla="*/ 67 h 67"/>
                      <a:gd name="T6" fmla="*/ 36 w 69"/>
                      <a:gd name="T7" fmla="*/ 0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69" h="67">
                        <a:moveTo>
                          <a:pt x="36" y="0"/>
                        </a:moveTo>
                        <a:lnTo>
                          <a:pt x="69" y="0"/>
                        </a:lnTo>
                        <a:lnTo>
                          <a:pt x="0" y="67"/>
                        </a:lnTo>
                        <a:lnTo>
                          <a:pt x="36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8" name="Freeform 210">
                    <a:extLst>
                      <a:ext uri="{FF2B5EF4-FFF2-40B4-BE49-F238E27FC236}">
                        <a16:creationId xmlns:a16="http://schemas.microsoft.com/office/drawing/2014/main" id="{1DCAE65A-4E48-4107-AEE5-9120802AA87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42794" y="2338291"/>
                    <a:ext cx="342057" cy="342057"/>
                  </a:xfrm>
                  <a:custGeom>
                    <a:avLst/>
                    <a:gdLst>
                      <a:gd name="T0" fmla="*/ 0 w 67"/>
                      <a:gd name="T1" fmla="*/ 0 h 67"/>
                      <a:gd name="T2" fmla="*/ 31 w 67"/>
                      <a:gd name="T3" fmla="*/ 0 h 67"/>
                      <a:gd name="T4" fmla="*/ 67 w 67"/>
                      <a:gd name="T5" fmla="*/ 67 h 67"/>
                      <a:gd name="T6" fmla="*/ 0 w 67"/>
                      <a:gd name="T7" fmla="*/ 0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67" h="67">
                        <a:moveTo>
                          <a:pt x="0" y="0"/>
                        </a:moveTo>
                        <a:lnTo>
                          <a:pt x="31" y="0"/>
                        </a:lnTo>
                        <a:lnTo>
                          <a:pt x="67" y="6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ysClr val="window" lastClr="FFFFFF">
                      <a:lumMod val="95000"/>
                    </a:sysClr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2498075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13936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8483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99961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99770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8209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522228ED-E7A3-44C1-8BF8-218E37A358B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2018/3/29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D73EDA7A-3C0D-4423-A11A-050071D8C94C}" type="slidenum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37370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522228ED-E7A3-44C1-8BF8-218E37A358B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2018/3/29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D73EDA7A-3C0D-4423-A11A-050071D8C94C}" type="slidenum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587812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522228ED-E7A3-44C1-8BF8-218E37A358B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2018/3/29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D73EDA7A-3C0D-4423-A11A-050071D8C94C}" type="slidenum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85686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7596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29099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58467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6816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912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64139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49233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bg>
      <p:bgPr>
        <a:solidFill>
          <a:srgbClr val="2928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E2ED4E68-F11D-4361-8C3A-7B444C600E52}" type="datetimeFigureOut">
              <a:rPr 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3/29/2018</a:t>
            </a:fld>
            <a:endParaRPr 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424D2F68-A850-446D-85C8-0E7954AA3385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526282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07540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9289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4216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1458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17156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48464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5603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0832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0808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3394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79877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1786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78543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1630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Rectangle 6"/>
          <p:cNvSpPr>
            <a:spLocks noChangeArrowheads="1"/>
          </p:cNvSpPr>
          <p:nvPr userDrawn="1"/>
        </p:nvSpPr>
        <p:spPr bwMode="auto">
          <a:xfrm rot="1511674">
            <a:off x="226144" y="2299713"/>
            <a:ext cx="1091633" cy="288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endParaRPr lang="zh-CN" altLang="zh-CN" sz="2133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auto">
          <a:xfrm rot="1511674">
            <a:off x="171707" y="2294658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33375" y="2119677"/>
            <a:ext cx="0" cy="2160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28674" y="3538096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28674" y="4030612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28674" y="3045580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9" name="组合 38"/>
          <p:cNvGrpSpPr/>
          <p:nvPr userDrawn="1"/>
        </p:nvGrpSpPr>
        <p:grpSpPr>
          <a:xfrm>
            <a:off x="228674" y="3291838"/>
            <a:ext cx="216000" cy="216000"/>
            <a:chOff x="2992433" y="3979865"/>
            <a:chExt cx="828000" cy="828000"/>
          </a:xfrm>
        </p:grpSpPr>
        <p:sp>
          <p:nvSpPr>
            <p:cNvPr id="40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41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42" name="组合 41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43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9" name="组合 68"/>
          <p:cNvGrpSpPr/>
          <p:nvPr userDrawn="1"/>
        </p:nvGrpSpPr>
        <p:grpSpPr>
          <a:xfrm>
            <a:off x="228674" y="3784354"/>
            <a:ext cx="216000" cy="216000"/>
            <a:chOff x="5138914" y="4010841"/>
            <a:chExt cx="828000" cy="828000"/>
          </a:xfrm>
        </p:grpSpPr>
        <p:sp>
          <p:nvSpPr>
            <p:cNvPr id="70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71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73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6" name="组合 85"/>
          <p:cNvGrpSpPr/>
          <p:nvPr userDrawn="1"/>
        </p:nvGrpSpPr>
        <p:grpSpPr>
          <a:xfrm>
            <a:off x="228674" y="2799322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101153" y="1999690"/>
            <a:ext cx="468000" cy="468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28674" y="2553064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27323" y="4276062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130" name="文本框 129"/>
          <p:cNvSpPr txBox="1"/>
          <p:nvPr userDrawn="1"/>
        </p:nvSpPr>
        <p:spPr>
          <a:xfrm rot="1515553">
            <a:off x="422623" y="235242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用户痛点</a:t>
            </a:r>
          </a:p>
        </p:txBody>
      </p:sp>
      <p:grpSp>
        <p:nvGrpSpPr>
          <p:cNvPr id="132" name="组合 131"/>
          <p:cNvGrpSpPr/>
          <p:nvPr userDrawn="1"/>
        </p:nvGrpSpPr>
        <p:grpSpPr>
          <a:xfrm>
            <a:off x="227323" y="3783546"/>
            <a:ext cx="216000" cy="216000"/>
            <a:chOff x="2992433" y="3979865"/>
            <a:chExt cx="828000" cy="828000"/>
          </a:xfrm>
        </p:grpSpPr>
        <p:sp>
          <p:nvSpPr>
            <p:cNvPr id="133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34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37" name="组合 136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138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64" name="组合 163"/>
          <p:cNvGrpSpPr/>
          <p:nvPr userDrawn="1"/>
        </p:nvGrpSpPr>
        <p:grpSpPr>
          <a:xfrm>
            <a:off x="229543" y="3294311"/>
            <a:ext cx="216000" cy="216000"/>
            <a:chOff x="5138914" y="4010841"/>
            <a:chExt cx="828000" cy="828000"/>
          </a:xfrm>
        </p:grpSpPr>
        <p:sp>
          <p:nvSpPr>
            <p:cNvPr id="165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66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67" name="组合 166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168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83271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90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tangle 6">
            <a:extLst>
              <a:ext uri="{FF2B5EF4-FFF2-40B4-BE49-F238E27FC236}">
                <a16:creationId xmlns:a16="http://schemas.microsoft.com/office/drawing/2014/main" id="{07D8B601-5FFB-4790-A404-442EF68C2212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202218" y="2546793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7FD25E87-1768-47DF-AB71-1EDC10A697A8}"/>
              </a:ext>
            </a:extLst>
          </p:cNvPr>
          <p:cNvSpPr txBox="1"/>
          <p:nvPr userDrawn="1"/>
        </p:nvSpPr>
        <p:spPr>
          <a:xfrm rot="1515553">
            <a:off x="441592" y="2595196"/>
            <a:ext cx="1101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解决方案</a:t>
            </a: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45837" y="2079370"/>
            <a:ext cx="0" cy="2160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41136" y="3497789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41136" y="3990305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41136" y="3005273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9" name="组合 38"/>
          <p:cNvGrpSpPr/>
          <p:nvPr userDrawn="1"/>
        </p:nvGrpSpPr>
        <p:grpSpPr>
          <a:xfrm>
            <a:off x="233673" y="3739096"/>
            <a:ext cx="216000" cy="216000"/>
            <a:chOff x="2992433" y="3979865"/>
            <a:chExt cx="828000" cy="828000"/>
          </a:xfrm>
        </p:grpSpPr>
        <p:sp>
          <p:nvSpPr>
            <p:cNvPr id="40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41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42" name="组合 41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43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9" name="组合 68"/>
          <p:cNvGrpSpPr/>
          <p:nvPr userDrawn="1"/>
        </p:nvGrpSpPr>
        <p:grpSpPr>
          <a:xfrm>
            <a:off x="235893" y="3259386"/>
            <a:ext cx="216000" cy="216000"/>
            <a:chOff x="5138914" y="4010841"/>
            <a:chExt cx="828000" cy="828000"/>
          </a:xfrm>
        </p:grpSpPr>
        <p:sp>
          <p:nvSpPr>
            <p:cNvPr id="70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71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73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6" name="组合 85"/>
          <p:cNvGrpSpPr/>
          <p:nvPr userDrawn="1"/>
        </p:nvGrpSpPr>
        <p:grpSpPr>
          <a:xfrm>
            <a:off x="241136" y="2759015"/>
            <a:ext cx="216000" cy="216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36820" y="2007667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113190" y="2256178"/>
            <a:ext cx="468000" cy="468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5" y="848100"/>
              <a:ext cx="719723" cy="720001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41136" y="4241514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204916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Rectangle 6">
            <a:extLst>
              <a:ext uri="{FF2B5EF4-FFF2-40B4-BE49-F238E27FC236}">
                <a16:creationId xmlns:a16="http://schemas.microsoft.com/office/drawing/2014/main" id="{45B5978F-AE50-48A1-94A2-FC02C21B26AB}"/>
              </a:ext>
            </a:extLst>
          </p:cNvPr>
          <p:cNvSpPr>
            <a:spLocks noChangeArrowheads="1"/>
          </p:cNvSpPr>
          <p:nvPr userDrawn="1"/>
        </p:nvSpPr>
        <p:spPr bwMode="auto">
          <a:xfrm rot="1511674">
            <a:off x="202664" y="2817264"/>
            <a:ext cx="1332000" cy="360000"/>
          </a:xfrm>
          <a:prstGeom prst="roundRect">
            <a:avLst>
              <a:gd name="adj" fmla="val 50000"/>
            </a:avLst>
          </a:pr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 sz="2133" dirty="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sp>
        <p:nvSpPr>
          <p:cNvPr id="176" name="文本框 175">
            <a:extLst>
              <a:ext uri="{FF2B5EF4-FFF2-40B4-BE49-F238E27FC236}">
                <a16:creationId xmlns:a16="http://schemas.microsoft.com/office/drawing/2014/main" id="{627D3BE7-E104-4D47-BF10-94903B64C101}"/>
              </a:ext>
            </a:extLst>
          </p:cNvPr>
          <p:cNvSpPr txBox="1"/>
          <p:nvPr userDrawn="1"/>
        </p:nvSpPr>
        <p:spPr>
          <a:xfrm rot="1515553">
            <a:off x="439596" y="287184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商业模式</a:t>
            </a:r>
          </a:p>
        </p:txBody>
      </p:sp>
      <p:cxnSp>
        <p:nvCxnSpPr>
          <p:cNvPr id="6" name="直接连接符 5"/>
          <p:cNvCxnSpPr/>
          <p:nvPr userDrawn="1"/>
        </p:nvCxnSpPr>
        <p:spPr>
          <a:xfrm flipH="1">
            <a:off x="337291" y="2087916"/>
            <a:ext cx="0" cy="2160000"/>
          </a:xfrm>
          <a:prstGeom prst="line">
            <a:avLst/>
          </a:prstGeom>
          <a:ln w="19050">
            <a:solidFill>
              <a:srgbClr val="FFB92D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 userDrawn="1"/>
        </p:nvGrpSpPr>
        <p:grpSpPr>
          <a:xfrm>
            <a:off x="232590" y="3506335"/>
            <a:ext cx="216000" cy="216000"/>
            <a:chOff x="1702224" y="2877537"/>
            <a:chExt cx="828000" cy="828000"/>
          </a:xfrm>
        </p:grpSpPr>
        <p:sp>
          <p:nvSpPr>
            <p:cNvPr id="8" name="Oval 33"/>
            <p:cNvSpPr>
              <a:spLocks noChangeArrowheads="1"/>
            </p:cNvSpPr>
            <p:nvPr/>
          </p:nvSpPr>
          <p:spPr bwMode="auto">
            <a:xfrm>
              <a:off x="1702224" y="2877537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" name="Oval 33"/>
            <p:cNvSpPr>
              <a:spLocks noChangeArrowheads="1"/>
            </p:cNvSpPr>
            <p:nvPr/>
          </p:nvSpPr>
          <p:spPr bwMode="auto">
            <a:xfrm>
              <a:off x="1756224" y="2931537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864224" y="3093537"/>
              <a:ext cx="504000" cy="396000"/>
              <a:chOff x="6235149" y="2428819"/>
              <a:chExt cx="436044" cy="343863"/>
            </a:xfrm>
          </p:grpSpPr>
          <p:sp>
            <p:nvSpPr>
              <p:cNvPr id="11" name="Oval 150"/>
              <p:cNvSpPr>
                <a:spLocks noChangeArrowheads="1"/>
              </p:cNvSpPr>
              <p:nvPr/>
            </p:nvSpPr>
            <p:spPr bwMode="auto">
              <a:xfrm>
                <a:off x="6418474" y="2466105"/>
                <a:ext cx="70430" cy="8596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151"/>
              <p:cNvSpPr>
                <a:spLocks/>
              </p:cNvSpPr>
              <p:nvPr/>
            </p:nvSpPr>
            <p:spPr bwMode="auto">
              <a:xfrm>
                <a:off x="6379116" y="2558286"/>
                <a:ext cx="148110" cy="90109"/>
              </a:xfrm>
              <a:custGeom>
                <a:avLst/>
                <a:gdLst>
                  <a:gd name="T0" fmla="*/ 36 w 72"/>
                  <a:gd name="T1" fmla="*/ 44 h 44"/>
                  <a:gd name="T2" fmla="*/ 41 w 72"/>
                  <a:gd name="T3" fmla="*/ 44 h 44"/>
                  <a:gd name="T4" fmla="*/ 72 w 72"/>
                  <a:gd name="T5" fmla="*/ 31 h 44"/>
                  <a:gd name="T6" fmla="*/ 70 w 72"/>
                  <a:gd name="T7" fmla="*/ 12 h 44"/>
                  <a:gd name="T8" fmla="*/ 60 w 72"/>
                  <a:gd name="T9" fmla="*/ 2 h 44"/>
                  <a:gd name="T10" fmla="*/ 50 w 72"/>
                  <a:gd name="T11" fmla="*/ 1 h 44"/>
                  <a:gd name="T12" fmla="*/ 50 w 72"/>
                  <a:gd name="T13" fmla="*/ 1 h 44"/>
                  <a:gd name="T14" fmla="*/ 57 w 72"/>
                  <a:gd name="T15" fmla="*/ 7 h 44"/>
                  <a:gd name="T16" fmla="*/ 49 w 72"/>
                  <a:gd name="T17" fmla="*/ 12 h 44"/>
                  <a:gd name="T18" fmla="*/ 53 w 72"/>
                  <a:gd name="T19" fmla="*/ 19 h 44"/>
                  <a:gd name="T20" fmla="*/ 41 w 72"/>
                  <a:gd name="T21" fmla="*/ 43 h 44"/>
                  <a:gd name="T22" fmla="*/ 40 w 72"/>
                  <a:gd name="T23" fmla="*/ 9 h 44"/>
                  <a:gd name="T24" fmla="*/ 41 w 72"/>
                  <a:gd name="T25" fmla="*/ 7 h 44"/>
                  <a:gd name="T26" fmla="*/ 39 w 72"/>
                  <a:gd name="T27" fmla="*/ 0 h 44"/>
                  <a:gd name="T28" fmla="*/ 32 w 72"/>
                  <a:gd name="T29" fmla="*/ 0 h 44"/>
                  <a:gd name="T30" fmla="*/ 30 w 72"/>
                  <a:gd name="T31" fmla="*/ 7 h 44"/>
                  <a:gd name="T32" fmla="*/ 32 w 72"/>
                  <a:gd name="T33" fmla="*/ 9 h 44"/>
                  <a:gd name="T34" fmla="*/ 30 w 72"/>
                  <a:gd name="T35" fmla="*/ 43 h 44"/>
                  <a:gd name="T36" fmla="*/ 19 w 72"/>
                  <a:gd name="T37" fmla="*/ 19 h 44"/>
                  <a:gd name="T38" fmla="*/ 23 w 72"/>
                  <a:gd name="T39" fmla="*/ 12 h 44"/>
                  <a:gd name="T40" fmla="*/ 14 w 72"/>
                  <a:gd name="T41" fmla="*/ 7 h 44"/>
                  <a:gd name="T42" fmla="*/ 21 w 72"/>
                  <a:gd name="T43" fmla="*/ 1 h 44"/>
                  <a:gd name="T44" fmla="*/ 21 w 72"/>
                  <a:gd name="T45" fmla="*/ 1 h 44"/>
                  <a:gd name="T46" fmla="*/ 12 w 72"/>
                  <a:gd name="T47" fmla="*/ 2 h 44"/>
                  <a:gd name="T48" fmla="*/ 12 w 72"/>
                  <a:gd name="T49" fmla="*/ 2 h 44"/>
                  <a:gd name="T50" fmla="*/ 2 w 72"/>
                  <a:gd name="T51" fmla="*/ 12 h 44"/>
                  <a:gd name="T52" fmla="*/ 0 w 72"/>
                  <a:gd name="T53" fmla="*/ 32 h 44"/>
                  <a:gd name="T54" fmla="*/ 30 w 72"/>
                  <a:gd name="T55" fmla="*/ 44 h 44"/>
                  <a:gd name="T56" fmla="*/ 36 w 72"/>
                  <a:gd name="T5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44">
                    <a:moveTo>
                      <a:pt x="36" y="44"/>
                    </a:moveTo>
                    <a:cubicBezTo>
                      <a:pt x="38" y="44"/>
                      <a:pt x="40" y="44"/>
                      <a:pt x="41" y="44"/>
                    </a:cubicBezTo>
                    <a:cubicBezTo>
                      <a:pt x="53" y="43"/>
                      <a:pt x="63" y="38"/>
                      <a:pt x="72" y="31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70" y="6"/>
                      <a:pt x="67" y="3"/>
                      <a:pt x="60" y="2"/>
                    </a:cubicBezTo>
                    <a:cubicBezTo>
                      <a:pt x="60" y="2"/>
                      <a:pt x="53" y="1"/>
                      <a:pt x="50" y="1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53" y="19"/>
                      <a:pt x="53" y="19"/>
                      <a:pt x="53" y="19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4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7" y="3"/>
                      <a:pt x="2" y="6"/>
                      <a:pt x="2" y="1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9" y="38"/>
                      <a:pt x="19" y="43"/>
                      <a:pt x="30" y="44"/>
                    </a:cubicBezTo>
                    <a:cubicBezTo>
                      <a:pt x="32" y="44"/>
                      <a:pt x="34" y="44"/>
                      <a:pt x="36" y="4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152"/>
              <p:cNvSpPr>
                <a:spLocks noEditPoints="1"/>
              </p:cNvSpPr>
              <p:nvPr/>
            </p:nvSpPr>
            <p:spPr bwMode="auto">
              <a:xfrm>
                <a:off x="6235149" y="2520999"/>
                <a:ext cx="103574" cy="68359"/>
              </a:xfrm>
              <a:custGeom>
                <a:avLst/>
                <a:gdLst>
                  <a:gd name="T0" fmla="*/ 50 w 50"/>
                  <a:gd name="T1" fmla="*/ 12 h 33"/>
                  <a:gd name="T2" fmla="*/ 32 w 50"/>
                  <a:gd name="T3" fmla="*/ 12 h 33"/>
                  <a:gd name="T4" fmla="*/ 17 w 50"/>
                  <a:gd name="T5" fmla="*/ 0 h 33"/>
                  <a:gd name="T6" fmla="*/ 0 w 50"/>
                  <a:gd name="T7" fmla="*/ 16 h 33"/>
                  <a:gd name="T8" fmla="*/ 17 w 50"/>
                  <a:gd name="T9" fmla="*/ 33 h 33"/>
                  <a:gd name="T10" fmla="*/ 32 w 50"/>
                  <a:gd name="T11" fmla="*/ 20 h 33"/>
                  <a:gd name="T12" fmla="*/ 50 w 50"/>
                  <a:gd name="T13" fmla="*/ 20 h 33"/>
                  <a:gd name="T14" fmla="*/ 50 w 50"/>
                  <a:gd name="T15" fmla="*/ 12 h 33"/>
                  <a:gd name="T16" fmla="*/ 17 w 50"/>
                  <a:gd name="T17" fmla="*/ 24 h 33"/>
                  <a:gd name="T18" fmla="*/ 9 w 50"/>
                  <a:gd name="T19" fmla="*/ 16 h 33"/>
                  <a:gd name="T20" fmla="*/ 17 w 50"/>
                  <a:gd name="T21" fmla="*/ 8 h 33"/>
                  <a:gd name="T22" fmla="*/ 24 w 50"/>
                  <a:gd name="T23" fmla="*/ 16 h 33"/>
                  <a:gd name="T24" fmla="*/ 17 w 50"/>
                  <a:gd name="T2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33">
                    <a:moveTo>
                      <a:pt x="50" y="12"/>
                    </a:moveTo>
                    <a:cubicBezTo>
                      <a:pt x="32" y="12"/>
                      <a:pt x="32" y="12"/>
                      <a:pt x="32" y="12"/>
                    </a:cubicBezTo>
                    <a:cubicBezTo>
                      <a:pt x="30" y="5"/>
                      <a:pt x="24" y="0"/>
                      <a:pt x="17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25"/>
                      <a:pt x="7" y="33"/>
                      <a:pt x="17" y="33"/>
                    </a:cubicBezTo>
                    <a:cubicBezTo>
                      <a:pt x="24" y="33"/>
                      <a:pt x="31" y="27"/>
                      <a:pt x="32" y="20"/>
                    </a:cubicBezTo>
                    <a:cubicBezTo>
                      <a:pt x="50" y="20"/>
                      <a:pt x="50" y="20"/>
                      <a:pt x="50" y="20"/>
                    </a:cubicBezTo>
                    <a:lnTo>
                      <a:pt x="50" y="12"/>
                    </a:lnTo>
                    <a:close/>
                    <a:moveTo>
                      <a:pt x="17" y="24"/>
                    </a:moveTo>
                    <a:cubicBezTo>
                      <a:pt x="12" y="24"/>
                      <a:pt x="9" y="20"/>
                      <a:pt x="9" y="16"/>
                    </a:cubicBezTo>
                    <a:cubicBezTo>
                      <a:pt x="9" y="12"/>
                      <a:pt x="12" y="8"/>
                      <a:pt x="17" y="8"/>
                    </a:cubicBezTo>
                    <a:cubicBezTo>
                      <a:pt x="21" y="8"/>
                      <a:pt x="24" y="12"/>
                      <a:pt x="24" y="16"/>
                    </a:cubicBezTo>
                    <a:cubicBezTo>
                      <a:pt x="24" y="20"/>
                      <a:pt x="21" y="24"/>
                      <a:pt x="17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53"/>
              <p:cNvSpPr>
                <a:spLocks noEditPoints="1"/>
              </p:cNvSpPr>
              <p:nvPr/>
            </p:nvSpPr>
            <p:spPr bwMode="auto">
              <a:xfrm>
                <a:off x="6255863" y="2603858"/>
                <a:ext cx="103574" cy="81823"/>
              </a:xfrm>
              <a:custGeom>
                <a:avLst/>
                <a:gdLst>
                  <a:gd name="T0" fmla="*/ 46 w 50"/>
                  <a:gd name="T1" fmla="*/ 0 h 40"/>
                  <a:gd name="T2" fmla="*/ 30 w 50"/>
                  <a:gd name="T3" fmla="*/ 9 h 40"/>
                  <a:gd name="T4" fmla="*/ 10 w 50"/>
                  <a:gd name="T5" fmla="*/ 6 h 40"/>
                  <a:gd name="T6" fmla="*/ 4 w 50"/>
                  <a:gd name="T7" fmla="*/ 29 h 40"/>
                  <a:gd name="T8" fmla="*/ 27 w 50"/>
                  <a:gd name="T9" fmla="*/ 35 h 40"/>
                  <a:gd name="T10" fmla="*/ 34 w 50"/>
                  <a:gd name="T11" fmla="*/ 16 h 40"/>
                  <a:gd name="T12" fmla="*/ 50 w 50"/>
                  <a:gd name="T13" fmla="*/ 7 h 40"/>
                  <a:gd name="T14" fmla="*/ 46 w 50"/>
                  <a:gd name="T15" fmla="*/ 0 h 40"/>
                  <a:gd name="T16" fmla="*/ 22 w 50"/>
                  <a:gd name="T17" fmla="*/ 27 h 40"/>
                  <a:gd name="T18" fmla="*/ 12 w 50"/>
                  <a:gd name="T19" fmla="*/ 25 h 40"/>
                  <a:gd name="T20" fmla="*/ 15 w 50"/>
                  <a:gd name="T21" fmla="*/ 14 h 40"/>
                  <a:gd name="T22" fmla="*/ 25 w 50"/>
                  <a:gd name="T23" fmla="*/ 17 h 40"/>
                  <a:gd name="T24" fmla="*/ 22 w 50"/>
                  <a:gd name="T25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46" y="0"/>
                    </a:moveTo>
                    <a:cubicBezTo>
                      <a:pt x="30" y="9"/>
                      <a:pt x="30" y="9"/>
                      <a:pt x="30" y="9"/>
                    </a:cubicBezTo>
                    <a:cubicBezTo>
                      <a:pt x="25" y="4"/>
                      <a:pt x="17" y="3"/>
                      <a:pt x="10" y="6"/>
                    </a:cubicBezTo>
                    <a:cubicBezTo>
                      <a:pt x="2" y="11"/>
                      <a:pt x="0" y="21"/>
                      <a:pt x="4" y="29"/>
                    </a:cubicBezTo>
                    <a:cubicBezTo>
                      <a:pt x="9" y="37"/>
                      <a:pt x="19" y="40"/>
                      <a:pt x="27" y="35"/>
                    </a:cubicBezTo>
                    <a:cubicBezTo>
                      <a:pt x="33" y="31"/>
                      <a:pt x="36" y="24"/>
                      <a:pt x="34" y="16"/>
                    </a:cubicBezTo>
                    <a:cubicBezTo>
                      <a:pt x="50" y="7"/>
                      <a:pt x="50" y="7"/>
                      <a:pt x="50" y="7"/>
                    </a:cubicBezTo>
                    <a:lnTo>
                      <a:pt x="46" y="0"/>
                    </a:lnTo>
                    <a:close/>
                    <a:moveTo>
                      <a:pt x="22" y="27"/>
                    </a:moveTo>
                    <a:cubicBezTo>
                      <a:pt x="19" y="30"/>
                      <a:pt x="14" y="28"/>
                      <a:pt x="12" y="25"/>
                    </a:cubicBezTo>
                    <a:cubicBezTo>
                      <a:pt x="10" y="21"/>
                      <a:pt x="11" y="16"/>
                      <a:pt x="15" y="14"/>
                    </a:cubicBezTo>
                    <a:cubicBezTo>
                      <a:pt x="18" y="12"/>
                      <a:pt x="23" y="13"/>
                      <a:pt x="25" y="17"/>
                    </a:cubicBezTo>
                    <a:cubicBezTo>
                      <a:pt x="27" y="21"/>
                      <a:pt x="26" y="25"/>
                      <a:pt x="22" y="27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Freeform 154"/>
              <p:cNvSpPr>
                <a:spLocks noEditPoints="1"/>
              </p:cNvSpPr>
              <p:nvPr/>
            </p:nvSpPr>
            <p:spPr bwMode="auto">
              <a:xfrm>
                <a:off x="6322151" y="2648394"/>
                <a:ext cx="81823" cy="103574"/>
              </a:xfrm>
              <a:custGeom>
                <a:avLst/>
                <a:gdLst>
                  <a:gd name="T0" fmla="*/ 32 w 40"/>
                  <a:gd name="T1" fmla="*/ 0 h 50"/>
                  <a:gd name="T2" fmla="*/ 23 w 40"/>
                  <a:gd name="T3" fmla="*/ 16 h 50"/>
                  <a:gd name="T4" fmla="*/ 5 w 40"/>
                  <a:gd name="T5" fmla="*/ 23 h 50"/>
                  <a:gd name="T6" fmla="*/ 11 w 40"/>
                  <a:gd name="T7" fmla="*/ 46 h 50"/>
                  <a:gd name="T8" fmla="*/ 33 w 40"/>
                  <a:gd name="T9" fmla="*/ 40 h 50"/>
                  <a:gd name="T10" fmla="*/ 31 w 40"/>
                  <a:gd name="T11" fmla="*/ 20 h 50"/>
                  <a:gd name="T12" fmla="*/ 40 w 40"/>
                  <a:gd name="T13" fmla="*/ 4 h 50"/>
                  <a:gd name="T14" fmla="*/ 32 w 40"/>
                  <a:gd name="T15" fmla="*/ 0 h 50"/>
                  <a:gd name="T16" fmla="*/ 26 w 40"/>
                  <a:gd name="T17" fmla="*/ 35 h 50"/>
                  <a:gd name="T18" fmla="*/ 15 w 40"/>
                  <a:gd name="T19" fmla="*/ 38 h 50"/>
                  <a:gd name="T20" fmla="*/ 12 w 40"/>
                  <a:gd name="T21" fmla="*/ 28 h 50"/>
                  <a:gd name="T22" fmla="*/ 23 w 40"/>
                  <a:gd name="T23" fmla="*/ 25 h 50"/>
                  <a:gd name="T24" fmla="*/ 26 w 40"/>
                  <a:gd name="T25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50">
                    <a:moveTo>
                      <a:pt x="32" y="0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16" y="14"/>
                      <a:pt x="9" y="17"/>
                      <a:pt x="5" y="23"/>
                    </a:cubicBezTo>
                    <a:cubicBezTo>
                      <a:pt x="0" y="31"/>
                      <a:pt x="3" y="41"/>
                      <a:pt x="11" y="46"/>
                    </a:cubicBezTo>
                    <a:cubicBezTo>
                      <a:pt x="19" y="50"/>
                      <a:pt x="29" y="48"/>
                      <a:pt x="33" y="40"/>
                    </a:cubicBezTo>
                    <a:cubicBezTo>
                      <a:pt x="37" y="33"/>
                      <a:pt x="36" y="25"/>
                      <a:pt x="31" y="20"/>
                    </a:cubicBezTo>
                    <a:cubicBezTo>
                      <a:pt x="40" y="4"/>
                      <a:pt x="40" y="4"/>
                      <a:pt x="40" y="4"/>
                    </a:cubicBezTo>
                    <a:lnTo>
                      <a:pt x="32" y="0"/>
                    </a:lnTo>
                    <a:close/>
                    <a:moveTo>
                      <a:pt x="26" y="35"/>
                    </a:moveTo>
                    <a:cubicBezTo>
                      <a:pt x="24" y="39"/>
                      <a:pt x="19" y="40"/>
                      <a:pt x="15" y="38"/>
                    </a:cubicBezTo>
                    <a:cubicBezTo>
                      <a:pt x="12" y="36"/>
                      <a:pt x="10" y="31"/>
                      <a:pt x="12" y="28"/>
                    </a:cubicBezTo>
                    <a:cubicBezTo>
                      <a:pt x="15" y="24"/>
                      <a:pt x="19" y="23"/>
                      <a:pt x="23" y="25"/>
                    </a:cubicBezTo>
                    <a:cubicBezTo>
                      <a:pt x="27" y="27"/>
                      <a:pt x="28" y="32"/>
                      <a:pt x="26" y="3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Freeform 155"/>
              <p:cNvSpPr>
                <a:spLocks noEditPoints="1"/>
              </p:cNvSpPr>
              <p:nvPr/>
            </p:nvSpPr>
            <p:spPr bwMode="auto">
              <a:xfrm>
                <a:off x="6418474" y="2669108"/>
                <a:ext cx="68359" cy="103574"/>
              </a:xfrm>
              <a:custGeom>
                <a:avLst/>
                <a:gdLst>
                  <a:gd name="T0" fmla="*/ 12 w 33"/>
                  <a:gd name="T1" fmla="*/ 0 h 50"/>
                  <a:gd name="T2" fmla="*/ 12 w 33"/>
                  <a:gd name="T3" fmla="*/ 18 h 50"/>
                  <a:gd name="T4" fmla="*/ 0 w 33"/>
                  <a:gd name="T5" fmla="*/ 34 h 50"/>
                  <a:gd name="T6" fmla="*/ 17 w 33"/>
                  <a:gd name="T7" fmla="*/ 50 h 50"/>
                  <a:gd name="T8" fmla="*/ 33 w 33"/>
                  <a:gd name="T9" fmla="*/ 34 h 50"/>
                  <a:gd name="T10" fmla="*/ 21 w 33"/>
                  <a:gd name="T11" fmla="*/ 18 h 50"/>
                  <a:gd name="T12" fmla="*/ 21 w 33"/>
                  <a:gd name="T13" fmla="*/ 0 h 50"/>
                  <a:gd name="T14" fmla="*/ 12 w 33"/>
                  <a:gd name="T15" fmla="*/ 0 h 50"/>
                  <a:gd name="T16" fmla="*/ 25 w 33"/>
                  <a:gd name="T17" fmla="*/ 34 h 50"/>
                  <a:gd name="T18" fmla="*/ 17 w 33"/>
                  <a:gd name="T19" fmla="*/ 41 h 50"/>
                  <a:gd name="T20" fmla="*/ 9 w 33"/>
                  <a:gd name="T21" fmla="*/ 34 h 50"/>
                  <a:gd name="T22" fmla="*/ 17 w 33"/>
                  <a:gd name="T23" fmla="*/ 26 h 50"/>
                  <a:gd name="T24" fmla="*/ 25 w 33"/>
                  <a:gd name="T2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12" y="0"/>
                    </a:moveTo>
                    <a:cubicBezTo>
                      <a:pt x="12" y="18"/>
                      <a:pt x="12" y="18"/>
                      <a:pt x="12" y="18"/>
                    </a:cubicBezTo>
                    <a:cubicBezTo>
                      <a:pt x="5" y="20"/>
                      <a:pt x="0" y="26"/>
                      <a:pt x="0" y="34"/>
                    </a:cubicBezTo>
                    <a:cubicBezTo>
                      <a:pt x="0" y="43"/>
                      <a:pt x="8" y="50"/>
                      <a:pt x="17" y="50"/>
                    </a:cubicBezTo>
                    <a:cubicBezTo>
                      <a:pt x="26" y="50"/>
                      <a:pt x="33" y="43"/>
                      <a:pt x="33" y="34"/>
                    </a:cubicBezTo>
                    <a:cubicBezTo>
                      <a:pt x="33" y="26"/>
                      <a:pt x="28" y="20"/>
                      <a:pt x="21" y="18"/>
                    </a:cubicBezTo>
                    <a:cubicBezTo>
                      <a:pt x="21" y="0"/>
                      <a:pt x="21" y="0"/>
                      <a:pt x="21" y="0"/>
                    </a:cubicBezTo>
                    <a:lnTo>
                      <a:pt x="12" y="0"/>
                    </a:lnTo>
                    <a:close/>
                    <a:moveTo>
                      <a:pt x="25" y="34"/>
                    </a:moveTo>
                    <a:cubicBezTo>
                      <a:pt x="25" y="38"/>
                      <a:pt x="21" y="41"/>
                      <a:pt x="17" y="41"/>
                    </a:cubicBezTo>
                    <a:cubicBezTo>
                      <a:pt x="13" y="41"/>
                      <a:pt x="9" y="38"/>
                      <a:pt x="9" y="34"/>
                    </a:cubicBezTo>
                    <a:cubicBezTo>
                      <a:pt x="9" y="29"/>
                      <a:pt x="13" y="26"/>
                      <a:pt x="17" y="26"/>
                    </a:cubicBezTo>
                    <a:cubicBezTo>
                      <a:pt x="21" y="26"/>
                      <a:pt x="25" y="29"/>
                      <a:pt x="25" y="3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156"/>
              <p:cNvSpPr>
                <a:spLocks noEditPoints="1"/>
              </p:cNvSpPr>
              <p:nvPr/>
            </p:nvSpPr>
            <p:spPr bwMode="auto">
              <a:xfrm>
                <a:off x="6503404" y="2648394"/>
                <a:ext cx="79751" cy="105645"/>
              </a:xfrm>
              <a:custGeom>
                <a:avLst/>
                <a:gdLst>
                  <a:gd name="T0" fmla="*/ 0 w 39"/>
                  <a:gd name="T1" fmla="*/ 5 h 51"/>
                  <a:gd name="T2" fmla="*/ 9 w 39"/>
                  <a:gd name="T3" fmla="*/ 20 h 51"/>
                  <a:gd name="T4" fmla="*/ 6 w 39"/>
                  <a:gd name="T5" fmla="*/ 40 h 51"/>
                  <a:gd name="T6" fmla="*/ 29 w 39"/>
                  <a:gd name="T7" fmla="*/ 46 h 51"/>
                  <a:gd name="T8" fmla="*/ 35 w 39"/>
                  <a:gd name="T9" fmla="*/ 23 h 51"/>
                  <a:gd name="T10" fmla="*/ 16 w 39"/>
                  <a:gd name="T11" fmla="*/ 16 h 51"/>
                  <a:gd name="T12" fmla="*/ 7 w 39"/>
                  <a:gd name="T13" fmla="*/ 0 h 51"/>
                  <a:gd name="T14" fmla="*/ 0 w 39"/>
                  <a:gd name="T15" fmla="*/ 5 h 51"/>
                  <a:gd name="T16" fmla="*/ 27 w 39"/>
                  <a:gd name="T17" fmla="*/ 28 h 51"/>
                  <a:gd name="T18" fmla="*/ 24 w 39"/>
                  <a:gd name="T19" fmla="*/ 38 h 51"/>
                  <a:gd name="T20" fmla="*/ 14 w 39"/>
                  <a:gd name="T21" fmla="*/ 36 h 51"/>
                  <a:gd name="T22" fmla="*/ 17 w 39"/>
                  <a:gd name="T23" fmla="*/ 25 h 51"/>
                  <a:gd name="T24" fmla="*/ 27 w 39"/>
                  <a:gd name="T25" fmla="*/ 2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1">
                    <a:moveTo>
                      <a:pt x="0" y="5"/>
                    </a:moveTo>
                    <a:cubicBezTo>
                      <a:pt x="9" y="20"/>
                      <a:pt x="9" y="20"/>
                      <a:pt x="9" y="20"/>
                    </a:cubicBezTo>
                    <a:cubicBezTo>
                      <a:pt x="4" y="25"/>
                      <a:pt x="3" y="33"/>
                      <a:pt x="6" y="40"/>
                    </a:cubicBezTo>
                    <a:cubicBezTo>
                      <a:pt x="11" y="48"/>
                      <a:pt x="21" y="51"/>
                      <a:pt x="29" y="46"/>
                    </a:cubicBezTo>
                    <a:cubicBezTo>
                      <a:pt x="37" y="41"/>
                      <a:pt x="39" y="31"/>
                      <a:pt x="35" y="23"/>
                    </a:cubicBezTo>
                    <a:cubicBezTo>
                      <a:pt x="31" y="17"/>
                      <a:pt x="23" y="14"/>
                      <a:pt x="16" y="16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0" y="5"/>
                    </a:lnTo>
                    <a:close/>
                    <a:moveTo>
                      <a:pt x="27" y="28"/>
                    </a:moveTo>
                    <a:cubicBezTo>
                      <a:pt x="29" y="32"/>
                      <a:pt x="28" y="36"/>
                      <a:pt x="24" y="38"/>
                    </a:cubicBezTo>
                    <a:cubicBezTo>
                      <a:pt x="21" y="41"/>
                      <a:pt x="16" y="39"/>
                      <a:pt x="14" y="36"/>
                    </a:cubicBezTo>
                    <a:cubicBezTo>
                      <a:pt x="12" y="32"/>
                      <a:pt x="13" y="27"/>
                      <a:pt x="17" y="25"/>
                    </a:cubicBezTo>
                    <a:cubicBezTo>
                      <a:pt x="20" y="23"/>
                      <a:pt x="25" y="24"/>
                      <a:pt x="2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157"/>
              <p:cNvSpPr>
                <a:spLocks noEditPoints="1"/>
              </p:cNvSpPr>
              <p:nvPr/>
            </p:nvSpPr>
            <p:spPr bwMode="auto">
              <a:xfrm>
                <a:off x="6547940" y="2603858"/>
                <a:ext cx="103574" cy="81823"/>
              </a:xfrm>
              <a:custGeom>
                <a:avLst/>
                <a:gdLst>
                  <a:gd name="T0" fmla="*/ 0 w 50"/>
                  <a:gd name="T1" fmla="*/ 8 h 40"/>
                  <a:gd name="T2" fmla="*/ 15 w 50"/>
                  <a:gd name="T3" fmla="*/ 17 h 40"/>
                  <a:gd name="T4" fmla="*/ 23 w 50"/>
                  <a:gd name="T5" fmla="*/ 35 h 40"/>
                  <a:gd name="T6" fmla="*/ 46 w 50"/>
                  <a:gd name="T7" fmla="*/ 29 h 40"/>
                  <a:gd name="T8" fmla="*/ 40 w 50"/>
                  <a:gd name="T9" fmla="*/ 7 h 40"/>
                  <a:gd name="T10" fmla="*/ 20 w 50"/>
                  <a:gd name="T11" fmla="*/ 9 h 40"/>
                  <a:gd name="T12" fmla="*/ 4 w 50"/>
                  <a:gd name="T13" fmla="*/ 0 h 40"/>
                  <a:gd name="T14" fmla="*/ 0 w 50"/>
                  <a:gd name="T15" fmla="*/ 8 h 40"/>
                  <a:gd name="T16" fmla="*/ 35 w 50"/>
                  <a:gd name="T17" fmla="*/ 14 h 40"/>
                  <a:gd name="T18" fmla="*/ 38 w 50"/>
                  <a:gd name="T19" fmla="*/ 25 h 40"/>
                  <a:gd name="T20" fmla="*/ 27 w 50"/>
                  <a:gd name="T21" fmla="*/ 28 h 40"/>
                  <a:gd name="T22" fmla="*/ 25 w 50"/>
                  <a:gd name="T23" fmla="*/ 17 h 40"/>
                  <a:gd name="T24" fmla="*/ 35 w 50"/>
                  <a:gd name="T25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0">
                    <a:moveTo>
                      <a:pt x="0" y="8"/>
                    </a:move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24"/>
                      <a:pt x="17" y="32"/>
                      <a:pt x="23" y="35"/>
                    </a:cubicBezTo>
                    <a:cubicBezTo>
                      <a:pt x="31" y="40"/>
                      <a:pt x="41" y="37"/>
                      <a:pt x="46" y="29"/>
                    </a:cubicBezTo>
                    <a:cubicBezTo>
                      <a:pt x="50" y="21"/>
                      <a:pt x="48" y="11"/>
                      <a:pt x="40" y="7"/>
                    </a:cubicBezTo>
                    <a:cubicBezTo>
                      <a:pt x="33" y="3"/>
                      <a:pt x="25" y="4"/>
                      <a:pt x="20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8"/>
                    </a:lnTo>
                    <a:close/>
                    <a:moveTo>
                      <a:pt x="35" y="14"/>
                    </a:moveTo>
                    <a:cubicBezTo>
                      <a:pt x="39" y="16"/>
                      <a:pt x="40" y="21"/>
                      <a:pt x="38" y="25"/>
                    </a:cubicBezTo>
                    <a:cubicBezTo>
                      <a:pt x="36" y="29"/>
                      <a:pt x="31" y="30"/>
                      <a:pt x="27" y="28"/>
                    </a:cubicBezTo>
                    <a:cubicBezTo>
                      <a:pt x="24" y="26"/>
                      <a:pt x="23" y="21"/>
                      <a:pt x="25" y="17"/>
                    </a:cubicBezTo>
                    <a:cubicBezTo>
                      <a:pt x="27" y="13"/>
                      <a:pt x="32" y="12"/>
                      <a:pt x="35" y="1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158"/>
              <p:cNvSpPr>
                <a:spLocks noEditPoints="1"/>
              </p:cNvSpPr>
              <p:nvPr/>
            </p:nvSpPr>
            <p:spPr bwMode="auto">
              <a:xfrm>
                <a:off x="6566584" y="2520999"/>
                <a:ext cx="104609" cy="68359"/>
              </a:xfrm>
              <a:custGeom>
                <a:avLst/>
                <a:gdLst>
                  <a:gd name="T0" fmla="*/ 0 w 51"/>
                  <a:gd name="T1" fmla="*/ 21 h 33"/>
                  <a:gd name="T2" fmla="*/ 19 w 51"/>
                  <a:gd name="T3" fmla="*/ 21 h 33"/>
                  <a:gd name="T4" fmla="*/ 34 w 51"/>
                  <a:gd name="T5" fmla="*/ 33 h 33"/>
                  <a:gd name="T6" fmla="*/ 51 w 51"/>
                  <a:gd name="T7" fmla="*/ 16 h 33"/>
                  <a:gd name="T8" fmla="*/ 34 w 51"/>
                  <a:gd name="T9" fmla="*/ 0 h 33"/>
                  <a:gd name="T10" fmla="*/ 19 w 51"/>
                  <a:gd name="T11" fmla="*/ 12 h 33"/>
                  <a:gd name="T12" fmla="*/ 0 w 51"/>
                  <a:gd name="T13" fmla="*/ 12 h 33"/>
                  <a:gd name="T14" fmla="*/ 0 w 51"/>
                  <a:gd name="T15" fmla="*/ 21 h 33"/>
                  <a:gd name="T16" fmla="*/ 34 w 51"/>
                  <a:gd name="T17" fmla="*/ 9 h 33"/>
                  <a:gd name="T18" fmla="*/ 42 w 51"/>
                  <a:gd name="T19" fmla="*/ 16 h 33"/>
                  <a:gd name="T20" fmla="*/ 34 w 51"/>
                  <a:gd name="T21" fmla="*/ 24 h 33"/>
                  <a:gd name="T22" fmla="*/ 27 w 51"/>
                  <a:gd name="T23" fmla="*/ 16 h 33"/>
                  <a:gd name="T24" fmla="*/ 34 w 51"/>
                  <a:gd name="T25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33">
                    <a:moveTo>
                      <a:pt x="0" y="21"/>
                    </a:moveTo>
                    <a:cubicBezTo>
                      <a:pt x="19" y="21"/>
                      <a:pt x="19" y="21"/>
                      <a:pt x="19" y="21"/>
                    </a:cubicBezTo>
                    <a:cubicBezTo>
                      <a:pt x="21" y="28"/>
                      <a:pt x="27" y="33"/>
                      <a:pt x="34" y="33"/>
                    </a:cubicBezTo>
                    <a:cubicBezTo>
                      <a:pt x="44" y="33"/>
                      <a:pt x="51" y="25"/>
                      <a:pt x="51" y="16"/>
                    </a:cubicBezTo>
                    <a:cubicBezTo>
                      <a:pt x="51" y="7"/>
                      <a:pt x="44" y="0"/>
                      <a:pt x="34" y="0"/>
                    </a:cubicBezTo>
                    <a:cubicBezTo>
                      <a:pt x="27" y="0"/>
                      <a:pt x="20" y="5"/>
                      <a:pt x="19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21"/>
                    </a:lnTo>
                    <a:close/>
                    <a:moveTo>
                      <a:pt x="34" y="9"/>
                    </a:moveTo>
                    <a:cubicBezTo>
                      <a:pt x="39" y="9"/>
                      <a:pt x="42" y="12"/>
                      <a:pt x="42" y="16"/>
                    </a:cubicBezTo>
                    <a:cubicBezTo>
                      <a:pt x="42" y="21"/>
                      <a:pt x="39" y="24"/>
                      <a:pt x="34" y="24"/>
                    </a:cubicBezTo>
                    <a:cubicBezTo>
                      <a:pt x="30" y="24"/>
                      <a:pt x="27" y="21"/>
                      <a:pt x="27" y="16"/>
                    </a:cubicBezTo>
                    <a:cubicBezTo>
                      <a:pt x="27" y="12"/>
                      <a:pt x="30" y="9"/>
                      <a:pt x="34" y="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59"/>
              <p:cNvSpPr>
                <a:spLocks noEditPoints="1"/>
              </p:cNvSpPr>
              <p:nvPr/>
            </p:nvSpPr>
            <p:spPr bwMode="auto">
              <a:xfrm>
                <a:off x="6328365" y="2428819"/>
                <a:ext cx="250648" cy="248576"/>
              </a:xfrm>
              <a:custGeom>
                <a:avLst/>
                <a:gdLst>
                  <a:gd name="T0" fmla="*/ 61 w 122"/>
                  <a:gd name="T1" fmla="*/ 121 h 121"/>
                  <a:gd name="T2" fmla="*/ 0 w 122"/>
                  <a:gd name="T3" fmla="*/ 60 h 121"/>
                  <a:gd name="T4" fmla="*/ 61 w 122"/>
                  <a:gd name="T5" fmla="*/ 0 h 121"/>
                  <a:gd name="T6" fmla="*/ 122 w 122"/>
                  <a:gd name="T7" fmla="*/ 60 h 121"/>
                  <a:gd name="T8" fmla="*/ 61 w 122"/>
                  <a:gd name="T9" fmla="*/ 121 h 121"/>
                  <a:gd name="T10" fmla="*/ 61 w 122"/>
                  <a:gd name="T11" fmla="*/ 8 h 121"/>
                  <a:gd name="T12" fmla="*/ 8 w 122"/>
                  <a:gd name="T13" fmla="*/ 60 h 121"/>
                  <a:gd name="T14" fmla="*/ 61 w 122"/>
                  <a:gd name="T15" fmla="*/ 113 h 121"/>
                  <a:gd name="T16" fmla="*/ 114 w 122"/>
                  <a:gd name="T17" fmla="*/ 60 h 121"/>
                  <a:gd name="T18" fmla="*/ 61 w 122"/>
                  <a:gd name="T19" fmla="*/ 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21">
                    <a:moveTo>
                      <a:pt x="61" y="121"/>
                    </a:moveTo>
                    <a:cubicBezTo>
                      <a:pt x="28" y="121"/>
                      <a:pt x="0" y="94"/>
                      <a:pt x="0" y="60"/>
                    </a:cubicBezTo>
                    <a:cubicBezTo>
                      <a:pt x="0" y="27"/>
                      <a:pt x="28" y="0"/>
                      <a:pt x="61" y="0"/>
                    </a:cubicBezTo>
                    <a:cubicBezTo>
                      <a:pt x="94" y="0"/>
                      <a:pt x="122" y="27"/>
                      <a:pt x="122" y="60"/>
                    </a:cubicBezTo>
                    <a:cubicBezTo>
                      <a:pt x="122" y="94"/>
                      <a:pt x="94" y="121"/>
                      <a:pt x="61" y="121"/>
                    </a:cubicBezTo>
                    <a:close/>
                    <a:moveTo>
                      <a:pt x="61" y="8"/>
                    </a:moveTo>
                    <a:cubicBezTo>
                      <a:pt x="32" y="8"/>
                      <a:pt x="8" y="31"/>
                      <a:pt x="8" y="60"/>
                    </a:cubicBezTo>
                    <a:cubicBezTo>
                      <a:pt x="8" y="89"/>
                      <a:pt x="32" y="113"/>
                      <a:pt x="61" y="113"/>
                    </a:cubicBezTo>
                    <a:cubicBezTo>
                      <a:pt x="90" y="113"/>
                      <a:pt x="114" y="89"/>
                      <a:pt x="114" y="60"/>
                    </a:cubicBezTo>
                    <a:cubicBezTo>
                      <a:pt x="114" y="31"/>
                      <a:pt x="90" y="8"/>
                      <a:pt x="61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1" name="组合 20"/>
          <p:cNvGrpSpPr/>
          <p:nvPr userDrawn="1"/>
        </p:nvGrpSpPr>
        <p:grpSpPr>
          <a:xfrm>
            <a:off x="232590" y="3998851"/>
            <a:ext cx="216000" cy="216000"/>
            <a:chOff x="1645900" y="3884416"/>
            <a:chExt cx="828000" cy="828000"/>
          </a:xfrm>
        </p:grpSpPr>
        <p:sp>
          <p:nvSpPr>
            <p:cNvPr id="22" name="Oval 33"/>
            <p:cNvSpPr>
              <a:spLocks noChangeArrowheads="1"/>
            </p:cNvSpPr>
            <p:nvPr/>
          </p:nvSpPr>
          <p:spPr bwMode="auto">
            <a:xfrm>
              <a:off x="1645900" y="388441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3" name="Oval 33"/>
            <p:cNvSpPr>
              <a:spLocks noChangeArrowheads="1"/>
            </p:cNvSpPr>
            <p:nvPr/>
          </p:nvSpPr>
          <p:spPr bwMode="auto">
            <a:xfrm>
              <a:off x="1699900" y="393841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1843900" y="4082416"/>
              <a:ext cx="432000" cy="432000"/>
              <a:chOff x="6276579" y="1427264"/>
              <a:chExt cx="337649" cy="340757"/>
            </a:xfrm>
          </p:grpSpPr>
          <p:sp>
            <p:nvSpPr>
              <p:cNvPr id="25" name="Freeform 123"/>
              <p:cNvSpPr>
                <a:spLocks noEditPoints="1"/>
              </p:cNvSpPr>
              <p:nvPr/>
            </p:nvSpPr>
            <p:spPr bwMode="auto">
              <a:xfrm>
                <a:off x="6276579" y="1427264"/>
                <a:ext cx="337649" cy="340757"/>
              </a:xfrm>
              <a:custGeom>
                <a:avLst/>
                <a:gdLst>
                  <a:gd name="T0" fmla="*/ 87 w 164"/>
                  <a:gd name="T1" fmla="*/ 8 h 166"/>
                  <a:gd name="T2" fmla="*/ 87 w 164"/>
                  <a:gd name="T3" fmla="*/ 5 h 166"/>
                  <a:gd name="T4" fmla="*/ 82 w 164"/>
                  <a:gd name="T5" fmla="*/ 0 h 166"/>
                  <a:gd name="T6" fmla="*/ 77 w 164"/>
                  <a:gd name="T7" fmla="*/ 5 h 166"/>
                  <a:gd name="T8" fmla="*/ 77 w 164"/>
                  <a:gd name="T9" fmla="*/ 8 h 166"/>
                  <a:gd name="T10" fmla="*/ 0 w 164"/>
                  <a:gd name="T11" fmla="*/ 8 h 166"/>
                  <a:gd name="T12" fmla="*/ 0 w 164"/>
                  <a:gd name="T13" fmla="*/ 36 h 166"/>
                  <a:gd name="T14" fmla="*/ 3 w 164"/>
                  <a:gd name="T15" fmla="*/ 36 h 166"/>
                  <a:gd name="T16" fmla="*/ 3 w 164"/>
                  <a:gd name="T17" fmla="*/ 122 h 166"/>
                  <a:gd name="T18" fmla="*/ 7 w 164"/>
                  <a:gd name="T19" fmla="*/ 126 h 166"/>
                  <a:gd name="T20" fmla="*/ 49 w 164"/>
                  <a:gd name="T21" fmla="*/ 126 h 166"/>
                  <a:gd name="T22" fmla="*/ 30 w 164"/>
                  <a:gd name="T23" fmla="*/ 157 h 166"/>
                  <a:gd name="T24" fmla="*/ 32 w 164"/>
                  <a:gd name="T25" fmla="*/ 164 h 166"/>
                  <a:gd name="T26" fmla="*/ 34 w 164"/>
                  <a:gd name="T27" fmla="*/ 165 h 166"/>
                  <a:gd name="T28" fmla="*/ 39 w 164"/>
                  <a:gd name="T29" fmla="*/ 162 h 166"/>
                  <a:gd name="T30" fmla="*/ 48 w 164"/>
                  <a:gd name="T31" fmla="*/ 146 h 166"/>
                  <a:gd name="T32" fmla="*/ 77 w 164"/>
                  <a:gd name="T33" fmla="*/ 146 h 166"/>
                  <a:gd name="T34" fmla="*/ 77 w 164"/>
                  <a:gd name="T35" fmla="*/ 160 h 166"/>
                  <a:gd name="T36" fmla="*/ 82 w 164"/>
                  <a:gd name="T37" fmla="*/ 165 h 166"/>
                  <a:gd name="T38" fmla="*/ 87 w 164"/>
                  <a:gd name="T39" fmla="*/ 160 h 166"/>
                  <a:gd name="T40" fmla="*/ 87 w 164"/>
                  <a:gd name="T41" fmla="*/ 146 h 166"/>
                  <a:gd name="T42" fmla="*/ 116 w 164"/>
                  <a:gd name="T43" fmla="*/ 146 h 166"/>
                  <a:gd name="T44" fmla="*/ 126 w 164"/>
                  <a:gd name="T45" fmla="*/ 162 h 166"/>
                  <a:gd name="T46" fmla="*/ 132 w 164"/>
                  <a:gd name="T47" fmla="*/ 164 h 166"/>
                  <a:gd name="T48" fmla="*/ 134 w 164"/>
                  <a:gd name="T49" fmla="*/ 157 h 166"/>
                  <a:gd name="T50" fmla="*/ 116 w 164"/>
                  <a:gd name="T51" fmla="*/ 126 h 166"/>
                  <a:gd name="T52" fmla="*/ 157 w 164"/>
                  <a:gd name="T53" fmla="*/ 126 h 166"/>
                  <a:gd name="T54" fmla="*/ 161 w 164"/>
                  <a:gd name="T55" fmla="*/ 122 h 166"/>
                  <a:gd name="T56" fmla="*/ 161 w 164"/>
                  <a:gd name="T57" fmla="*/ 36 h 166"/>
                  <a:gd name="T58" fmla="*/ 164 w 164"/>
                  <a:gd name="T59" fmla="*/ 36 h 166"/>
                  <a:gd name="T60" fmla="*/ 164 w 164"/>
                  <a:gd name="T61" fmla="*/ 8 h 166"/>
                  <a:gd name="T62" fmla="*/ 87 w 164"/>
                  <a:gd name="T63" fmla="*/ 8 h 166"/>
                  <a:gd name="T64" fmla="*/ 77 w 164"/>
                  <a:gd name="T65" fmla="*/ 139 h 166"/>
                  <a:gd name="T66" fmla="*/ 52 w 164"/>
                  <a:gd name="T67" fmla="*/ 139 h 166"/>
                  <a:gd name="T68" fmla="*/ 60 w 164"/>
                  <a:gd name="T69" fmla="*/ 126 h 166"/>
                  <a:gd name="T70" fmla="*/ 77 w 164"/>
                  <a:gd name="T71" fmla="*/ 126 h 166"/>
                  <a:gd name="T72" fmla="*/ 77 w 164"/>
                  <a:gd name="T73" fmla="*/ 139 h 166"/>
                  <a:gd name="T74" fmla="*/ 87 w 164"/>
                  <a:gd name="T75" fmla="*/ 139 h 166"/>
                  <a:gd name="T76" fmla="*/ 87 w 164"/>
                  <a:gd name="T77" fmla="*/ 126 h 166"/>
                  <a:gd name="T78" fmla="*/ 104 w 164"/>
                  <a:gd name="T79" fmla="*/ 126 h 166"/>
                  <a:gd name="T80" fmla="*/ 112 w 164"/>
                  <a:gd name="T81" fmla="*/ 139 h 166"/>
                  <a:gd name="T82" fmla="*/ 87 w 164"/>
                  <a:gd name="T83" fmla="*/ 139 h 166"/>
                  <a:gd name="T84" fmla="*/ 151 w 164"/>
                  <a:gd name="T85" fmla="*/ 116 h 166"/>
                  <a:gd name="T86" fmla="*/ 13 w 164"/>
                  <a:gd name="T87" fmla="*/ 116 h 166"/>
                  <a:gd name="T88" fmla="*/ 13 w 164"/>
                  <a:gd name="T89" fmla="*/ 36 h 166"/>
                  <a:gd name="T90" fmla="*/ 151 w 164"/>
                  <a:gd name="T91" fmla="*/ 36 h 166"/>
                  <a:gd name="T92" fmla="*/ 151 w 164"/>
                  <a:gd name="T93" fmla="*/ 11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166">
                    <a:moveTo>
                      <a:pt x="87" y="8"/>
                    </a:moveTo>
                    <a:cubicBezTo>
                      <a:pt x="87" y="5"/>
                      <a:pt x="87" y="5"/>
                      <a:pt x="87" y="5"/>
                    </a:cubicBezTo>
                    <a:cubicBezTo>
                      <a:pt x="87" y="2"/>
                      <a:pt x="85" y="0"/>
                      <a:pt x="82" y="0"/>
                    </a:cubicBezTo>
                    <a:cubicBezTo>
                      <a:pt x="79" y="0"/>
                      <a:pt x="77" y="2"/>
                      <a:pt x="77" y="5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3" y="124"/>
                      <a:pt x="5" y="126"/>
                      <a:pt x="7" y="126"/>
                    </a:cubicBezTo>
                    <a:cubicBezTo>
                      <a:pt x="49" y="126"/>
                      <a:pt x="49" y="126"/>
                      <a:pt x="49" y="126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9" y="160"/>
                      <a:pt x="30" y="163"/>
                      <a:pt x="32" y="164"/>
                    </a:cubicBezTo>
                    <a:cubicBezTo>
                      <a:pt x="33" y="165"/>
                      <a:pt x="34" y="165"/>
                      <a:pt x="34" y="165"/>
                    </a:cubicBezTo>
                    <a:cubicBezTo>
                      <a:pt x="36" y="165"/>
                      <a:pt x="38" y="164"/>
                      <a:pt x="39" y="16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77" y="163"/>
                      <a:pt x="79" y="165"/>
                      <a:pt x="82" y="165"/>
                    </a:cubicBezTo>
                    <a:cubicBezTo>
                      <a:pt x="85" y="165"/>
                      <a:pt x="87" y="163"/>
                      <a:pt x="87" y="160"/>
                    </a:cubicBezTo>
                    <a:cubicBezTo>
                      <a:pt x="87" y="146"/>
                      <a:pt x="87" y="146"/>
                      <a:pt x="87" y="146"/>
                    </a:cubicBezTo>
                    <a:cubicBezTo>
                      <a:pt x="116" y="146"/>
                      <a:pt x="116" y="146"/>
                      <a:pt x="116" y="146"/>
                    </a:cubicBezTo>
                    <a:cubicBezTo>
                      <a:pt x="126" y="162"/>
                      <a:pt x="126" y="162"/>
                      <a:pt x="126" y="162"/>
                    </a:cubicBezTo>
                    <a:cubicBezTo>
                      <a:pt x="127" y="165"/>
                      <a:pt x="130" y="166"/>
                      <a:pt x="132" y="164"/>
                    </a:cubicBezTo>
                    <a:cubicBezTo>
                      <a:pt x="135" y="163"/>
                      <a:pt x="136" y="160"/>
                      <a:pt x="134" y="157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57" y="126"/>
                      <a:pt x="157" y="126"/>
                      <a:pt x="157" y="126"/>
                    </a:cubicBezTo>
                    <a:cubicBezTo>
                      <a:pt x="159" y="126"/>
                      <a:pt x="161" y="124"/>
                      <a:pt x="161" y="122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64" y="8"/>
                      <a:pt x="164" y="8"/>
                      <a:pt x="164" y="8"/>
                    </a:cubicBezTo>
                    <a:lnTo>
                      <a:pt x="87" y="8"/>
                    </a:lnTo>
                    <a:close/>
                    <a:moveTo>
                      <a:pt x="77" y="139"/>
                    </a:moveTo>
                    <a:cubicBezTo>
                      <a:pt x="52" y="139"/>
                      <a:pt x="52" y="139"/>
                      <a:pt x="52" y="139"/>
                    </a:cubicBezTo>
                    <a:cubicBezTo>
                      <a:pt x="60" y="126"/>
                      <a:pt x="60" y="126"/>
                      <a:pt x="60" y="126"/>
                    </a:cubicBezTo>
                    <a:cubicBezTo>
                      <a:pt x="77" y="126"/>
                      <a:pt x="77" y="126"/>
                      <a:pt x="77" y="126"/>
                    </a:cubicBezTo>
                    <a:lnTo>
                      <a:pt x="77" y="139"/>
                    </a:lnTo>
                    <a:close/>
                    <a:moveTo>
                      <a:pt x="87" y="139"/>
                    </a:moveTo>
                    <a:cubicBezTo>
                      <a:pt x="87" y="126"/>
                      <a:pt x="87" y="126"/>
                      <a:pt x="87" y="12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12" y="139"/>
                      <a:pt x="112" y="139"/>
                      <a:pt x="112" y="139"/>
                    </a:cubicBezTo>
                    <a:lnTo>
                      <a:pt x="87" y="139"/>
                    </a:lnTo>
                    <a:close/>
                    <a:moveTo>
                      <a:pt x="151" y="116"/>
                    </a:moveTo>
                    <a:cubicBezTo>
                      <a:pt x="13" y="116"/>
                      <a:pt x="13" y="116"/>
                      <a:pt x="13" y="11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1" y="36"/>
                      <a:pt x="151" y="36"/>
                      <a:pt x="151" y="36"/>
                    </a:cubicBezTo>
                    <a:lnTo>
                      <a:pt x="151" y="1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6" name="Freeform 124"/>
              <p:cNvSpPr>
                <a:spLocks noEditPoints="1"/>
              </p:cNvSpPr>
              <p:nvPr/>
            </p:nvSpPr>
            <p:spPr bwMode="auto">
              <a:xfrm>
                <a:off x="6318008" y="1513230"/>
                <a:ext cx="258933" cy="139824"/>
              </a:xfrm>
              <a:custGeom>
                <a:avLst/>
                <a:gdLst>
                  <a:gd name="T0" fmla="*/ 113 w 126"/>
                  <a:gd name="T1" fmla="*/ 0 h 68"/>
                  <a:gd name="T2" fmla="*/ 100 w 126"/>
                  <a:gd name="T3" fmla="*/ 13 h 68"/>
                  <a:gd name="T4" fmla="*/ 101 w 126"/>
                  <a:gd name="T5" fmla="*/ 18 h 68"/>
                  <a:gd name="T6" fmla="*/ 86 w 126"/>
                  <a:gd name="T7" fmla="*/ 33 h 68"/>
                  <a:gd name="T8" fmla="*/ 80 w 126"/>
                  <a:gd name="T9" fmla="*/ 32 h 68"/>
                  <a:gd name="T10" fmla="*/ 71 w 126"/>
                  <a:gd name="T11" fmla="*/ 35 h 68"/>
                  <a:gd name="T12" fmla="*/ 59 w 126"/>
                  <a:gd name="T13" fmla="*/ 28 h 68"/>
                  <a:gd name="T14" fmla="*/ 59 w 126"/>
                  <a:gd name="T15" fmla="*/ 27 h 68"/>
                  <a:gd name="T16" fmla="*/ 46 w 126"/>
                  <a:gd name="T17" fmla="*/ 14 h 68"/>
                  <a:gd name="T18" fmla="*/ 33 w 126"/>
                  <a:gd name="T19" fmla="*/ 27 h 68"/>
                  <a:gd name="T20" fmla="*/ 34 w 126"/>
                  <a:gd name="T21" fmla="*/ 31 h 68"/>
                  <a:gd name="T22" fmla="*/ 19 w 126"/>
                  <a:gd name="T23" fmla="*/ 44 h 68"/>
                  <a:gd name="T24" fmla="*/ 13 w 126"/>
                  <a:gd name="T25" fmla="*/ 42 h 68"/>
                  <a:gd name="T26" fmla="*/ 0 w 126"/>
                  <a:gd name="T27" fmla="*/ 55 h 68"/>
                  <a:gd name="T28" fmla="*/ 13 w 126"/>
                  <a:gd name="T29" fmla="*/ 68 h 68"/>
                  <a:gd name="T30" fmla="*/ 26 w 126"/>
                  <a:gd name="T31" fmla="*/ 55 h 68"/>
                  <a:gd name="T32" fmla="*/ 25 w 126"/>
                  <a:gd name="T33" fmla="*/ 51 h 68"/>
                  <a:gd name="T34" fmla="*/ 39 w 126"/>
                  <a:gd name="T35" fmla="*/ 38 h 68"/>
                  <a:gd name="T36" fmla="*/ 46 w 126"/>
                  <a:gd name="T37" fmla="*/ 40 h 68"/>
                  <a:gd name="T38" fmla="*/ 55 w 126"/>
                  <a:gd name="T39" fmla="*/ 36 h 68"/>
                  <a:gd name="T40" fmla="*/ 67 w 126"/>
                  <a:gd name="T41" fmla="*/ 43 h 68"/>
                  <a:gd name="T42" fmla="*/ 67 w 126"/>
                  <a:gd name="T43" fmla="*/ 45 h 68"/>
                  <a:gd name="T44" fmla="*/ 80 w 126"/>
                  <a:gd name="T45" fmla="*/ 58 h 68"/>
                  <a:gd name="T46" fmla="*/ 93 w 126"/>
                  <a:gd name="T47" fmla="*/ 45 h 68"/>
                  <a:gd name="T48" fmla="*/ 92 w 126"/>
                  <a:gd name="T49" fmla="*/ 39 h 68"/>
                  <a:gd name="T50" fmla="*/ 107 w 126"/>
                  <a:gd name="T51" fmla="*/ 25 h 68"/>
                  <a:gd name="T52" fmla="*/ 113 w 126"/>
                  <a:gd name="T53" fmla="*/ 26 h 68"/>
                  <a:gd name="T54" fmla="*/ 126 w 126"/>
                  <a:gd name="T55" fmla="*/ 13 h 68"/>
                  <a:gd name="T56" fmla="*/ 113 w 126"/>
                  <a:gd name="T57" fmla="*/ 0 h 68"/>
                  <a:gd name="T58" fmla="*/ 13 w 126"/>
                  <a:gd name="T59" fmla="*/ 60 h 68"/>
                  <a:gd name="T60" fmla="*/ 9 w 126"/>
                  <a:gd name="T61" fmla="*/ 55 h 68"/>
                  <a:gd name="T62" fmla="*/ 13 w 126"/>
                  <a:gd name="T63" fmla="*/ 51 h 68"/>
                  <a:gd name="T64" fmla="*/ 17 w 126"/>
                  <a:gd name="T65" fmla="*/ 55 h 68"/>
                  <a:gd name="T66" fmla="*/ 13 w 126"/>
                  <a:gd name="T67" fmla="*/ 60 h 68"/>
                  <a:gd name="T68" fmla="*/ 46 w 126"/>
                  <a:gd name="T69" fmla="*/ 31 h 68"/>
                  <a:gd name="T70" fmla="*/ 42 w 126"/>
                  <a:gd name="T71" fmla="*/ 27 h 68"/>
                  <a:gd name="T72" fmla="*/ 46 w 126"/>
                  <a:gd name="T73" fmla="*/ 23 h 68"/>
                  <a:gd name="T74" fmla="*/ 51 w 126"/>
                  <a:gd name="T75" fmla="*/ 27 h 68"/>
                  <a:gd name="T76" fmla="*/ 46 w 126"/>
                  <a:gd name="T77" fmla="*/ 31 h 68"/>
                  <a:gd name="T78" fmla="*/ 80 w 126"/>
                  <a:gd name="T79" fmla="*/ 49 h 68"/>
                  <a:gd name="T80" fmla="*/ 76 w 126"/>
                  <a:gd name="T81" fmla="*/ 45 h 68"/>
                  <a:gd name="T82" fmla="*/ 80 w 126"/>
                  <a:gd name="T83" fmla="*/ 40 h 68"/>
                  <a:gd name="T84" fmla="*/ 84 w 126"/>
                  <a:gd name="T85" fmla="*/ 45 h 68"/>
                  <a:gd name="T86" fmla="*/ 80 w 126"/>
                  <a:gd name="T87" fmla="*/ 49 h 68"/>
                  <a:gd name="T88" fmla="*/ 113 w 126"/>
                  <a:gd name="T89" fmla="*/ 17 h 68"/>
                  <a:gd name="T90" fmla="*/ 108 w 126"/>
                  <a:gd name="T91" fmla="*/ 13 h 68"/>
                  <a:gd name="T92" fmla="*/ 113 w 126"/>
                  <a:gd name="T93" fmla="*/ 9 h 68"/>
                  <a:gd name="T94" fmla="*/ 117 w 126"/>
                  <a:gd name="T95" fmla="*/ 13 h 68"/>
                  <a:gd name="T96" fmla="*/ 113 w 126"/>
                  <a:gd name="T97" fmla="*/ 1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6" h="68">
                    <a:moveTo>
                      <a:pt x="113" y="0"/>
                    </a:moveTo>
                    <a:cubicBezTo>
                      <a:pt x="105" y="0"/>
                      <a:pt x="100" y="6"/>
                      <a:pt x="100" y="13"/>
                    </a:cubicBezTo>
                    <a:cubicBezTo>
                      <a:pt x="100" y="15"/>
                      <a:pt x="100" y="17"/>
                      <a:pt x="101" y="18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4" y="32"/>
                      <a:pt x="82" y="32"/>
                      <a:pt x="80" y="32"/>
                    </a:cubicBezTo>
                    <a:cubicBezTo>
                      <a:pt x="77" y="32"/>
                      <a:pt x="74" y="33"/>
                      <a:pt x="71" y="3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8"/>
                      <a:pt x="59" y="28"/>
                      <a:pt x="59" y="27"/>
                    </a:cubicBezTo>
                    <a:cubicBezTo>
                      <a:pt x="59" y="20"/>
                      <a:pt x="53" y="14"/>
                      <a:pt x="46" y="14"/>
                    </a:cubicBezTo>
                    <a:cubicBezTo>
                      <a:pt x="39" y="14"/>
                      <a:pt x="33" y="20"/>
                      <a:pt x="33" y="27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3"/>
                      <a:pt x="15" y="42"/>
                      <a:pt x="13" y="42"/>
                    </a:cubicBezTo>
                    <a:cubicBezTo>
                      <a:pt x="6" y="42"/>
                      <a:pt x="0" y="48"/>
                      <a:pt x="0" y="55"/>
                    </a:cubicBezTo>
                    <a:cubicBezTo>
                      <a:pt x="0" y="62"/>
                      <a:pt x="6" y="68"/>
                      <a:pt x="13" y="68"/>
                    </a:cubicBezTo>
                    <a:cubicBezTo>
                      <a:pt x="20" y="68"/>
                      <a:pt x="26" y="62"/>
                      <a:pt x="26" y="55"/>
                    </a:cubicBezTo>
                    <a:cubicBezTo>
                      <a:pt x="26" y="54"/>
                      <a:pt x="26" y="52"/>
                      <a:pt x="25" y="51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1" y="39"/>
                      <a:pt x="44" y="40"/>
                      <a:pt x="46" y="40"/>
                    </a:cubicBezTo>
                    <a:cubicBezTo>
                      <a:pt x="50" y="40"/>
                      <a:pt x="53" y="39"/>
                      <a:pt x="55" y="36"/>
                    </a:cubicBezTo>
                    <a:cubicBezTo>
                      <a:pt x="67" y="43"/>
                      <a:pt x="67" y="43"/>
                      <a:pt x="67" y="43"/>
                    </a:cubicBezTo>
                    <a:cubicBezTo>
                      <a:pt x="67" y="43"/>
                      <a:pt x="67" y="44"/>
                      <a:pt x="67" y="45"/>
                    </a:cubicBezTo>
                    <a:cubicBezTo>
                      <a:pt x="67" y="52"/>
                      <a:pt x="73" y="58"/>
                      <a:pt x="80" y="58"/>
                    </a:cubicBezTo>
                    <a:cubicBezTo>
                      <a:pt x="87" y="58"/>
                      <a:pt x="93" y="52"/>
                      <a:pt x="93" y="45"/>
                    </a:cubicBezTo>
                    <a:cubicBezTo>
                      <a:pt x="93" y="43"/>
                      <a:pt x="93" y="41"/>
                      <a:pt x="92" y="39"/>
                    </a:cubicBezTo>
                    <a:cubicBezTo>
                      <a:pt x="107" y="25"/>
                      <a:pt x="107" y="25"/>
                      <a:pt x="107" y="25"/>
                    </a:cubicBezTo>
                    <a:cubicBezTo>
                      <a:pt x="109" y="25"/>
                      <a:pt x="111" y="26"/>
                      <a:pt x="113" y="26"/>
                    </a:cubicBezTo>
                    <a:cubicBezTo>
                      <a:pt x="120" y="26"/>
                      <a:pt x="126" y="20"/>
                      <a:pt x="126" y="13"/>
                    </a:cubicBezTo>
                    <a:cubicBezTo>
                      <a:pt x="126" y="6"/>
                      <a:pt x="120" y="0"/>
                      <a:pt x="113" y="0"/>
                    </a:cubicBezTo>
                    <a:close/>
                    <a:moveTo>
                      <a:pt x="13" y="60"/>
                    </a:moveTo>
                    <a:cubicBezTo>
                      <a:pt x="11" y="60"/>
                      <a:pt x="9" y="58"/>
                      <a:pt x="9" y="55"/>
                    </a:cubicBezTo>
                    <a:cubicBezTo>
                      <a:pt x="9" y="53"/>
                      <a:pt x="11" y="51"/>
                      <a:pt x="13" y="51"/>
                    </a:cubicBezTo>
                    <a:cubicBezTo>
                      <a:pt x="15" y="51"/>
                      <a:pt x="17" y="53"/>
                      <a:pt x="17" y="55"/>
                    </a:cubicBezTo>
                    <a:cubicBezTo>
                      <a:pt x="17" y="58"/>
                      <a:pt x="15" y="60"/>
                      <a:pt x="13" y="60"/>
                    </a:cubicBezTo>
                    <a:close/>
                    <a:moveTo>
                      <a:pt x="46" y="31"/>
                    </a:moveTo>
                    <a:cubicBezTo>
                      <a:pt x="44" y="31"/>
                      <a:pt x="42" y="30"/>
                      <a:pt x="42" y="27"/>
                    </a:cubicBezTo>
                    <a:cubicBezTo>
                      <a:pt x="42" y="25"/>
                      <a:pt x="44" y="23"/>
                      <a:pt x="46" y="23"/>
                    </a:cubicBezTo>
                    <a:cubicBezTo>
                      <a:pt x="49" y="23"/>
                      <a:pt x="51" y="25"/>
                      <a:pt x="51" y="27"/>
                    </a:cubicBezTo>
                    <a:cubicBezTo>
                      <a:pt x="51" y="30"/>
                      <a:pt x="49" y="31"/>
                      <a:pt x="46" y="31"/>
                    </a:cubicBezTo>
                    <a:close/>
                    <a:moveTo>
                      <a:pt x="80" y="49"/>
                    </a:moveTo>
                    <a:cubicBezTo>
                      <a:pt x="78" y="49"/>
                      <a:pt x="76" y="47"/>
                      <a:pt x="76" y="45"/>
                    </a:cubicBezTo>
                    <a:cubicBezTo>
                      <a:pt x="76" y="42"/>
                      <a:pt x="78" y="40"/>
                      <a:pt x="80" y="40"/>
                    </a:cubicBezTo>
                    <a:cubicBezTo>
                      <a:pt x="82" y="40"/>
                      <a:pt x="84" y="42"/>
                      <a:pt x="84" y="45"/>
                    </a:cubicBezTo>
                    <a:cubicBezTo>
                      <a:pt x="84" y="47"/>
                      <a:pt x="82" y="49"/>
                      <a:pt x="80" y="49"/>
                    </a:cubicBezTo>
                    <a:close/>
                    <a:moveTo>
                      <a:pt x="113" y="17"/>
                    </a:moveTo>
                    <a:cubicBezTo>
                      <a:pt x="110" y="17"/>
                      <a:pt x="108" y="15"/>
                      <a:pt x="108" y="13"/>
                    </a:cubicBezTo>
                    <a:cubicBezTo>
                      <a:pt x="108" y="11"/>
                      <a:pt x="110" y="9"/>
                      <a:pt x="113" y="9"/>
                    </a:cubicBezTo>
                    <a:cubicBezTo>
                      <a:pt x="115" y="9"/>
                      <a:pt x="117" y="11"/>
                      <a:pt x="117" y="13"/>
                    </a:cubicBezTo>
                    <a:cubicBezTo>
                      <a:pt x="117" y="15"/>
                      <a:pt x="115" y="17"/>
                      <a:pt x="113" y="1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grpSp>
        <p:nvGrpSpPr>
          <p:cNvPr id="27" name="组合 26"/>
          <p:cNvGrpSpPr/>
          <p:nvPr userDrawn="1"/>
        </p:nvGrpSpPr>
        <p:grpSpPr>
          <a:xfrm>
            <a:off x="232590" y="3013819"/>
            <a:ext cx="216000" cy="216000"/>
            <a:chOff x="2906942" y="4986515"/>
            <a:chExt cx="828000" cy="828000"/>
          </a:xfrm>
        </p:grpSpPr>
        <p:sp>
          <p:nvSpPr>
            <p:cNvPr id="28" name="Oval 33"/>
            <p:cNvSpPr>
              <a:spLocks noChangeArrowheads="1"/>
            </p:cNvSpPr>
            <p:nvPr/>
          </p:nvSpPr>
          <p:spPr bwMode="auto">
            <a:xfrm>
              <a:off x="2906942" y="498651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9" name="Oval 33"/>
            <p:cNvSpPr>
              <a:spLocks noChangeArrowheads="1"/>
            </p:cNvSpPr>
            <p:nvPr/>
          </p:nvSpPr>
          <p:spPr bwMode="auto">
            <a:xfrm>
              <a:off x="2960942" y="504051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04942" y="5184515"/>
              <a:ext cx="432000" cy="432000"/>
              <a:chOff x="6881692" y="5127357"/>
              <a:chExt cx="348007" cy="349042"/>
            </a:xfrm>
          </p:grpSpPr>
          <p:sp>
            <p:nvSpPr>
              <p:cNvPr id="31" name="Freeform 99"/>
              <p:cNvSpPr>
                <a:spLocks/>
              </p:cNvSpPr>
              <p:nvPr/>
            </p:nvSpPr>
            <p:spPr bwMode="auto">
              <a:xfrm>
                <a:off x="7114732" y="5213323"/>
                <a:ext cx="102538" cy="80787"/>
              </a:xfrm>
              <a:custGeom>
                <a:avLst/>
                <a:gdLst>
                  <a:gd name="T0" fmla="*/ 0 w 50"/>
                  <a:gd name="T1" fmla="*/ 39 h 39"/>
                  <a:gd name="T2" fmla="*/ 16 w 50"/>
                  <a:gd name="T3" fmla="*/ 39 h 39"/>
                  <a:gd name="T4" fmla="*/ 50 w 50"/>
                  <a:gd name="T5" fmla="*/ 10 h 39"/>
                  <a:gd name="T6" fmla="*/ 45 w 50"/>
                  <a:gd name="T7" fmla="*/ 0 h 39"/>
                  <a:gd name="T8" fmla="*/ 0 w 50"/>
                  <a:gd name="T9" fmla="*/ 38 h 39"/>
                  <a:gd name="T10" fmla="*/ 0 w 50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39">
                    <a:moveTo>
                      <a:pt x="0" y="39"/>
                    </a:moveTo>
                    <a:cubicBezTo>
                      <a:pt x="16" y="39"/>
                      <a:pt x="16" y="39"/>
                      <a:pt x="16" y="39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8" y="7"/>
                      <a:pt x="46" y="3"/>
                      <a:pt x="45" y="0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39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0"/>
              <p:cNvSpPr>
                <a:spLocks/>
              </p:cNvSpPr>
              <p:nvPr/>
            </p:nvSpPr>
            <p:spPr bwMode="auto">
              <a:xfrm>
                <a:off x="7065017" y="5127357"/>
                <a:ext cx="26929" cy="29000"/>
              </a:xfrm>
              <a:custGeom>
                <a:avLst/>
                <a:gdLst>
                  <a:gd name="T0" fmla="*/ 0 w 13"/>
                  <a:gd name="T1" fmla="*/ 0 h 14"/>
                  <a:gd name="T2" fmla="*/ 0 w 13"/>
                  <a:gd name="T3" fmla="*/ 14 h 14"/>
                  <a:gd name="T4" fmla="*/ 13 w 13"/>
                  <a:gd name="T5" fmla="*/ 2 h 14"/>
                  <a:gd name="T6" fmla="*/ 0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9" y="1"/>
                      <a:pt x="4" y="1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1"/>
              <p:cNvSpPr>
                <a:spLocks/>
              </p:cNvSpPr>
              <p:nvPr/>
            </p:nvSpPr>
            <p:spPr bwMode="auto">
              <a:xfrm>
                <a:off x="7173770" y="5252681"/>
                <a:ext cx="53858" cy="41429"/>
              </a:xfrm>
              <a:custGeom>
                <a:avLst/>
                <a:gdLst>
                  <a:gd name="T0" fmla="*/ 17 w 26"/>
                  <a:gd name="T1" fmla="*/ 20 h 20"/>
                  <a:gd name="T2" fmla="*/ 26 w 26"/>
                  <a:gd name="T3" fmla="*/ 12 h 20"/>
                  <a:gd name="T4" fmla="*/ 24 w 26"/>
                  <a:gd name="T5" fmla="*/ 0 h 20"/>
                  <a:gd name="T6" fmla="*/ 0 w 26"/>
                  <a:gd name="T7" fmla="*/ 20 h 20"/>
                  <a:gd name="T8" fmla="*/ 17 w 26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0">
                    <a:moveTo>
                      <a:pt x="17" y="20"/>
                    </a:move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8"/>
                      <a:pt x="25" y="4"/>
                      <a:pt x="24" y="0"/>
                    </a:cubicBezTo>
                    <a:cubicBezTo>
                      <a:pt x="0" y="20"/>
                      <a:pt x="0" y="20"/>
                      <a:pt x="0" y="20"/>
                    </a:cubicBezTo>
                    <a:lnTo>
                      <a:pt x="17" y="2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2"/>
              <p:cNvSpPr>
                <a:spLocks/>
              </p:cNvSpPr>
              <p:nvPr/>
            </p:nvSpPr>
            <p:spPr bwMode="auto">
              <a:xfrm>
                <a:off x="7065017" y="5156358"/>
                <a:ext cx="104609" cy="104609"/>
              </a:xfrm>
              <a:custGeom>
                <a:avLst/>
                <a:gdLst>
                  <a:gd name="T0" fmla="*/ 42 w 51"/>
                  <a:gd name="T1" fmla="*/ 0 h 51"/>
                  <a:gd name="T2" fmla="*/ 0 w 51"/>
                  <a:gd name="T3" fmla="*/ 37 h 51"/>
                  <a:gd name="T4" fmla="*/ 0 w 51"/>
                  <a:gd name="T5" fmla="*/ 51 h 51"/>
                  <a:gd name="T6" fmla="*/ 51 w 51"/>
                  <a:gd name="T7" fmla="*/ 7 h 51"/>
                  <a:gd name="T8" fmla="*/ 42 w 51"/>
                  <a:gd name="T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42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48" y="4"/>
                      <a:pt x="45" y="2"/>
                      <a:pt x="42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3"/>
              <p:cNvSpPr>
                <a:spLocks/>
              </p:cNvSpPr>
              <p:nvPr/>
            </p:nvSpPr>
            <p:spPr bwMode="auto">
              <a:xfrm>
                <a:off x="7065017" y="5137714"/>
                <a:ext cx="69395" cy="69395"/>
              </a:xfrm>
              <a:custGeom>
                <a:avLst/>
                <a:gdLst>
                  <a:gd name="T0" fmla="*/ 23 w 34"/>
                  <a:gd name="T1" fmla="*/ 0 h 34"/>
                  <a:gd name="T2" fmla="*/ 0 w 34"/>
                  <a:gd name="T3" fmla="*/ 20 h 34"/>
                  <a:gd name="T4" fmla="*/ 0 w 34"/>
                  <a:gd name="T5" fmla="*/ 34 h 34"/>
                  <a:gd name="T6" fmla="*/ 34 w 34"/>
                  <a:gd name="T7" fmla="*/ 5 h 34"/>
                  <a:gd name="T8" fmla="*/ 23 w 3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4">
                    <a:moveTo>
                      <a:pt x="23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1" y="3"/>
                      <a:pt x="27" y="1"/>
                      <a:pt x="23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4"/>
              <p:cNvSpPr>
                <a:spLocks/>
              </p:cNvSpPr>
              <p:nvPr/>
            </p:nvSpPr>
            <p:spPr bwMode="auto">
              <a:xfrm>
                <a:off x="7065017" y="5182251"/>
                <a:ext cx="131538" cy="111860"/>
              </a:xfrm>
              <a:custGeom>
                <a:avLst/>
                <a:gdLst>
                  <a:gd name="T0" fmla="*/ 64 w 64"/>
                  <a:gd name="T1" fmla="*/ 8 h 54"/>
                  <a:gd name="T2" fmla="*/ 57 w 64"/>
                  <a:gd name="T3" fmla="*/ 0 h 54"/>
                  <a:gd name="T4" fmla="*/ 0 w 64"/>
                  <a:gd name="T5" fmla="*/ 49 h 54"/>
                  <a:gd name="T6" fmla="*/ 0 w 64"/>
                  <a:gd name="T7" fmla="*/ 54 h 54"/>
                  <a:gd name="T8" fmla="*/ 11 w 64"/>
                  <a:gd name="T9" fmla="*/ 54 h 54"/>
                  <a:gd name="T10" fmla="*/ 64 w 64"/>
                  <a:gd name="T11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54">
                    <a:moveTo>
                      <a:pt x="64" y="8"/>
                    </a:moveTo>
                    <a:cubicBezTo>
                      <a:pt x="62" y="5"/>
                      <a:pt x="59" y="2"/>
                      <a:pt x="57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1" y="54"/>
                      <a:pt x="11" y="54"/>
                      <a:pt x="11" y="54"/>
                    </a:cubicBezTo>
                    <a:lnTo>
                      <a:pt x="64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05"/>
              <p:cNvSpPr>
                <a:spLocks/>
              </p:cNvSpPr>
              <p:nvPr/>
            </p:nvSpPr>
            <p:spPr bwMode="auto">
              <a:xfrm>
                <a:off x="6881692" y="5127357"/>
                <a:ext cx="166753" cy="281720"/>
              </a:xfrm>
              <a:custGeom>
                <a:avLst/>
                <a:gdLst>
                  <a:gd name="T0" fmla="*/ 81 w 81"/>
                  <a:gd name="T1" fmla="*/ 83 h 137"/>
                  <a:gd name="T2" fmla="*/ 81 w 81"/>
                  <a:gd name="T3" fmla="*/ 0 h 137"/>
                  <a:gd name="T4" fmla="*/ 0 w 81"/>
                  <a:gd name="T5" fmla="*/ 85 h 137"/>
                  <a:gd name="T6" fmla="*/ 18 w 81"/>
                  <a:gd name="T7" fmla="*/ 137 h 137"/>
                  <a:gd name="T8" fmla="*/ 81 w 81"/>
                  <a:gd name="T9" fmla="*/ 8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137">
                    <a:moveTo>
                      <a:pt x="81" y="83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36" y="3"/>
                      <a:pt x="0" y="39"/>
                      <a:pt x="0" y="85"/>
                    </a:cubicBezTo>
                    <a:cubicBezTo>
                      <a:pt x="0" y="105"/>
                      <a:pt x="7" y="123"/>
                      <a:pt x="18" y="137"/>
                    </a:cubicBezTo>
                    <a:lnTo>
                      <a:pt x="81" y="8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06"/>
              <p:cNvSpPr>
                <a:spLocks/>
              </p:cNvSpPr>
              <p:nvPr/>
            </p:nvSpPr>
            <p:spPr bwMode="auto">
              <a:xfrm>
                <a:off x="6929336" y="5310682"/>
                <a:ext cx="300363" cy="165717"/>
              </a:xfrm>
              <a:custGeom>
                <a:avLst/>
                <a:gdLst>
                  <a:gd name="T0" fmla="*/ 63 w 146"/>
                  <a:gd name="T1" fmla="*/ 0 h 81"/>
                  <a:gd name="T2" fmla="*/ 0 w 146"/>
                  <a:gd name="T3" fmla="*/ 54 h 81"/>
                  <a:gd name="T4" fmla="*/ 62 w 146"/>
                  <a:gd name="T5" fmla="*/ 81 h 81"/>
                  <a:gd name="T6" fmla="*/ 146 w 146"/>
                  <a:gd name="T7" fmla="*/ 0 h 81"/>
                  <a:gd name="T8" fmla="*/ 63 w 146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81">
                    <a:moveTo>
                      <a:pt x="63" y="0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16" y="70"/>
                      <a:pt x="37" y="81"/>
                      <a:pt x="62" y="81"/>
                    </a:cubicBezTo>
                    <a:cubicBezTo>
                      <a:pt x="107" y="81"/>
                      <a:pt x="144" y="45"/>
                      <a:pt x="146" y="0"/>
                    </a:cubicBezTo>
                    <a:lnTo>
                      <a:pt x="63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9" name="组合 38"/>
          <p:cNvGrpSpPr/>
          <p:nvPr userDrawn="1"/>
        </p:nvGrpSpPr>
        <p:grpSpPr>
          <a:xfrm>
            <a:off x="232590" y="3260077"/>
            <a:ext cx="216000" cy="216000"/>
            <a:chOff x="2992433" y="3979865"/>
            <a:chExt cx="828000" cy="828000"/>
          </a:xfrm>
        </p:grpSpPr>
        <p:sp>
          <p:nvSpPr>
            <p:cNvPr id="40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41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42" name="组合 41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43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9" name="组合 68"/>
          <p:cNvGrpSpPr/>
          <p:nvPr userDrawn="1"/>
        </p:nvGrpSpPr>
        <p:grpSpPr>
          <a:xfrm>
            <a:off x="232590" y="3752593"/>
            <a:ext cx="216000" cy="216000"/>
            <a:chOff x="5138914" y="4010841"/>
            <a:chExt cx="828000" cy="828000"/>
          </a:xfrm>
        </p:grpSpPr>
        <p:sp>
          <p:nvSpPr>
            <p:cNvPr id="70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71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73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6" name="组合 85"/>
          <p:cNvGrpSpPr/>
          <p:nvPr userDrawn="1"/>
        </p:nvGrpSpPr>
        <p:grpSpPr>
          <a:xfrm>
            <a:off x="101273" y="2514764"/>
            <a:ext cx="468000" cy="468000"/>
            <a:chOff x="8091246" y="4709506"/>
            <a:chExt cx="828000" cy="828000"/>
          </a:xfrm>
        </p:grpSpPr>
        <p:sp>
          <p:nvSpPr>
            <p:cNvPr id="87" name="Oval 33"/>
            <p:cNvSpPr>
              <a:spLocks noChangeArrowheads="1"/>
            </p:cNvSpPr>
            <p:nvPr/>
          </p:nvSpPr>
          <p:spPr bwMode="auto">
            <a:xfrm>
              <a:off x="8091246" y="4709506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88" name="Oval 33"/>
            <p:cNvSpPr>
              <a:spLocks noChangeArrowheads="1"/>
            </p:cNvSpPr>
            <p:nvPr/>
          </p:nvSpPr>
          <p:spPr bwMode="auto">
            <a:xfrm>
              <a:off x="8145246" y="4763506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89" name="组合 88"/>
            <p:cNvGrpSpPr/>
            <p:nvPr/>
          </p:nvGrpSpPr>
          <p:grpSpPr>
            <a:xfrm>
              <a:off x="8289246" y="4871506"/>
              <a:ext cx="432000" cy="504000"/>
              <a:chOff x="5977137" y="5049604"/>
              <a:chExt cx="372865" cy="431902"/>
            </a:xfrm>
          </p:grpSpPr>
          <p:sp>
            <p:nvSpPr>
              <p:cNvPr id="90" name="Oval 221"/>
              <p:cNvSpPr>
                <a:spLocks noChangeArrowheads="1"/>
              </p:cNvSpPr>
              <p:nvPr/>
            </p:nvSpPr>
            <p:spPr bwMode="auto">
              <a:xfrm>
                <a:off x="6066210" y="5049604"/>
                <a:ext cx="65252" cy="8285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22"/>
              <p:cNvSpPr>
                <a:spLocks noEditPoints="1"/>
              </p:cNvSpPr>
              <p:nvPr/>
            </p:nvSpPr>
            <p:spPr bwMode="auto">
              <a:xfrm>
                <a:off x="5977137" y="5138678"/>
                <a:ext cx="239255" cy="337649"/>
              </a:xfrm>
              <a:custGeom>
                <a:avLst/>
                <a:gdLst>
                  <a:gd name="T0" fmla="*/ 115 w 116"/>
                  <a:gd name="T1" fmla="*/ 40 h 164"/>
                  <a:gd name="T2" fmla="*/ 116 w 116"/>
                  <a:gd name="T3" fmla="*/ 25 h 164"/>
                  <a:gd name="T4" fmla="*/ 113 w 116"/>
                  <a:gd name="T5" fmla="*/ 24 h 164"/>
                  <a:gd name="T6" fmla="*/ 102 w 116"/>
                  <a:gd name="T7" fmla="*/ 15 h 164"/>
                  <a:gd name="T8" fmla="*/ 81 w 116"/>
                  <a:gd name="T9" fmla="*/ 2 h 164"/>
                  <a:gd name="T10" fmla="*/ 73 w 116"/>
                  <a:gd name="T11" fmla="*/ 1 h 164"/>
                  <a:gd name="T12" fmla="*/ 80 w 116"/>
                  <a:gd name="T13" fmla="*/ 7 h 164"/>
                  <a:gd name="T14" fmla="*/ 75 w 116"/>
                  <a:gd name="T15" fmla="*/ 18 h 164"/>
                  <a:gd name="T16" fmla="*/ 63 w 116"/>
                  <a:gd name="T17" fmla="*/ 9 h 164"/>
                  <a:gd name="T18" fmla="*/ 62 w 116"/>
                  <a:gd name="T19" fmla="*/ 0 h 164"/>
                  <a:gd name="T20" fmla="*/ 54 w 116"/>
                  <a:gd name="T21" fmla="*/ 8 h 164"/>
                  <a:gd name="T22" fmla="*/ 54 w 116"/>
                  <a:gd name="T23" fmla="*/ 41 h 164"/>
                  <a:gd name="T24" fmla="*/ 47 w 116"/>
                  <a:gd name="T25" fmla="*/ 11 h 164"/>
                  <a:gd name="T26" fmla="*/ 46 w 116"/>
                  <a:gd name="T27" fmla="*/ 1 h 164"/>
                  <a:gd name="T28" fmla="*/ 38 w 116"/>
                  <a:gd name="T29" fmla="*/ 1 h 164"/>
                  <a:gd name="T30" fmla="*/ 30 w 116"/>
                  <a:gd name="T31" fmla="*/ 5 h 164"/>
                  <a:gd name="T32" fmla="*/ 3 w 116"/>
                  <a:gd name="T33" fmla="*/ 35 h 164"/>
                  <a:gd name="T34" fmla="*/ 1 w 116"/>
                  <a:gd name="T35" fmla="*/ 46 h 164"/>
                  <a:gd name="T36" fmla="*/ 1 w 116"/>
                  <a:gd name="T37" fmla="*/ 46 h 164"/>
                  <a:gd name="T38" fmla="*/ 2 w 116"/>
                  <a:gd name="T39" fmla="*/ 47 h 164"/>
                  <a:gd name="T40" fmla="*/ 3 w 116"/>
                  <a:gd name="T41" fmla="*/ 51 h 164"/>
                  <a:gd name="T42" fmla="*/ 10 w 116"/>
                  <a:gd name="T43" fmla="*/ 64 h 164"/>
                  <a:gd name="T44" fmla="*/ 31 w 116"/>
                  <a:gd name="T45" fmla="*/ 75 h 164"/>
                  <a:gd name="T46" fmla="*/ 31 w 116"/>
                  <a:gd name="T47" fmla="*/ 87 h 164"/>
                  <a:gd name="T48" fmla="*/ 36 w 116"/>
                  <a:gd name="T49" fmla="*/ 164 h 164"/>
                  <a:gd name="T50" fmla="*/ 58 w 116"/>
                  <a:gd name="T51" fmla="*/ 128 h 164"/>
                  <a:gd name="T52" fmla="*/ 86 w 116"/>
                  <a:gd name="T53" fmla="*/ 32 h 164"/>
                  <a:gd name="T54" fmla="*/ 90 w 116"/>
                  <a:gd name="T55" fmla="*/ 30 h 164"/>
                  <a:gd name="T56" fmla="*/ 72 w 116"/>
                  <a:gd name="T57" fmla="*/ 43 h 164"/>
                  <a:gd name="T58" fmla="*/ 86 w 116"/>
                  <a:gd name="T59" fmla="*/ 32 h 164"/>
                  <a:gd name="T60" fmla="*/ 29 w 116"/>
                  <a:gd name="T61" fmla="*/ 54 h 164"/>
                  <a:gd name="T62" fmla="*/ 23 w 116"/>
                  <a:gd name="T63" fmla="*/ 42 h 164"/>
                  <a:gd name="T64" fmla="*/ 32 w 116"/>
                  <a:gd name="T65" fmla="*/ 5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6" h="164">
                    <a:moveTo>
                      <a:pt x="54" y="106"/>
                    </a:moveTo>
                    <a:cubicBezTo>
                      <a:pt x="54" y="71"/>
                      <a:pt x="81" y="43"/>
                      <a:pt x="115" y="40"/>
                    </a:cubicBezTo>
                    <a:cubicBezTo>
                      <a:pt x="115" y="34"/>
                      <a:pt x="116" y="23"/>
                      <a:pt x="116" y="26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5" y="25"/>
                      <a:pt x="115" y="25"/>
                      <a:pt x="115" y="25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0" y="21"/>
                      <a:pt x="110" y="21"/>
                      <a:pt x="110" y="21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5" y="2"/>
                      <a:pt x="83" y="2"/>
                      <a:pt x="81" y="2"/>
                    </a:cubicBezTo>
                    <a:cubicBezTo>
                      <a:pt x="81" y="2"/>
                      <a:pt x="81" y="1"/>
                      <a:pt x="81" y="1"/>
                    </a:cubicBezTo>
                    <a:cubicBezTo>
                      <a:pt x="78" y="1"/>
                      <a:pt x="75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80" y="7"/>
                      <a:pt x="80" y="7"/>
                      <a:pt x="80" y="7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3" y="1"/>
                      <a:pt x="40" y="1"/>
                      <a:pt x="38" y="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4" y="2"/>
                      <a:pt x="32" y="3"/>
                      <a:pt x="30" y="5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58"/>
                      <a:pt x="2" y="41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23" y="80"/>
                      <a:pt x="27" y="77"/>
                      <a:pt x="31" y="75"/>
                    </a:cubicBezTo>
                    <a:cubicBezTo>
                      <a:pt x="31" y="79"/>
                      <a:pt x="31" y="83"/>
                      <a:pt x="31" y="87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2" y="87"/>
                      <a:pt x="33" y="87"/>
                      <a:pt x="33" y="87"/>
                    </a:cubicBezTo>
                    <a:cubicBezTo>
                      <a:pt x="36" y="164"/>
                      <a:pt x="36" y="164"/>
                      <a:pt x="36" y="164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8" y="154"/>
                      <a:pt x="58" y="141"/>
                      <a:pt x="58" y="128"/>
                    </a:cubicBezTo>
                    <a:cubicBezTo>
                      <a:pt x="56" y="121"/>
                      <a:pt x="54" y="113"/>
                      <a:pt x="54" y="106"/>
                    </a:cubicBezTo>
                    <a:close/>
                    <a:moveTo>
                      <a:pt x="86" y="32"/>
                    </a:moveTo>
                    <a:cubicBezTo>
                      <a:pt x="86" y="30"/>
                      <a:pt x="86" y="29"/>
                      <a:pt x="85" y="27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1" y="41"/>
                      <a:pt x="71" y="41"/>
                      <a:pt x="71" y="41"/>
                    </a:cubicBezTo>
                    <a:lnTo>
                      <a:pt x="86" y="32"/>
                    </a:lnTo>
                    <a:close/>
                    <a:moveTo>
                      <a:pt x="32" y="58"/>
                    </a:moveTo>
                    <a:cubicBezTo>
                      <a:pt x="29" y="54"/>
                      <a:pt x="29" y="54"/>
                      <a:pt x="29" y="54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2" y="40"/>
                      <a:pt x="32" y="49"/>
                      <a:pt x="32" y="5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23"/>
              <p:cNvSpPr>
                <a:spLocks/>
              </p:cNvSpPr>
              <p:nvPr/>
            </p:nvSpPr>
            <p:spPr bwMode="auto">
              <a:xfrm>
                <a:off x="6104533" y="5418326"/>
                <a:ext cx="47644" cy="58001"/>
              </a:xfrm>
              <a:custGeom>
                <a:avLst/>
                <a:gdLst>
                  <a:gd name="T0" fmla="*/ 0 w 23"/>
                  <a:gd name="T1" fmla="*/ 0 h 28"/>
                  <a:gd name="T2" fmla="*/ 1 w 23"/>
                  <a:gd name="T3" fmla="*/ 28 h 28"/>
                  <a:gd name="T4" fmla="*/ 23 w 23"/>
                  <a:gd name="T5" fmla="*/ 28 h 28"/>
                  <a:gd name="T6" fmla="*/ 23 w 23"/>
                  <a:gd name="T7" fmla="*/ 25 h 28"/>
                  <a:gd name="T8" fmla="*/ 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0" y="0"/>
                    </a:moveTo>
                    <a:cubicBezTo>
                      <a:pt x="1" y="28"/>
                      <a:pt x="1" y="28"/>
                      <a:pt x="1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7"/>
                      <a:pt x="23" y="26"/>
                      <a:pt x="23" y="25"/>
                    </a:cubicBezTo>
                    <a:cubicBezTo>
                      <a:pt x="13" y="19"/>
                      <a:pt x="5" y="1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224"/>
              <p:cNvSpPr>
                <a:spLocks/>
              </p:cNvSpPr>
              <p:nvPr/>
            </p:nvSpPr>
            <p:spPr bwMode="auto">
              <a:xfrm>
                <a:off x="6191534" y="5295072"/>
                <a:ext cx="65252" cy="123252"/>
              </a:xfrm>
              <a:custGeom>
                <a:avLst/>
                <a:gdLst>
                  <a:gd name="T0" fmla="*/ 20 w 32"/>
                  <a:gd name="T1" fmla="*/ 25 h 60"/>
                  <a:gd name="T2" fmla="*/ 11 w 32"/>
                  <a:gd name="T3" fmla="*/ 19 h 60"/>
                  <a:gd name="T4" fmla="*/ 18 w 32"/>
                  <a:gd name="T5" fmla="*/ 15 h 60"/>
                  <a:gd name="T6" fmla="*/ 28 w 32"/>
                  <a:gd name="T7" fmla="*/ 17 h 60"/>
                  <a:gd name="T8" fmla="*/ 30 w 32"/>
                  <a:gd name="T9" fmla="*/ 9 h 60"/>
                  <a:gd name="T10" fmla="*/ 20 w 32"/>
                  <a:gd name="T11" fmla="*/ 6 h 60"/>
                  <a:gd name="T12" fmla="*/ 20 w 32"/>
                  <a:gd name="T13" fmla="*/ 0 h 60"/>
                  <a:gd name="T14" fmla="*/ 13 w 32"/>
                  <a:gd name="T15" fmla="*/ 0 h 60"/>
                  <a:gd name="T16" fmla="*/ 13 w 32"/>
                  <a:gd name="T17" fmla="*/ 7 h 60"/>
                  <a:gd name="T18" fmla="*/ 0 w 32"/>
                  <a:gd name="T19" fmla="*/ 20 h 60"/>
                  <a:gd name="T20" fmla="*/ 13 w 32"/>
                  <a:gd name="T21" fmla="*/ 33 h 60"/>
                  <a:gd name="T22" fmla="*/ 21 w 32"/>
                  <a:gd name="T23" fmla="*/ 40 h 60"/>
                  <a:gd name="T24" fmla="*/ 14 w 32"/>
                  <a:gd name="T25" fmla="*/ 44 h 60"/>
                  <a:gd name="T26" fmla="*/ 2 w 32"/>
                  <a:gd name="T27" fmla="*/ 41 h 60"/>
                  <a:gd name="T28" fmla="*/ 0 w 32"/>
                  <a:gd name="T29" fmla="*/ 50 h 60"/>
                  <a:gd name="T30" fmla="*/ 12 w 32"/>
                  <a:gd name="T31" fmla="*/ 53 h 60"/>
                  <a:gd name="T32" fmla="*/ 12 w 32"/>
                  <a:gd name="T33" fmla="*/ 60 h 60"/>
                  <a:gd name="T34" fmla="*/ 19 w 32"/>
                  <a:gd name="T35" fmla="*/ 60 h 60"/>
                  <a:gd name="T36" fmla="*/ 19 w 32"/>
                  <a:gd name="T37" fmla="*/ 52 h 60"/>
                  <a:gd name="T38" fmla="*/ 32 w 32"/>
                  <a:gd name="T39" fmla="*/ 39 h 60"/>
                  <a:gd name="T40" fmla="*/ 20 w 32"/>
                  <a:gd name="T41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60">
                    <a:moveTo>
                      <a:pt x="20" y="25"/>
                    </a:moveTo>
                    <a:cubicBezTo>
                      <a:pt x="14" y="23"/>
                      <a:pt x="11" y="21"/>
                      <a:pt x="11" y="19"/>
                    </a:cubicBezTo>
                    <a:cubicBezTo>
                      <a:pt x="11" y="17"/>
                      <a:pt x="13" y="15"/>
                      <a:pt x="18" y="15"/>
                    </a:cubicBezTo>
                    <a:cubicBezTo>
                      <a:pt x="23" y="15"/>
                      <a:pt x="26" y="16"/>
                      <a:pt x="28" y="1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8" y="8"/>
                      <a:pt x="25" y="7"/>
                      <a:pt x="20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5" y="8"/>
                      <a:pt x="0" y="13"/>
                      <a:pt x="0" y="20"/>
                    </a:cubicBezTo>
                    <a:cubicBezTo>
                      <a:pt x="0" y="27"/>
                      <a:pt x="6" y="31"/>
                      <a:pt x="13" y="33"/>
                    </a:cubicBezTo>
                    <a:cubicBezTo>
                      <a:pt x="19" y="35"/>
                      <a:pt x="21" y="37"/>
                      <a:pt x="21" y="40"/>
                    </a:cubicBezTo>
                    <a:cubicBezTo>
                      <a:pt x="21" y="43"/>
                      <a:pt x="18" y="44"/>
                      <a:pt x="14" y="44"/>
                    </a:cubicBezTo>
                    <a:cubicBezTo>
                      <a:pt x="9" y="44"/>
                      <a:pt x="5" y="43"/>
                      <a:pt x="2" y="4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1"/>
                      <a:pt x="7" y="52"/>
                      <a:pt x="12" y="53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8" y="51"/>
                      <a:pt x="32" y="45"/>
                      <a:pt x="32" y="39"/>
                    </a:cubicBezTo>
                    <a:cubicBezTo>
                      <a:pt x="32" y="32"/>
                      <a:pt x="29" y="28"/>
                      <a:pt x="20" y="25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225"/>
              <p:cNvSpPr>
                <a:spLocks noEditPoints="1"/>
              </p:cNvSpPr>
              <p:nvPr/>
            </p:nvSpPr>
            <p:spPr bwMode="auto">
              <a:xfrm>
                <a:off x="6098318" y="5230858"/>
                <a:ext cx="251684" cy="250648"/>
              </a:xfrm>
              <a:custGeom>
                <a:avLst/>
                <a:gdLst>
                  <a:gd name="T0" fmla="*/ 118 w 122"/>
                  <a:gd name="T1" fmla="*/ 61 h 122"/>
                  <a:gd name="T2" fmla="*/ 121 w 122"/>
                  <a:gd name="T3" fmla="*/ 54 h 122"/>
                  <a:gd name="T4" fmla="*/ 117 w 122"/>
                  <a:gd name="T5" fmla="*/ 52 h 122"/>
                  <a:gd name="T6" fmla="*/ 120 w 122"/>
                  <a:gd name="T7" fmla="*/ 46 h 122"/>
                  <a:gd name="T8" fmla="*/ 116 w 122"/>
                  <a:gd name="T9" fmla="*/ 41 h 122"/>
                  <a:gd name="T10" fmla="*/ 114 w 122"/>
                  <a:gd name="T11" fmla="*/ 34 h 122"/>
                  <a:gd name="T12" fmla="*/ 112 w 122"/>
                  <a:gd name="T13" fmla="*/ 29 h 122"/>
                  <a:gd name="T14" fmla="*/ 106 w 122"/>
                  <a:gd name="T15" fmla="*/ 26 h 122"/>
                  <a:gd name="T16" fmla="*/ 104 w 122"/>
                  <a:gd name="T17" fmla="*/ 18 h 122"/>
                  <a:gd name="T18" fmla="*/ 99 w 122"/>
                  <a:gd name="T19" fmla="*/ 19 h 122"/>
                  <a:gd name="T20" fmla="*/ 98 w 122"/>
                  <a:gd name="T21" fmla="*/ 13 h 122"/>
                  <a:gd name="T22" fmla="*/ 90 w 122"/>
                  <a:gd name="T23" fmla="*/ 12 h 122"/>
                  <a:gd name="T24" fmla="*/ 86 w 122"/>
                  <a:gd name="T25" fmla="*/ 6 h 122"/>
                  <a:gd name="T26" fmla="*/ 81 w 122"/>
                  <a:gd name="T27" fmla="*/ 4 h 122"/>
                  <a:gd name="T28" fmla="*/ 75 w 122"/>
                  <a:gd name="T29" fmla="*/ 6 h 122"/>
                  <a:gd name="T30" fmla="*/ 67 w 122"/>
                  <a:gd name="T31" fmla="*/ 0 h 122"/>
                  <a:gd name="T32" fmla="*/ 65 w 122"/>
                  <a:gd name="T33" fmla="*/ 4 h 122"/>
                  <a:gd name="T34" fmla="*/ 60 w 122"/>
                  <a:gd name="T35" fmla="*/ 0 h 122"/>
                  <a:gd name="T36" fmla="*/ 52 w 122"/>
                  <a:gd name="T37" fmla="*/ 5 h 122"/>
                  <a:gd name="T38" fmla="*/ 46 w 122"/>
                  <a:gd name="T39" fmla="*/ 3 h 122"/>
                  <a:gd name="T40" fmla="*/ 41 w 122"/>
                  <a:gd name="T41" fmla="*/ 5 h 122"/>
                  <a:gd name="T42" fmla="*/ 36 w 122"/>
                  <a:gd name="T43" fmla="*/ 9 h 122"/>
                  <a:gd name="T44" fmla="*/ 28 w 122"/>
                  <a:gd name="T45" fmla="*/ 10 h 122"/>
                  <a:gd name="T46" fmla="*/ 26 w 122"/>
                  <a:gd name="T47" fmla="*/ 16 h 122"/>
                  <a:gd name="T48" fmla="*/ 22 w 122"/>
                  <a:gd name="T49" fmla="*/ 14 h 122"/>
                  <a:gd name="T50" fmla="*/ 19 w 122"/>
                  <a:gd name="T51" fmla="*/ 23 h 122"/>
                  <a:gd name="T52" fmla="*/ 13 w 122"/>
                  <a:gd name="T53" fmla="*/ 25 h 122"/>
                  <a:gd name="T54" fmla="*/ 10 w 122"/>
                  <a:gd name="T55" fmla="*/ 29 h 122"/>
                  <a:gd name="T56" fmla="*/ 8 w 122"/>
                  <a:gd name="T57" fmla="*/ 37 h 122"/>
                  <a:gd name="T58" fmla="*/ 3 w 122"/>
                  <a:gd name="T59" fmla="*/ 42 h 122"/>
                  <a:gd name="T60" fmla="*/ 6 w 122"/>
                  <a:gd name="T61" fmla="*/ 47 h 122"/>
                  <a:gd name="T62" fmla="*/ 1 w 122"/>
                  <a:gd name="T63" fmla="*/ 49 h 122"/>
                  <a:gd name="T64" fmla="*/ 4 w 122"/>
                  <a:gd name="T65" fmla="*/ 58 h 122"/>
                  <a:gd name="T66" fmla="*/ 1 w 122"/>
                  <a:gd name="T67" fmla="*/ 63 h 122"/>
                  <a:gd name="T68" fmla="*/ 2 w 122"/>
                  <a:gd name="T69" fmla="*/ 68 h 122"/>
                  <a:gd name="T70" fmla="*/ 3 w 122"/>
                  <a:gd name="T71" fmla="*/ 76 h 122"/>
                  <a:gd name="T72" fmla="*/ 4 w 122"/>
                  <a:gd name="T73" fmla="*/ 82 h 122"/>
                  <a:gd name="T74" fmla="*/ 10 w 122"/>
                  <a:gd name="T75" fmla="*/ 85 h 122"/>
                  <a:gd name="T76" fmla="*/ 10 w 122"/>
                  <a:gd name="T77" fmla="*/ 94 h 122"/>
                  <a:gd name="T78" fmla="*/ 16 w 122"/>
                  <a:gd name="T79" fmla="*/ 96 h 122"/>
                  <a:gd name="T80" fmla="*/ 19 w 122"/>
                  <a:gd name="T81" fmla="*/ 105 h 122"/>
                  <a:gd name="T82" fmla="*/ 25 w 122"/>
                  <a:gd name="T83" fmla="*/ 105 h 122"/>
                  <a:gd name="T84" fmla="*/ 30 w 122"/>
                  <a:gd name="T85" fmla="*/ 113 h 122"/>
                  <a:gd name="T86" fmla="*/ 36 w 122"/>
                  <a:gd name="T87" fmla="*/ 112 h 122"/>
                  <a:gd name="T88" fmla="*/ 42 w 122"/>
                  <a:gd name="T89" fmla="*/ 119 h 122"/>
                  <a:gd name="T90" fmla="*/ 48 w 122"/>
                  <a:gd name="T91" fmla="*/ 116 h 122"/>
                  <a:gd name="T92" fmla="*/ 56 w 122"/>
                  <a:gd name="T93" fmla="*/ 121 h 122"/>
                  <a:gd name="T94" fmla="*/ 61 w 122"/>
                  <a:gd name="T95" fmla="*/ 118 h 122"/>
                  <a:gd name="T96" fmla="*/ 69 w 122"/>
                  <a:gd name="T97" fmla="*/ 121 h 122"/>
                  <a:gd name="T98" fmla="*/ 73 w 122"/>
                  <a:gd name="T99" fmla="*/ 116 h 122"/>
                  <a:gd name="T100" fmla="*/ 83 w 122"/>
                  <a:gd name="T101" fmla="*/ 118 h 122"/>
                  <a:gd name="T102" fmla="*/ 86 w 122"/>
                  <a:gd name="T103" fmla="*/ 112 h 122"/>
                  <a:gd name="T104" fmla="*/ 95 w 122"/>
                  <a:gd name="T105" fmla="*/ 111 h 122"/>
                  <a:gd name="T106" fmla="*/ 96 w 122"/>
                  <a:gd name="T107" fmla="*/ 105 h 122"/>
                  <a:gd name="T108" fmla="*/ 105 w 122"/>
                  <a:gd name="T109" fmla="*/ 103 h 122"/>
                  <a:gd name="T110" fmla="*/ 106 w 122"/>
                  <a:gd name="T111" fmla="*/ 96 h 122"/>
                  <a:gd name="T112" fmla="*/ 113 w 122"/>
                  <a:gd name="T113" fmla="*/ 92 h 122"/>
                  <a:gd name="T114" fmla="*/ 112 w 122"/>
                  <a:gd name="T115" fmla="*/ 86 h 122"/>
                  <a:gd name="T116" fmla="*/ 119 w 122"/>
                  <a:gd name="T117" fmla="*/ 79 h 122"/>
                  <a:gd name="T118" fmla="*/ 116 w 122"/>
                  <a:gd name="T119" fmla="*/ 76 h 122"/>
                  <a:gd name="T120" fmla="*/ 121 w 122"/>
                  <a:gd name="T121" fmla="*/ 72 h 122"/>
                  <a:gd name="T122" fmla="*/ 121 w 122"/>
                  <a:gd name="T123" fmla="*/ 66 h 122"/>
                  <a:gd name="T124" fmla="*/ 61 w 122"/>
                  <a:gd name="T125" fmla="*/ 1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2" h="122">
                    <a:moveTo>
                      <a:pt x="121" y="66"/>
                    </a:moveTo>
                    <a:cubicBezTo>
                      <a:pt x="119" y="66"/>
                      <a:pt x="118" y="65"/>
                      <a:pt x="118" y="63"/>
                    </a:cubicBezTo>
                    <a:cubicBezTo>
                      <a:pt x="118" y="63"/>
                      <a:pt x="118" y="62"/>
                      <a:pt x="118" y="61"/>
                    </a:cubicBezTo>
                    <a:cubicBezTo>
                      <a:pt x="118" y="59"/>
                      <a:pt x="119" y="58"/>
                      <a:pt x="121" y="58"/>
                    </a:cubicBezTo>
                    <a:cubicBezTo>
                      <a:pt x="121" y="58"/>
                      <a:pt x="121" y="58"/>
                      <a:pt x="122" y="58"/>
                    </a:cubicBezTo>
                    <a:cubicBezTo>
                      <a:pt x="122" y="57"/>
                      <a:pt x="122" y="55"/>
                      <a:pt x="121" y="54"/>
                    </a:cubicBezTo>
                    <a:cubicBezTo>
                      <a:pt x="121" y="54"/>
                      <a:pt x="121" y="54"/>
                      <a:pt x="120" y="54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19" y="54"/>
                      <a:pt x="118" y="53"/>
                      <a:pt x="117" y="52"/>
                    </a:cubicBezTo>
                    <a:cubicBezTo>
                      <a:pt x="117" y="51"/>
                      <a:pt x="117" y="50"/>
                      <a:pt x="117" y="49"/>
                    </a:cubicBezTo>
                    <a:cubicBezTo>
                      <a:pt x="117" y="48"/>
                      <a:pt x="118" y="47"/>
                      <a:pt x="119" y="46"/>
                    </a:cubicBezTo>
                    <a:cubicBezTo>
                      <a:pt x="119" y="46"/>
                      <a:pt x="120" y="46"/>
                      <a:pt x="120" y="46"/>
                    </a:cubicBezTo>
                    <a:cubicBezTo>
                      <a:pt x="120" y="44"/>
                      <a:pt x="119" y="42"/>
                      <a:pt x="118" y="41"/>
                    </a:cubicBezTo>
                    <a:cubicBezTo>
                      <a:pt x="118" y="41"/>
                      <a:pt x="118" y="41"/>
                      <a:pt x="117" y="41"/>
                    </a:cubicBezTo>
                    <a:cubicBezTo>
                      <a:pt x="117" y="41"/>
                      <a:pt x="117" y="41"/>
                      <a:pt x="116" y="41"/>
                    </a:cubicBezTo>
                    <a:cubicBezTo>
                      <a:pt x="115" y="41"/>
                      <a:pt x="114" y="41"/>
                      <a:pt x="114" y="40"/>
                    </a:cubicBezTo>
                    <a:cubicBezTo>
                      <a:pt x="114" y="39"/>
                      <a:pt x="113" y="38"/>
                      <a:pt x="113" y="37"/>
                    </a:cubicBezTo>
                    <a:cubicBezTo>
                      <a:pt x="112" y="36"/>
                      <a:pt x="113" y="34"/>
                      <a:pt x="114" y="34"/>
                    </a:cubicBezTo>
                    <a:cubicBezTo>
                      <a:pt x="115" y="34"/>
                      <a:pt x="115" y="33"/>
                      <a:pt x="115" y="33"/>
                    </a:cubicBezTo>
                    <a:cubicBezTo>
                      <a:pt x="114" y="32"/>
                      <a:pt x="113" y="30"/>
                      <a:pt x="112" y="28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1" y="29"/>
                      <a:pt x="111" y="30"/>
                      <a:pt x="110" y="30"/>
                    </a:cubicBezTo>
                    <a:cubicBezTo>
                      <a:pt x="109" y="30"/>
                      <a:pt x="108" y="29"/>
                      <a:pt x="108" y="28"/>
                    </a:cubicBezTo>
                    <a:cubicBezTo>
                      <a:pt x="107" y="28"/>
                      <a:pt x="107" y="27"/>
                      <a:pt x="106" y="26"/>
                    </a:cubicBezTo>
                    <a:cubicBezTo>
                      <a:pt x="105" y="25"/>
                      <a:pt x="106" y="23"/>
                      <a:pt x="107" y="23"/>
                    </a:cubicBezTo>
                    <a:cubicBezTo>
                      <a:pt x="107" y="22"/>
                      <a:pt x="108" y="22"/>
                      <a:pt x="108" y="22"/>
                    </a:cubicBezTo>
                    <a:cubicBezTo>
                      <a:pt x="107" y="21"/>
                      <a:pt x="105" y="19"/>
                      <a:pt x="104" y="18"/>
                    </a:cubicBezTo>
                    <a:cubicBezTo>
                      <a:pt x="104" y="18"/>
                      <a:pt x="104" y="18"/>
                      <a:pt x="103" y="19"/>
                    </a:cubicBezTo>
                    <a:cubicBezTo>
                      <a:pt x="103" y="19"/>
                      <a:pt x="102" y="19"/>
                      <a:pt x="101" y="19"/>
                    </a:cubicBezTo>
                    <a:cubicBezTo>
                      <a:pt x="101" y="19"/>
                      <a:pt x="100" y="19"/>
                      <a:pt x="99" y="19"/>
                    </a:cubicBezTo>
                    <a:cubicBezTo>
                      <a:pt x="99" y="18"/>
                      <a:pt x="98" y="18"/>
                      <a:pt x="98" y="17"/>
                    </a:cubicBezTo>
                    <a:cubicBezTo>
                      <a:pt x="96" y="16"/>
                      <a:pt x="96" y="14"/>
                      <a:pt x="97" y="13"/>
                    </a:cubicBezTo>
                    <a:cubicBezTo>
                      <a:pt x="97" y="13"/>
                      <a:pt x="98" y="13"/>
                      <a:pt x="98" y="13"/>
                    </a:cubicBezTo>
                    <a:cubicBezTo>
                      <a:pt x="96" y="11"/>
                      <a:pt x="95" y="10"/>
                      <a:pt x="93" y="9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2" y="11"/>
                      <a:pt x="91" y="12"/>
                      <a:pt x="90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8" y="11"/>
                      <a:pt x="88" y="10"/>
                      <a:pt x="87" y="10"/>
                    </a:cubicBezTo>
                    <a:cubicBezTo>
                      <a:pt x="86" y="9"/>
                      <a:pt x="85" y="8"/>
                      <a:pt x="86" y="6"/>
                    </a:cubicBezTo>
                    <a:cubicBezTo>
                      <a:pt x="86" y="6"/>
                      <a:pt x="86" y="6"/>
                      <a:pt x="86" y="6"/>
                    </a:cubicBezTo>
                    <a:cubicBezTo>
                      <a:pt x="85" y="5"/>
                      <a:pt x="83" y="4"/>
                      <a:pt x="81" y="3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80" y="6"/>
                      <a:pt x="79" y="6"/>
                      <a:pt x="78" y="6"/>
                    </a:cubicBezTo>
                    <a:cubicBezTo>
                      <a:pt x="78" y="6"/>
                      <a:pt x="78" y="6"/>
                      <a:pt x="77" y="6"/>
                    </a:cubicBezTo>
                    <a:cubicBezTo>
                      <a:pt x="77" y="6"/>
                      <a:pt x="76" y="6"/>
                      <a:pt x="75" y="6"/>
                    </a:cubicBezTo>
                    <a:cubicBezTo>
                      <a:pt x="73" y="5"/>
                      <a:pt x="73" y="4"/>
                      <a:pt x="73" y="2"/>
                    </a:cubicBezTo>
                    <a:cubicBezTo>
                      <a:pt x="73" y="2"/>
                      <a:pt x="73" y="2"/>
                      <a:pt x="73" y="1"/>
                    </a:cubicBezTo>
                    <a:cubicBezTo>
                      <a:pt x="71" y="1"/>
                      <a:pt x="69" y="1"/>
                      <a:pt x="67" y="0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7" y="3"/>
                      <a:pt x="66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3" y="4"/>
                      <a:pt x="62" y="4"/>
                    </a:cubicBezTo>
                    <a:cubicBezTo>
                      <a:pt x="61" y="4"/>
                      <a:pt x="59" y="3"/>
                      <a:pt x="60" y="1"/>
                    </a:cubicBezTo>
                    <a:cubicBezTo>
                      <a:pt x="60" y="1"/>
                      <a:pt x="60" y="0"/>
                      <a:pt x="60" y="0"/>
                    </a:cubicBezTo>
                    <a:cubicBezTo>
                      <a:pt x="58" y="0"/>
                      <a:pt x="56" y="0"/>
                      <a:pt x="54" y="1"/>
                    </a:cubicBezTo>
                    <a:cubicBezTo>
                      <a:pt x="54" y="1"/>
                      <a:pt x="54" y="1"/>
                      <a:pt x="54" y="2"/>
                    </a:cubicBezTo>
                    <a:cubicBezTo>
                      <a:pt x="54" y="3"/>
                      <a:pt x="53" y="4"/>
                      <a:pt x="52" y="5"/>
                    </a:cubicBezTo>
                    <a:cubicBezTo>
                      <a:pt x="51" y="5"/>
                      <a:pt x="50" y="5"/>
                      <a:pt x="49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8" y="5"/>
                      <a:pt x="46" y="4"/>
                      <a:pt x="46" y="3"/>
                    </a:cubicBezTo>
                    <a:cubicBezTo>
                      <a:pt x="46" y="3"/>
                      <a:pt x="46" y="2"/>
                      <a:pt x="46" y="2"/>
                    </a:cubicBezTo>
                    <a:cubicBezTo>
                      <a:pt x="44" y="2"/>
                      <a:pt x="42" y="3"/>
                      <a:pt x="40" y="4"/>
                    </a:cubicBezTo>
                    <a:cubicBezTo>
                      <a:pt x="41" y="4"/>
                      <a:pt x="41" y="4"/>
                      <a:pt x="41" y="5"/>
                    </a:cubicBezTo>
                    <a:cubicBezTo>
                      <a:pt x="42" y="6"/>
                      <a:pt x="41" y="8"/>
                      <a:pt x="40" y="8"/>
                    </a:cubicBezTo>
                    <a:cubicBezTo>
                      <a:pt x="39" y="8"/>
                      <a:pt x="38" y="9"/>
                      <a:pt x="37" y="9"/>
                    </a:cubicBezTo>
                    <a:cubicBezTo>
                      <a:pt x="37" y="9"/>
                      <a:pt x="37" y="9"/>
                      <a:pt x="36" y="9"/>
                    </a:cubicBezTo>
                    <a:cubicBezTo>
                      <a:pt x="35" y="9"/>
                      <a:pt x="34" y="9"/>
                      <a:pt x="34" y="8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8"/>
                      <a:pt x="30" y="9"/>
                      <a:pt x="28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0" y="12"/>
                      <a:pt x="30" y="13"/>
                      <a:pt x="28" y="14"/>
                    </a:cubicBezTo>
                    <a:cubicBezTo>
                      <a:pt x="28" y="15"/>
                      <a:pt x="27" y="15"/>
                      <a:pt x="26" y="16"/>
                    </a:cubicBezTo>
                    <a:cubicBezTo>
                      <a:pt x="26" y="16"/>
                      <a:pt x="25" y="16"/>
                      <a:pt x="25" y="16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5"/>
                      <a:pt x="22" y="15"/>
                      <a:pt x="22" y="14"/>
                    </a:cubicBezTo>
                    <a:cubicBezTo>
                      <a:pt x="21" y="16"/>
                      <a:pt x="19" y="17"/>
                      <a:pt x="18" y="18"/>
                    </a:cubicBezTo>
                    <a:cubicBezTo>
                      <a:pt x="18" y="18"/>
                      <a:pt x="18" y="19"/>
                      <a:pt x="19" y="19"/>
                    </a:cubicBezTo>
                    <a:cubicBezTo>
                      <a:pt x="20" y="20"/>
                      <a:pt x="20" y="22"/>
                      <a:pt x="19" y="23"/>
                    </a:cubicBezTo>
                    <a:cubicBezTo>
                      <a:pt x="18" y="23"/>
                      <a:pt x="18" y="24"/>
                      <a:pt x="17" y="25"/>
                    </a:cubicBezTo>
                    <a:cubicBezTo>
                      <a:pt x="17" y="25"/>
                      <a:pt x="16" y="26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5"/>
                      <a:pt x="13" y="25"/>
                      <a:pt x="13" y="24"/>
                    </a:cubicBezTo>
                    <a:cubicBezTo>
                      <a:pt x="11" y="26"/>
                      <a:pt x="10" y="27"/>
                      <a:pt x="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2" y="30"/>
                      <a:pt x="12" y="32"/>
                      <a:pt x="11" y="33"/>
                    </a:cubicBezTo>
                    <a:cubicBezTo>
                      <a:pt x="11" y="34"/>
                      <a:pt x="11" y="35"/>
                      <a:pt x="10" y="35"/>
                    </a:cubicBezTo>
                    <a:cubicBezTo>
                      <a:pt x="10" y="36"/>
                      <a:pt x="9" y="37"/>
                      <a:pt x="8" y="37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8"/>
                      <a:pt x="4" y="40"/>
                      <a:pt x="3" y="42"/>
                    </a:cubicBezTo>
                    <a:cubicBezTo>
                      <a:pt x="4" y="41"/>
                      <a:pt x="4" y="41"/>
                      <a:pt x="5" y="42"/>
                    </a:cubicBezTo>
                    <a:cubicBezTo>
                      <a:pt x="6" y="42"/>
                      <a:pt x="7" y="44"/>
                      <a:pt x="6" y="45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5" y="49"/>
                      <a:pt x="4" y="49"/>
                      <a:pt x="3" y="49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2" y="49"/>
                      <a:pt x="2" y="49"/>
                      <a:pt x="1" y="49"/>
                    </a:cubicBezTo>
                    <a:cubicBezTo>
                      <a:pt x="1" y="51"/>
                      <a:pt x="1" y="53"/>
                      <a:pt x="1" y="55"/>
                    </a:cubicBezTo>
                    <a:cubicBezTo>
                      <a:pt x="1" y="55"/>
                      <a:pt x="1" y="55"/>
                      <a:pt x="2" y="55"/>
                    </a:cubicBezTo>
                    <a:cubicBezTo>
                      <a:pt x="3" y="55"/>
                      <a:pt x="4" y="56"/>
                      <a:pt x="4" y="58"/>
                    </a:cubicBezTo>
                    <a:cubicBezTo>
                      <a:pt x="4" y="58"/>
                      <a:pt x="4" y="59"/>
                      <a:pt x="4" y="60"/>
                    </a:cubicBezTo>
                    <a:cubicBezTo>
                      <a:pt x="4" y="62"/>
                      <a:pt x="3" y="63"/>
                      <a:pt x="1" y="63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63"/>
                      <a:pt x="1" y="63"/>
                      <a:pt x="0" y="63"/>
                    </a:cubicBezTo>
                    <a:cubicBezTo>
                      <a:pt x="0" y="65"/>
                      <a:pt x="1" y="67"/>
                      <a:pt x="1" y="69"/>
                    </a:cubicBezTo>
                    <a:cubicBezTo>
                      <a:pt x="1" y="68"/>
                      <a:pt x="1" y="68"/>
                      <a:pt x="2" y="68"/>
                    </a:cubicBezTo>
                    <a:cubicBezTo>
                      <a:pt x="3" y="68"/>
                      <a:pt x="5" y="69"/>
                      <a:pt x="5" y="70"/>
                    </a:cubicBezTo>
                    <a:cubicBezTo>
                      <a:pt x="5" y="71"/>
                      <a:pt x="5" y="72"/>
                      <a:pt x="5" y="73"/>
                    </a:cubicBezTo>
                    <a:cubicBezTo>
                      <a:pt x="6" y="74"/>
                      <a:pt x="5" y="76"/>
                      <a:pt x="3" y="7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2" y="76"/>
                      <a:pt x="2" y="76"/>
                    </a:cubicBezTo>
                    <a:cubicBezTo>
                      <a:pt x="3" y="78"/>
                      <a:pt x="3" y="80"/>
                      <a:pt x="4" y="82"/>
                    </a:cubicBezTo>
                    <a:cubicBezTo>
                      <a:pt x="4" y="82"/>
                      <a:pt x="5" y="81"/>
                      <a:pt x="5" y="81"/>
                    </a:cubicBezTo>
                    <a:cubicBezTo>
                      <a:pt x="6" y="81"/>
                      <a:pt x="8" y="81"/>
                      <a:pt x="9" y="83"/>
                    </a:cubicBezTo>
                    <a:cubicBezTo>
                      <a:pt x="9" y="83"/>
                      <a:pt x="9" y="84"/>
                      <a:pt x="10" y="85"/>
                    </a:cubicBezTo>
                    <a:cubicBezTo>
                      <a:pt x="10" y="86"/>
                      <a:pt x="10" y="88"/>
                      <a:pt x="8" y="89"/>
                    </a:cubicBezTo>
                    <a:cubicBezTo>
                      <a:pt x="8" y="89"/>
                      <a:pt x="8" y="89"/>
                      <a:pt x="7" y="89"/>
                    </a:cubicBezTo>
                    <a:cubicBezTo>
                      <a:pt x="8" y="91"/>
                      <a:pt x="9" y="92"/>
                      <a:pt x="10" y="94"/>
                    </a:cubicBezTo>
                    <a:cubicBezTo>
                      <a:pt x="10" y="94"/>
                      <a:pt x="11" y="93"/>
                      <a:pt x="11" y="93"/>
                    </a:cubicBezTo>
                    <a:cubicBezTo>
                      <a:pt x="12" y="92"/>
                      <a:pt x="14" y="93"/>
                      <a:pt x="15" y="94"/>
                    </a:cubicBezTo>
                    <a:cubicBezTo>
                      <a:pt x="15" y="95"/>
                      <a:pt x="16" y="95"/>
                      <a:pt x="16" y="96"/>
                    </a:cubicBezTo>
                    <a:cubicBezTo>
                      <a:pt x="17" y="97"/>
                      <a:pt x="17" y="99"/>
                      <a:pt x="16" y="100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2"/>
                      <a:pt x="17" y="103"/>
                      <a:pt x="19" y="105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20" y="102"/>
                      <a:pt x="22" y="102"/>
                      <a:pt x="23" y="103"/>
                    </a:cubicBezTo>
                    <a:cubicBezTo>
                      <a:pt x="24" y="104"/>
                      <a:pt x="25" y="104"/>
                      <a:pt x="25" y="105"/>
                    </a:cubicBezTo>
                    <a:cubicBezTo>
                      <a:pt x="26" y="106"/>
                      <a:pt x="27" y="108"/>
                      <a:pt x="26" y="109"/>
                    </a:cubicBezTo>
                    <a:cubicBezTo>
                      <a:pt x="25" y="109"/>
                      <a:pt x="25" y="109"/>
                      <a:pt x="25" y="109"/>
                    </a:cubicBezTo>
                    <a:cubicBezTo>
                      <a:pt x="26" y="111"/>
                      <a:pt x="28" y="112"/>
                      <a:pt x="30" y="113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31" y="110"/>
                      <a:pt x="32" y="110"/>
                      <a:pt x="34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7" y="113"/>
                      <a:pt x="38" y="114"/>
                      <a:pt x="37" y="116"/>
                    </a:cubicBezTo>
                    <a:cubicBezTo>
                      <a:pt x="37" y="116"/>
                      <a:pt x="37" y="116"/>
                      <a:pt x="36" y="116"/>
                    </a:cubicBezTo>
                    <a:cubicBezTo>
                      <a:pt x="38" y="117"/>
                      <a:pt x="40" y="118"/>
                      <a:pt x="42" y="119"/>
                    </a:cubicBezTo>
                    <a:cubicBezTo>
                      <a:pt x="42" y="118"/>
                      <a:pt x="42" y="118"/>
                      <a:pt x="42" y="117"/>
                    </a:cubicBezTo>
                    <a:cubicBezTo>
                      <a:pt x="43" y="116"/>
                      <a:pt x="44" y="115"/>
                      <a:pt x="46" y="116"/>
                    </a:cubicBezTo>
                    <a:cubicBezTo>
                      <a:pt x="46" y="116"/>
                      <a:pt x="47" y="116"/>
                      <a:pt x="48" y="116"/>
                    </a:cubicBezTo>
                    <a:cubicBezTo>
                      <a:pt x="49" y="117"/>
                      <a:pt x="50" y="118"/>
                      <a:pt x="50" y="119"/>
                    </a:cubicBezTo>
                    <a:cubicBezTo>
                      <a:pt x="50" y="120"/>
                      <a:pt x="50" y="120"/>
                      <a:pt x="50" y="120"/>
                    </a:cubicBezTo>
                    <a:cubicBezTo>
                      <a:pt x="52" y="121"/>
                      <a:pt x="54" y="121"/>
                      <a:pt x="56" y="121"/>
                    </a:cubicBezTo>
                    <a:cubicBezTo>
                      <a:pt x="55" y="121"/>
                      <a:pt x="55" y="121"/>
                      <a:pt x="55" y="120"/>
                    </a:cubicBezTo>
                    <a:cubicBezTo>
                      <a:pt x="55" y="119"/>
                      <a:pt x="57" y="118"/>
                      <a:pt x="58" y="118"/>
                    </a:cubicBezTo>
                    <a:cubicBezTo>
                      <a:pt x="59" y="118"/>
                      <a:pt x="60" y="118"/>
                      <a:pt x="61" y="118"/>
                    </a:cubicBezTo>
                    <a:cubicBezTo>
                      <a:pt x="62" y="118"/>
                      <a:pt x="63" y="119"/>
                      <a:pt x="63" y="120"/>
                    </a:cubicBezTo>
                    <a:cubicBezTo>
                      <a:pt x="63" y="121"/>
                      <a:pt x="63" y="121"/>
                      <a:pt x="63" y="122"/>
                    </a:cubicBezTo>
                    <a:cubicBezTo>
                      <a:pt x="65" y="121"/>
                      <a:pt x="67" y="121"/>
                      <a:pt x="69" y="121"/>
                    </a:cubicBezTo>
                    <a:cubicBezTo>
                      <a:pt x="69" y="121"/>
                      <a:pt x="69" y="120"/>
                      <a:pt x="69" y="120"/>
                    </a:cubicBezTo>
                    <a:cubicBezTo>
                      <a:pt x="69" y="119"/>
                      <a:pt x="69" y="117"/>
                      <a:pt x="71" y="117"/>
                    </a:cubicBezTo>
                    <a:cubicBezTo>
                      <a:pt x="72" y="117"/>
                      <a:pt x="73" y="117"/>
                      <a:pt x="73" y="116"/>
                    </a:cubicBezTo>
                    <a:cubicBezTo>
                      <a:pt x="75" y="116"/>
                      <a:pt x="76" y="117"/>
                      <a:pt x="77" y="118"/>
                    </a:cubicBezTo>
                    <a:cubicBezTo>
                      <a:pt x="77" y="119"/>
                      <a:pt x="77" y="119"/>
                      <a:pt x="77" y="120"/>
                    </a:cubicBezTo>
                    <a:cubicBezTo>
                      <a:pt x="79" y="119"/>
                      <a:pt x="81" y="118"/>
                      <a:pt x="83" y="118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1" y="115"/>
                      <a:pt x="82" y="114"/>
                      <a:pt x="83" y="113"/>
                    </a:cubicBezTo>
                    <a:cubicBezTo>
                      <a:pt x="84" y="113"/>
                      <a:pt x="85" y="113"/>
                      <a:pt x="86" y="112"/>
                    </a:cubicBezTo>
                    <a:cubicBezTo>
                      <a:pt x="87" y="112"/>
                      <a:pt x="89" y="112"/>
                      <a:pt x="89" y="113"/>
                    </a:cubicBezTo>
                    <a:cubicBezTo>
                      <a:pt x="89" y="114"/>
                      <a:pt x="89" y="114"/>
                      <a:pt x="89" y="115"/>
                    </a:cubicBezTo>
                    <a:cubicBezTo>
                      <a:pt x="91" y="114"/>
                      <a:pt x="93" y="113"/>
                      <a:pt x="95" y="111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3" y="110"/>
                      <a:pt x="93" y="108"/>
                      <a:pt x="94" y="107"/>
                    </a:cubicBezTo>
                    <a:cubicBezTo>
                      <a:pt x="95" y="107"/>
                      <a:pt x="96" y="106"/>
                      <a:pt x="96" y="105"/>
                    </a:cubicBezTo>
                    <a:cubicBezTo>
                      <a:pt x="98" y="105"/>
                      <a:pt x="99" y="105"/>
                      <a:pt x="100" y="106"/>
                    </a:cubicBezTo>
                    <a:cubicBezTo>
                      <a:pt x="100" y="106"/>
                      <a:pt x="101" y="107"/>
                      <a:pt x="101" y="107"/>
                    </a:cubicBezTo>
                    <a:cubicBezTo>
                      <a:pt x="102" y="106"/>
                      <a:pt x="104" y="104"/>
                      <a:pt x="105" y="103"/>
                    </a:cubicBezTo>
                    <a:cubicBezTo>
                      <a:pt x="105" y="103"/>
                      <a:pt x="104" y="102"/>
                      <a:pt x="104" y="102"/>
                    </a:cubicBezTo>
                    <a:cubicBezTo>
                      <a:pt x="103" y="101"/>
                      <a:pt x="103" y="100"/>
                      <a:pt x="104" y="98"/>
                    </a:cubicBezTo>
                    <a:cubicBezTo>
                      <a:pt x="104" y="98"/>
                      <a:pt x="105" y="97"/>
                      <a:pt x="106" y="96"/>
                    </a:cubicBezTo>
                    <a:cubicBezTo>
                      <a:pt x="106" y="95"/>
                      <a:pt x="108" y="95"/>
                      <a:pt x="109" y="96"/>
                    </a:cubicBezTo>
                    <a:cubicBezTo>
                      <a:pt x="110" y="96"/>
                      <a:pt x="110" y="97"/>
                      <a:pt x="110" y="97"/>
                    </a:cubicBezTo>
                    <a:cubicBezTo>
                      <a:pt x="111" y="95"/>
                      <a:pt x="112" y="94"/>
                      <a:pt x="113" y="92"/>
                    </a:cubicBezTo>
                    <a:cubicBezTo>
                      <a:pt x="113" y="92"/>
                      <a:pt x="113" y="92"/>
                      <a:pt x="112" y="92"/>
                    </a:cubicBezTo>
                    <a:cubicBezTo>
                      <a:pt x="111" y="91"/>
                      <a:pt x="110" y="89"/>
                      <a:pt x="111" y="88"/>
                    </a:cubicBezTo>
                    <a:cubicBezTo>
                      <a:pt x="112" y="87"/>
                      <a:pt x="112" y="86"/>
                      <a:pt x="112" y="86"/>
                    </a:cubicBezTo>
                    <a:cubicBezTo>
                      <a:pt x="113" y="84"/>
                      <a:pt x="115" y="84"/>
                      <a:pt x="116" y="84"/>
                    </a:cubicBezTo>
                    <a:cubicBezTo>
                      <a:pt x="116" y="85"/>
                      <a:pt x="117" y="85"/>
                      <a:pt x="117" y="85"/>
                    </a:cubicBezTo>
                    <a:cubicBezTo>
                      <a:pt x="118" y="83"/>
                      <a:pt x="118" y="81"/>
                      <a:pt x="119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6" y="79"/>
                      <a:pt x="116" y="77"/>
                      <a:pt x="116" y="76"/>
                    </a:cubicBezTo>
                    <a:cubicBezTo>
                      <a:pt x="116" y="75"/>
                      <a:pt x="116" y="74"/>
                      <a:pt x="117" y="74"/>
                    </a:cubicBezTo>
                    <a:cubicBezTo>
                      <a:pt x="117" y="72"/>
                      <a:pt x="118" y="71"/>
                      <a:pt x="120" y="72"/>
                    </a:cubicBezTo>
                    <a:cubicBezTo>
                      <a:pt x="120" y="72"/>
                      <a:pt x="121" y="72"/>
                      <a:pt x="121" y="72"/>
                    </a:cubicBezTo>
                    <a:cubicBezTo>
                      <a:pt x="121" y="70"/>
                      <a:pt x="121" y="68"/>
                      <a:pt x="122" y="66"/>
                    </a:cubicBezTo>
                    <a:cubicBezTo>
                      <a:pt x="121" y="66"/>
                      <a:pt x="121" y="66"/>
                      <a:pt x="121" y="66"/>
                    </a:cubicBezTo>
                    <a:cubicBezTo>
                      <a:pt x="121" y="66"/>
                      <a:pt x="121" y="66"/>
                      <a:pt x="121" y="66"/>
                    </a:cubicBezTo>
                    <a:close/>
                    <a:moveTo>
                      <a:pt x="61" y="106"/>
                    </a:moveTo>
                    <a:cubicBezTo>
                      <a:pt x="36" y="106"/>
                      <a:pt x="16" y="86"/>
                      <a:pt x="16" y="61"/>
                    </a:cubicBezTo>
                    <a:cubicBezTo>
                      <a:pt x="16" y="36"/>
                      <a:pt x="36" y="15"/>
                      <a:pt x="61" y="15"/>
                    </a:cubicBezTo>
                    <a:cubicBezTo>
                      <a:pt x="86" y="15"/>
                      <a:pt x="106" y="36"/>
                      <a:pt x="106" y="61"/>
                    </a:cubicBezTo>
                    <a:cubicBezTo>
                      <a:pt x="106" y="86"/>
                      <a:pt x="86" y="106"/>
                      <a:pt x="61" y="106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5" name="组合 94"/>
          <p:cNvGrpSpPr/>
          <p:nvPr userDrawn="1"/>
        </p:nvGrpSpPr>
        <p:grpSpPr>
          <a:xfrm>
            <a:off x="228274" y="2016213"/>
            <a:ext cx="216000" cy="216000"/>
            <a:chOff x="9065817" y="4776360"/>
            <a:chExt cx="828000" cy="828000"/>
          </a:xfrm>
        </p:grpSpPr>
        <p:sp>
          <p:nvSpPr>
            <p:cNvPr id="96" name="Oval 33"/>
            <p:cNvSpPr>
              <a:spLocks noChangeArrowheads="1"/>
            </p:cNvSpPr>
            <p:nvPr/>
          </p:nvSpPr>
          <p:spPr bwMode="auto">
            <a:xfrm>
              <a:off x="9065817" y="477636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7" name="Oval 33"/>
            <p:cNvSpPr>
              <a:spLocks noChangeArrowheads="1"/>
            </p:cNvSpPr>
            <p:nvPr/>
          </p:nvSpPr>
          <p:spPr bwMode="auto">
            <a:xfrm>
              <a:off x="9119817" y="483036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98" name="Freeform 29"/>
            <p:cNvSpPr>
              <a:spLocks noEditPoints="1" noChangeArrowheads="1"/>
            </p:cNvSpPr>
            <p:nvPr/>
          </p:nvSpPr>
          <p:spPr bwMode="auto">
            <a:xfrm>
              <a:off x="9245817" y="4902360"/>
              <a:ext cx="468000" cy="576000"/>
            </a:xfrm>
            <a:custGeom>
              <a:avLst/>
              <a:gdLst>
                <a:gd name="T0" fmla="*/ 90 w 142"/>
                <a:gd name="T1" fmla="*/ 141 h 165"/>
                <a:gd name="T2" fmla="*/ 92 w 142"/>
                <a:gd name="T3" fmla="*/ 148 h 165"/>
                <a:gd name="T4" fmla="*/ 51 w 142"/>
                <a:gd name="T5" fmla="*/ 150 h 165"/>
                <a:gd name="T6" fmla="*/ 49 w 142"/>
                <a:gd name="T7" fmla="*/ 144 h 165"/>
                <a:gd name="T8" fmla="*/ 51 w 142"/>
                <a:gd name="T9" fmla="*/ 141 h 165"/>
                <a:gd name="T10" fmla="*/ 85 w 142"/>
                <a:gd name="T11" fmla="*/ 160 h 165"/>
                <a:gd name="T12" fmla="*/ 61 w 142"/>
                <a:gd name="T13" fmla="*/ 165 h 165"/>
                <a:gd name="T14" fmla="*/ 56 w 142"/>
                <a:gd name="T15" fmla="*/ 155 h 165"/>
                <a:gd name="T16" fmla="*/ 71 w 142"/>
                <a:gd name="T17" fmla="*/ 38 h 165"/>
                <a:gd name="T18" fmla="*/ 89 w 142"/>
                <a:gd name="T19" fmla="*/ 136 h 165"/>
                <a:gd name="T20" fmla="*/ 34 w 142"/>
                <a:gd name="T21" fmla="*/ 74 h 165"/>
                <a:gd name="T22" fmla="*/ 71 w 142"/>
                <a:gd name="T23" fmla="*/ 38 h 165"/>
                <a:gd name="T24" fmla="*/ 78 w 142"/>
                <a:gd name="T25" fmla="*/ 45 h 165"/>
                <a:gd name="T26" fmla="*/ 85 w 142"/>
                <a:gd name="T27" fmla="*/ 49 h 165"/>
                <a:gd name="T28" fmla="*/ 77 w 142"/>
                <a:gd name="T29" fmla="*/ 48 h 165"/>
                <a:gd name="T30" fmla="*/ 54 w 142"/>
                <a:gd name="T31" fmla="*/ 58 h 165"/>
                <a:gd name="T32" fmla="*/ 45 w 142"/>
                <a:gd name="T33" fmla="*/ 75 h 165"/>
                <a:gd name="T34" fmla="*/ 43 w 142"/>
                <a:gd name="T35" fmla="*/ 89 h 165"/>
                <a:gd name="T36" fmla="*/ 41 w 142"/>
                <a:gd name="T37" fmla="*/ 81 h 165"/>
                <a:gd name="T38" fmla="*/ 41 w 142"/>
                <a:gd name="T39" fmla="*/ 65 h 165"/>
                <a:gd name="T40" fmla="*/ 50 w 142"/>
                <a:gd name="T41" fmla="*/ 52 h 165"/>
                <a:gd name="T42" fmla="*/ 71 w 142"/>
                <a:gd name="T43" fmla="*/ 44 h 165"/>
                <a:gd name="T44" fmla="*/ 75 w 142"/>
                <a:gd name="T45" fmla="*/ 44 h 165"/>
                <a:gd name="T46" fmla="*/ 75 w 142"/>
                <a:gd name="T47" fmla="*/ 0 h 165"/>
                <a:gd name="T48" fmla="*/ 71 w 142"/>
                <a:gd name="T49" fmla="*/ 25 h 165"/>
                <a:gd name="T50" fmla="*/ 67 w 142"/>
                <a:gd name="T51" fmla="*/ 0 h 165"/>
                <a:gd name="T52" fmla="*/ 124 w 142"/>
                <a:gd name="T53" fmla="*/ 24 h 165"/>
                <a:gd name="T54" fmla="*/ 101 w 142"/>
                <a:gd name="T55" fmla="*/ 35 h 165"/>
                <a:gd name="T56" fmla="*/ 37 w 142"/>
                <a:gd name="T57" fmla="*/ 111 h 165"/>
                <a:gd name="T58" fmla="*/ 18 w 142"/>
                <a:gd name="T59" fmla="*/ 118 h 165"/>
                <a:gd name="T60" fmla="*/ 37 w 142"/>
                <a:gd name="T61" fmla="*/ 111 h 165"/>
                <a:gd name="T62" fmla="*/ 24 w 142"/>
                <a:gd name="T63" fmla="*/ 18 h 165"/>
                <a:gd name="T64" fmla="*/ 34 w 142"/>
                <a:gd name="T65" fmla="*/ 41 h 165"/>
                <a:gd name="T66" fmla="*/ 24 w 142"/>
                <a:gd name="T67" fmla="*/ 18 h 165"/>
                <a:gd name="T68" fmla="*/ 118 w 142"/>
                <a:gd name="T69" fmla="*/ 124 h 165"/>
                <a:gd name="T70" fmla="*/ 111 w 142"/>
                <a:gd name="T71" fmla="*/ 105 h 165"/>
                <a:gd name="T72" fmla="*/ 105 w 142"/>
                <a:gd name="T73" fmla="*/ 111 h 165"/>
                <a:gd name="T74" fmla="*/ 142 w 142"/>
                <a:gd name="T75" fmla="*/ 75 h 165"/>
                <a:gd name="T76" fmla="*/ 121 w 142"/>
                <a:gd name="T77" fmla="*/ 75 h 165"/>
                <a:gd name="T78" fmla="*/ 142 w 142"/>
                <a:gd name="T79" fmla="*/ 67 h 165"/>
                <a:gd name="T80" fmla="*/ 0 w 142"/>
                <a:gd name="T81" fmla="*/ 75 h 165"/>
                <a:gd name="T82" fmla="*/ 22 w 142"/>
                <a:gd name="T83" fmla="*/ 67 h 165"/>
                <a:gd name="T84" fmla="*/ 21 w 142"/>
                <a:gd name="T85" fmla="*/ 7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2"/>
                <a:gd name="T130" fmla="*/ 0 h 165"/>
                <a:gd name="T131" fmla="*/ 142 w 142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2" h="165">
                  <a:moveTo>
                    <a:pt x="51" y="141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2" y="143"/>
                    <a:pt x="92" y="144"/>
                  </a:cubicBezTo>
                  <a:cubicBezTo>
                    <a:pt x="92" y="148"/>
                    <a:pt x="92" y="148"/>
                    <a:pt x="92" y="148"/>
                  </a:cubicBezTo>
                  <a:cubicBezTo>
                    <a:pt x="92" y="149"/>
                    <a:pt x="91" y="150"/>
                    <a:pt x="90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50"/>
                    <a:pt x="49" y="149"/>
                    <a:pt x="49" y="148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49" y="143"/>
                    <a:pt x="50" y="141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lose/>
                  <a:moveTo>
                    <a:pt x="85" y="155"/>
                  </a:moveTo>
                  <a:cubicBezTo>
                    <a:pt x="85" y="160"/>
                    <a:pt x="85" y="160"/>
                    <a:pt x="85" y="160"/>
                  </a:cubicBezTo>
                  <a:cubicBezTo>
                    <a:pt x="85" y="162"/>
                    <a:pt x="83" y="165"/>
                    <a:pt x="80" y="165"/>
                  </a:cubicBezTo>
                  <a:cubicBezTo>
                    <a:pt x="61" y="165"/>
                    <a:pt x="61" y="165"/>
                    <a:pt x="61" y="165"/>
                  </a:cubicBezTo>
                  <a:cubicBezTo>
                    <a:pt x="58" y="165"/>
                    <a:pt x="56" y="162"/>
                    <a:pt x="56" y="16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85" y="155"/>
                    <a:pt x="85" y="155"/>
                    <a:pt x="85" y="155"/>
                  </a:cubicBezTo>
                  <a:close/>
                  <a:moveTo>
                    <a:pt x="71" y="38"/>
                  </a:moveTo>
                  <a:cubicBezTo>
                    <a:pt x="91" y="38"/>
                    <a:pt x="107" y="54"/>
                    <a:pt x="107" y="74"/>
                  </a:cubicBezTo>
                  <a:cubicBezTo>
                    <a:pt x="107" y="97"/>
                    <a:pt x="89" y="103"/>
                    <a:pt x="89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03"/>
                    <a:pt x="34" y="97"/>
                    <a:pt x="34" y="74"/>
                  </a:cubicBezTo>
                  <a:cubicBezTo>
                    <a:pt x="34" y="54"/>
                    <a:pt x="5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lose/>
                  <a:moveTo>
                    <a:pt x="75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83" y="46"/>
                    <a:pt x="86" y="48"/>
                    <a:pt x="90" y="51"/>
                  </a:cubicBezTo>
                  <a:cubicBezTo>
                    <a:pt x="88" y="50"/>
                    <a:pt x="87" y="50"/>
                    <a:pt x="85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0" y="48"/>
                    <a:pt x="79" y="48"/>
                    <a:pt x="77" y="48"/>
                  </a:cubicBezTo>
                  <a:cubicBezTo>
                    <a:pt x="74" y="48"/>
                    <a:pt x="71" y="48"/>
                    <a:pt x="69" y="49"/>
                  </a:cubicBezTo>
                  <a:cubicBezTo>
                    <a:pt x="63" y="51"/>
                    <a:pt x="59" y="54"/>
                    <a:pt x="54" y="58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5"/>
                    <a:pt x="46" y="69"/>
                    <a:pt x="45" y="75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82"/>
                    <a:pt x="43" y="85"/>
                    <a:pt x="43" y="89"/>
                  </a:cubicBezTo>
                  <a:cubicBezTo>
                    <a:pt x="43" y="87"/>
                    <a:pt x="42" y="85"/>
                    <a:pt x="41" y="84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0" y="77"/>
                    <a:pt x="40" y="73"/>
                    <a:pt x="41" y="68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1"/>
                    <a:pt x="45" y="58"/>
                    <a:pt x="48" y="5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4" y="48"/>
                    <a:pt x="58" y="46"/>
                    <a:pt x="63" y="45"/>
                  </a:cubicBezTo>
                  <a:cubicBezTo>
                    <a:pt x="66" y="44"/>
                    <a:pt x="68" y="44"/>
                    <a:pt x="71" y="44"/>
                  </a:cubicBezTo>
                  <a:cubicBezTo>
                    <a:pt x="72" y="44"/>
                    <a:pt x="74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67" y="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4" y="25"/>
                    <a:pt x="72" y="25"/>
                    <a:pt x="71" y="25"/>
                  </a:cubicBezTo>
                  <a:cubicBezTo>
                    <a:pt x="69" y="25"/>
                    <a:pt x="68" y="25"/>
                    <a:pt x="67" y="25"/>
                  </a:cubicBezTo>
                  <a:cubicBezTo>
                    <a:pt x="67" y="0"/>
                    <a:pt x="67" y="0"/>
                    <a:pt x="67" y="0"/>
                  </a:cubicBezTo>
                  <a:close/>
                  <a:moveTo>
                    <a:pt x="118" y="18"/>
                  </a:moveTo>
                  <a:cubicBezTo>
                    <a:pt x="124" y="24"/>
                    <a:pt x="124" y="24"/>
                    <a:pt x="124" y="24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5" y="39"/>
                    <a:pt x="103" y="37"/>
                    <a:pt x="101" y="35"/>
                  </a:cubicBezTo>
                  <a:cubicBezTo>
                    <a:pt x="118" y="18"/>
                    <a:pt x="118" y="18"/>
                    <a:pt x="118" y="18"/>
                  </a:cubicBezTo>
                  <a:close/>
                  <a:moveTo>
                    <a:pt x="37" y="111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3" y="107"/>
                    <a:pt x="35" y="109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lose/>
                  <a:moveTo>
                    <a:pt x="24" y="18"/>
                  </a:moveTo>
                  <a:cubicBezTo>
                    <a:pt x="18" y="24"/>
                    <a:pt x="18" y="24"/>
                    <a:pt x="18" y="24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7" y="39"/>
                    <a:pt x="39" y="37"/>
                    <a:pt x="41" y="35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105" y="111"/>
                  </a:moveTo>
                  <a:cubicBezTo>
                    <a:pt x="118" y="124"/>
                    <a:pt x="118" y="124"/>
                    <a:pt x="118" y="124"/>
                  </a:cubicBezTo>
                  <a:cubicBezTo>
                    <a:pt x="124" y="118"/>
                    <a:pt x="124" y="118"/>
                    <a:pt x="124" y="118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09" y="107"/>
                    <a:pt x="107" y="109"/>
                    <a:pt x="105" y="111"/>
                  </a:cubicBezTo>
                  <a:cubicBezTo>
                    <a:pt x="105" y="111"/>
                    <a:pt x="105" y="111"/>
                    <a:pt x="105" y="111"/>
                  </a:cubicBezTo>
                  <a:close/>
                  <a:moveTo>
                    <a:pt x="142" y="67"/>
                  </a:moveTo>
                  <a:cubicBezTo>
                    <a:pt x="142" y="75"/>
                    <a:pt x="142" y="75"/>
                    <a:pt x="142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2"/>
                    <a:pt x="120" y="69"/>
                    <a:pt x="120" y="67"/>
                  </a:cubicBezTo>
                  <a:cubicBezTo>
                    <a:pt x="142" y="67"/>
                    <a:pt x="142" y="67"/>
                    <a:pt x="142" y="67"/>
                  </a:cubicBezTo>
                  <a:close/>
                  <a:moveTo>
                    <a:pt x="21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9"/>
                    <a:pt x="21" y="72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zh-CN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grpSp>
        <p:nvGrpSpPr>
          <p:cNvPr id="99" name="组合 98"/>
          <p:cNvGrpSpPr/>
          <p:nvPr userDrawn="1"/>
        </p:nvGrpSpPr>
        <p:grpSpPr>
          <a:xfrm>
            <a:off x="228472" y="2264724"/>
            <a:ext cx="216000" cy="216000"/>
            <a:chOff x="9935736" y="794100"/>
            <a:chExt cx="828000" cy="828000"/>
          </a:xfrm>
        </p:grpSpPr>
        <p:sp>
          <p:nvSpPr>
            <p:cNvPr id="100" name="Oval 33"/>
            <p:cNvSpPr>
              <a:spLocks noChangeArrowheads="1"/>
            </p:cNvSpPr>
            <p:nvPr/>
          </p:nvSpPr>
          <p:spPr bwMode="auto">
            <a:xfrm>
              <a:off x="9935736" y="794100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01" name="Oval 33"/>
            <p:cNvSpPr>
              <a:spLocks noChangeArrowheads="1"/>
            </p:cNvSpPr>
            <p:nvPr/>
          </p:nvSpPr>
          <p:spPr bwMode="auto">
            <a:xfrm>
              <a:off x="9989736" y="848100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02" name="组合 101"/>
            <p:cNvGrpSpPr/>
            <p:nvPr/>
          </p:nvGrpSpPr>
          <p:grpSpPr>
            <a:xfrm>
              <a:off x="10221099" y="992100"/>
              <a:ext cx="324000" cy="432000"/>
              <a:chOff x="3011764" y="4118564"/>
              <a:chExt cx="256862" cy="380114"/>
            </a:xfrm>
          </p:grpSpPr>
          <p:sp>
            <p:nvSpPr>
              <p:cNvPr id="103" name="Freeform 191"/>
              <p:cNvSpPr>
                <a:spLocks/>
              </p:cNvSpPr>
              <p:nvPr/>
            </p:nvSpPr>
            <p:spPr bwMode="auto">
              <a:xfrm>
                <a:off x="3036621" y="4190029"/>
                <a:ext cx="48680" cy="43501"/>
              </a:xfrm>
              <a:custGeom>
                <a:avLst/>
                <a:gdLst>
                  <a:gd name="T0" fmla="*/ 24 w 24"/>
                  <a:gd name="T1" fmla="*/ 17 h 21"/>
                  <a:gd name="T2" fmla="*/ 20 w 24"/>
                  <a:gd name="T3" fmla="*/ 21 h 21"/>
                  <a:gd name="T4" fmla="*/ 4 w 24"/>
                  <a:gd name="T5" fmla="*/ 21 h 21"/>
                  <a:gd name="T6" fmla="*/ 0 w 24"/>
                  <a:gd name="T7" fmla="*/ 17 h 21"/>
                  <a:gd name="T8" fmla="*/ 0 w 24"/>
                  <a:gd name="T9" fmla="*/ 4 h 21"/>
                  <a:gd name="T10" fmla="*/ 4 w 24"/>
                  <a:gd name="T11" fmla="*/ 0 h 21"/>
                  <a:gd name="T12" fmla="*/ 20 w 24"/>
                  <a:gd name="T13" fmla="*/ 0 h 21"/>
                  <a:gd name="T14" fmla="*/ 24 w 24"/>
                  <a:gd name="T15" fmla="*/ 4 h 21"/>
                  <a:gd name="T16" fmla="*/ 24 w 24"/>
                  <a:gd name="T17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1">
                    <a:moveTo>
                      <a:pt x="24" y="17"/>
                    </a:moveTo>
                    <a:cubicBezTo>
                      <a:pt x="24" y="19"/>
                      <a:pt x="22" y="21"/>
                      <a:pt x="2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2" y="21"/>
                      <a:pt x="0" y="19"/>
                      <a:pt x="0" y="1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7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Freeform 192"/>
              <p:cNvSpPr>
                <a:spLocks/>
              </p:cNvSpPr>
              <p:nvPr/>
            </p:nvSpPr>
            <p:spPr bwMode="auto">
              <a:xfrm>
                <a:off x="3036621" y="4245959"/>
                <a:ext cx="48680" cy="41429"/>
              </a:xfrm>
              <a:custGeom>
                <a:avLst/>
                <a:gdLst>
                  <a:gd name="T0" fmla="*/ 24 w 24"/>
                  <a:gd name="T1" fmla="*/ 16 h 20"/>
                  <a:gd name="T2" fmla="*/ 20 w 24"/>
                  <a:gd name="T3" fmla="*/ 20 h 20"/>
                  <a:gd name="T4" fmla="*/ 4 w 24"/>
                  <a:gd name="T5" fmla="*/ 20 h 20"/>
                  <a:gd name="T6" fmla="*/ 0 w 24"/>
                  <a:gd name="T7" fmla="*/ 16 h 20"/>
                  <a:gd name="T8" fmla="*/ 0 w 24"/>
                  <a:gd name="T9" fmla="*/ 4 h 20"/>
                  <a:gd name="T10" fmla="*/ 4 w 24"/>
                  <a:gd name="T11" fmla="*/ 0 h 20"/>
                  <a:gd name="T12" fmla="*/ 20 w 24"/>
                  <a:gd name="T13" fmla="*/ 0 h 20"/>
                  <a:gd name="T14" fmla="*/ 24 w 24"/>
                  <a:gd name="T15" fmla="*/ 4 h 20"/>
                  <a:gd name="T16" fmla="*/ 24 w 24"/>
                  <a:gd name="T17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24" y="16"/>
                    </a:moveTo>
                    <a:cubicBezTo>
                      <a:pt x="24" y="19"/>
                      <a:pt x="22" y="20"/>
                      <a:pt x="2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19"/>
                      <a:pt x="0" y="1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0"/>
                      <a:pt x="24" y="2"/>
                      <a:pt x="24" y="4"/>
                    </a:cubicBezTo>
                    <a:lnTo>
                      <a:pt x="24" y="1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193"/>
              <p:cNvSpPr>
                <a:spLocks/>
              </p:cNvSpPr>
              <p:nvPr/>
            </p:nvSpPr>
            <p:spPr bwMode="auto">
              <a:xfrm>
                <a:off x="3036621" y="4299817"/>
                <a:ext cx="44537" cy="42465"/>
              </a:xfrm>
              <a:custGeom>
                <a:avLst/>
                <a:gdLst>
                  <a:gd name="T0" fmla="*/ 18 w 22"/>
                  <a:gd name="T1" fmla="*/ 10 h 21"/>
                  <a:gd name="T2" fmla="*/ 18 w 22"/>
                  <a:gd name="T3" fmla="*/ 2 h 21"/>
                  <a:gd name="T4" fmla="*/ 19 w 22"/>
                  <a:gd name="T5" fmla="*/ 0 h 21"/>
                  <a:gd name="T6" fmla="*/ 4 w 22"/>
                  <a:gd name="T7" fmla="*/ 0 h 21"/>
                  <a:gd name="T8" fmla="*/ 0 w 22"/>
                  <a:gd name="T9" fmla="*/ 4 h 21"/>
                  <a:gd name="T10" fmla="*/ 0 w 22"/>
                  <a:gd name="T11" fmla="*/ 17 h 21"/>
                  <a:gd name="T12" fmla="*/ 4 w 22"/>
                  <a:gd name="T13" fmla="*/ 21 h 21"/>
                  <a:gd name="T14" fmla="*/ 20 w 22"/>
                  <a:gd name="T15" fmla="*/ 21 h 21"/>
                  <a:gd name="T16" fmla="*/ 22 w 22"/>
                  <a:gd name="T17" fmla="*/ 20 h 21"/>
                  <a:gd name="T18" fmla="*/ 18 w 22"/>
                  <a:gd name="T1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1">
                    <a:moveTo>
                      <a:pt x="18" y="10"/>
                    </a:moveTo>
                    <a:cubicBezTo>
                      <a:pt x="17" y="7"/>
                      <a:pt x="17" y="4"/>
                      <a:pt x="18" y="2"/>
                    </a:cubicBezTo>
                    <a:cubicBezTo>
                      <a:pt x="18" y="1"/>
                      <a:pt x="19" y="1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2" y="21"/>
                      <a:pt x="4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0" y="21"/>
                      <a:pt x="21" y="21"/>
                      <a:pt x="22" y="20"/>
                    </a:cubicBezTo>
                    <a:cubicBezTo>
                      <a:pt x="20" y="14"/>
                      <a:pt x="18" y="10"/>
                      <a:pt x="18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194"/>
              <p:cNvSpPr>
                <a:spLocks/>
              </p:cNvSpPr>
              <p:nvPr/>
            </p:nvSpPr>
            <p:spPr bwMode="auto">
              <a:xfrm>
                <a:off x="3099800" y="4245959"/>
                <a:ext cx="18644" cy="41429"/>
              </a:xfrm>
              <a:custGeom>
                <a:avLst/>
                <a:gdLst>
                  <a:gd name="T0" fmla="*/ 3 w 9"/>
                  <a:gd name="T1" fmla="*/ 18 h 20"/>
                  <a:gd name="T2" fmla="*/ 9 w 9"/>
                  <a:gd name="T3" fmla="*/ 20 h 20"/>
                  <a:gd name="T4" fmla="*/ 9 w 9"/>
                  <a:gd name="T5" fmla="*/ 0 h 20"/>
                  <a:gd name="T6" fmla="*/ 4 w 9"/>
                  <a:gd name="T7" fmla="*/ 0 h 20"/>
                  <a:gd name="T8" fmla="*/ 0 w 9"/>
                  <a:gd name="T9" fmla="*/ 4 h 20"/>
                  <a:gd name="T10" fmla="*/ 0 w 9"/>
                  <a:gd name="T11" fmla="*/ 16 h 20"/>
                  <a:gd name="T12" fmla="*/ 0 w 9"/>
                  <a:gd name="T13" fmla="*/ 18 h 20"/>
                  <a:gd name="T14" fmla="*/ 3 w 9"/>
                  <a:gd name="T1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0">
                    <a:moveTo>
                      <a:pt x="3" y="18"/>
                    </a:moveTo>
                    <a:cubicBezTo>
                      <a:pt x="5" y="18"/>
                      <a:pt x="7" y="19"/>
                      <a:pt x="9" y="2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0" y="18"/>
                    </a:cubicBezTo>
                    <a:cubicBezTo>
                      <a:pt x="1" y="18"/>
                      <a:pt x="2" y="18"/>
                      <a:pt x="3" y="18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195"/>
              <p:cNvSpPr>
                <a:spLocks/>
              </p:cNvSpPr>
              <p:nvPr/>
            </p:nvSpPr>
            <p:spPr bwMode="auto">
              <a:xfrm>
                <a:off x="3099801" y="4190029"/>
                <a:ext cx="47644" cy="43501"/>
              </a:xfrm>
              <a:custGeom>
                <a:avLst/>
                <a:gdLst>
                  <a:gd name="T0" fmla="*/ 4 w 23"/>
                  <a:gd name="T1" fmla="*/ 21 h 21"/>
                  <a:gd name="T2" fmla="*/ 9 w 23"/>
                  <a:gd name="T3" fmla="*/ 21 h 21"/>
                  <a:gd name="T4" fmla="*/ 9 w 23"/>
                  <a:gd name="T5" fmla="*/ 20 h 21"/>
                  <a:gd name="T6" fmla="*/ 23 w 23"/>
                  <a:gd name="T7" fmla="*/ 5 h 21"/>
                  <a:gd name="T8" fmla="*/ 23 w 23"/>
                  <a:gd name="T9" fmla="*/ 4 h 21"/>
                  <a:gd name="T10" fmla="*/ 19 w 23"/>
                  <a:gd name="T11" fmla="*/ 0 h 21"/>
                  <a:gd name="T12" fmla="*/ 4 w 23"/>
                  <a:gd name="T13" fmla="*/ 0 h 21"/>
                  <a:gd name="T14" fmla="*/ 0 w 23"/>
                  <a:gd name="T15" fmla="*/ 4 h 21"/>
                  <a:gd name="T16" fmla="*/ 0 w 23"/>
                  <a:gd name="T17" fmla="*/ 17 h 21"/>
                  <a:gd name="T18" fmla="*/ 4 w 23"/>
                  <a:gd name="T1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1">
                    <a:moveTo>
                      <a:pt x="4" y="21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12"/>
                      <a:pt x="15" y="6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1" y="0"/>
                      <a:pt x="1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96"/>
              <p:cNvSpPr>
                <a:spLocks noEditPoints="1"/>
              </p:cNvSpPr>
              <p:nvPr/>
            </p:nvSpPr>
            <p:spPr bwMode="auto">
              <a:xfrm>
                <a:off x="3011764" y="4118564"/>
                <a:ext cx="181253" cy="359399"/>
              </a:xfrm>
              <a:custGeom>
                <a:avLst/>
                <a:gdLst>
                  <a:gd name="T0" fmla="*/ 60 w 88"/>
                  <a:gd name="T1" fmla="*/ 163 h 175"/>
                  <a:gd name="T2" fmla="*/ 52 w 88"/>
                  <a:gd name="T3" fmla="*/ 155 h 175"/>
                  <a:gd name="T4" fmla="*/ 51 w 88"/>
                  <a:gd name="T5" fmla="*/ 153 h 175"/>
                  <a:gd name="T6" fmla="*/ 52 w 88"/>
                  <a:gd name="T7" fmla="*/ 157 h 175"/>
                  <a:gd name="T8" fmla="*/ 44 w 88"/>
                  <a:gd name="T9" fmla="*/ 165 h 175"/>
                  <a:gd name="T10" fmla="*/ 36 w 88"/>
                  <a:gd name="T11" fmla="*/ 157 h 175"/>
                  <a:gd name="T12" fmla="*/ 44 w 88"/>
                  <a:gd name="T13" fmla="*/ 149 h 175"/>
                  <a:gd name="T14" fmla="*/ 50 w 88"/>
                  <a:gd name="T15" fmla="*/ 152 h 175"/>
                  <a:gd name="T16" fmla="*/ 49 w 88"/>
                  <a:gd name="T17" fmla="*/ 151 h 175"/>
                  <a:gd name="T18" fmla="*/ 42 w 88"/>
                  <a:gd name="T19" fmla="*/ 141 h 175"/>
                  <a:gd name="T20" fmla="*/ 6 w 88"/>
                  <a:gd name="T21" fmla="*/ 141 h 175"/>
                  <a:gd name="T22" fmla="*/ 6 w 88"/>
                  <a:gd name="T23" fmla="*/ 27 h 175"/>
                  <a:gd name="T24" fmla="*/ 83 w 88"/>
                  <a:gd name="T25" fmla="*/ 27 h 175"/>
                  <a:gd name="T26" fmla="*/ 83 w 88"/>
                  <a:gd name="T27" fmla="*/ 52 h 175"/>
                  <a:gd name="T28" fmla="*/ 83 w 88"/>
                  <a:gd name="T29" fmla="*/ 55 h 175"/>
                  <a:gd name="T30" fmla="*/ 83 w 88"/>
                  <a:gd name="T31" fmla="*/ 64 h 175"/>
                  <a:gd name="T32" fmla="*/ 84 w 88"/>
                  <a:gd name="T33" fmla="*/ 64 h 175"/>
                  <a:gd name="T34" fmla="*/ 88 w 88"/>
                  <a:gd name="T35" fmla="*/ 65 h 175"/>
                  <a:gd name="T36" fmla="*/ 88 w 88"/>
                  <a:gd name="T37" fmla="*/ 13 h 175"/>
                  <a:gd name="T38" fmla="*/ 75 w 88"/>
                  <a:gd name="T39" fmla="*/ 0 h 175"/>
                  <a:gd name="T40" fmla="*/ 13 w 88"/>
                  <a:gd name="T41" fmla="*/ 0 h 175"/>
                  <a:gd name="T42" fmla="*/ 0 w 88"/>
                  <a:gd name="T43" fmla="*/ 13 h 175"/>
                  <a:gd name="T44" fmla="*/ 0 w 88"/>
                  <a:gd name="T45" fmla="*/ 161 h 175"/>
                  <a:gd name="T46" fmla="*/ 13 w 88"/>
                  <a:gd name="T47" fmla="*/ 175 h 175"/>
                  <a:gd name="T48" fmla="*/ 60 w 88"/>
                  <a:gd name="T49" fmla="*/ 175 h 175"/>
                  <a:gd name="T50" fmla="*/ 60 w 88"/>
                  <a:gd name="T51" fmla="*/ 163 h 175"/>
                  <a:gd name="T52" fmla="*/ 32 w 88"/>
                  <a:gd name="T53" fmla="*/ 10 h 175"/>
                  <a:gd name="T54" fmla="*/ 56 w 88"/>
                  <a:gd name="T55" fmla="*/ 10 h 175"/>
                  <a:gd name="T56" fmla="*/ 57 w 88"/>
                  <a:gd name="T57" fmla="*/ 12 h 175"/>
                  <a:gd name="T58" fmla="*/ 56 w 88"/>
                  <a:gd name="T59" fmla="*/ 13 h 175"/>
                  <a:gd name="T60" fmla="*/ 32 w 88"/>
                  <a:gd name="T61" fmla="*/ 13 h 175"/>
                  <a:gd name="T62" fmla="*/ 31 w 88"/>
                  <a:gd name="T63" fmla="*/ 12 h 175"/>
                  <a:gd name="T64" fmla="*/ 32 w 88"/>
                  <a:gd name="T65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8" h="175">
                    <a:moveTo>
                      <a:pt x="60" y="163"/>
                    </a:moveTo>
                    <a:cubicBezTo>
                      <a:pt x="52" y="155"/>
                      <a:pt x="52" y="155"/>
                      <a:pt x="52" y="155"/>
                    </a:cubicBezTo>
                    <a:cubicBezTo>
                      <a:pt x="52" y="154"/>
                      <a:pt x="51" y="154"/>
                      <a:pt x="51" y="153"/>
                    </a:cubicBezTo>
                    <a:cubicBezTo>
                      <a:pt x="51" y="154"/>
                      <a:pt x="52" y="156"/>
                      <a:pt x="52" y="157"/>
                    </a:cubicBezTo>
                    <a:cubicBezTo>
                      <a:pt x="52" y="161"/>
                      <a:pt x="48" y="165"/>
                      <a:pt x="44" y="165"/>
                    </a:cubicBezTo>
                    <a:cubicBezTo>
                      <a:pt x="40" y="165"/>
                      <a:pt x="36" y="161"/>
                      <a:pt x="36" y="157"/>
                    </a:cubicBezTo>
                    <a:cubicBezTo>
                      <a:pt x="36" y="153"/>
                      <a:pt x="40" y="149"/>
                      <a:pt x="44" y="149"/>
                    </a:cubicBezTo>
                    <a:cubicBezTo>
                      <a:pt x="46" y="149"/>
                      <a:pt x="49" y="150"/>
                      <a:pt x="50" y="152"/>
                    </a:cubicBezTo>
                    <a:cubicBezTo>
                      <a:pt x="50" y="152"/>
                      <a:pt x="50" y="151"/>
                      <a:pt x="49" y="151"/>
                    </a:cubicBezTo>
                    <a:cubicBezTo>
                      <a:pt x="46" y="147"/>
                      <a:pt x="44" y="144"/>
                      <a:pt x="42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3" y="53"/>
                      <a:pt x="83" y="54"/>
                      <a:pt x="83" y="55"/>
                    </a:cubicBezTo>
                    <a:cubicBezTo>
                      <a:pt x="83" y="64"/>
                      <a:pt x="83" y="64"/>
                      <a:pt x="83" y="64"/>
                    </a:cubicBezTo>
                    <a:cubicBezTo>
                      <a:pt x="83" y="64"/>
                      <a:pt x="84" y="64"/>
                      <a:pt x="84" y="64"/>
                    </a:cubicBezTo>
                    <a:cubicBezTo>
                      <a:pt x="86" y="64"/>
                      <a:pt x="87" y="64"/>
                      <a:pt x="88" y="65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6"/>
                      <a:pt x="82" y="0"/>
                      <a:pt x="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9"/>
                      <a:pt x="6" y="175"/>
                      <a:pt x="13" y="175"/>
                    </a:cubicBezTo>
                    <a:cubicBezTo>
                      <a:pt x="60" y="175"/>
                      <a:pt x="60" y="175"/>
                      <a:pt x="60" y="175"/>
                    </a:cubicBezTo>
                    <a:lnTo>
                      <a:pt x="60" y="163"/>
                    </a:lnTo>
                    <a:close/>
                    <a:moveTo>
                      <a:pt x="32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7" y="11"/>
                      <a:pt x="57" y="12"/>
                    </a:cubicBezTo>
                    <a:cubicBezTo>
                      <a:pt x="57" y="13"/>
                      <a:pt x="56" y="13"/>
                      <a:pt x="56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1" y="13"/>
                      <a:pt x="31" y="12"/>
                    </a:cubicBezTo>
                    <a:cubicBezTo>
                      <a:pt x="31" y="11"/>
                      <a:pt x="32" y="10"/>
                      <a:pt x="32" y="1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197"/>
              <p:cNvSpPr>
                <a:spLocks/>
              </p:cNvSpPr>
              <p:nvPr/>
            </p:nvSpPr>
            <p:spPr bwMode="auto">
              <a:xfrm>
                <a:off x="3085301" y="4216958"/>
                <a:ext cx="183325" cy="281720"/>
              </a:xfrm>
              <a:custGeom>
                <a:avLst/>
                <a:gdLst>
                  <a:gd name="T0" fmla="*/ 88 w 89"/>
                  <a:gd name="T1" fmla="*/ 72 h 137"/>
                  <a:gd name="T2" fmla="*/ 88 w 89"/>
                  <a:gd name="T3" fmla="*/ 69 h 137"/>
                  <a:gd name="T4" fmla="*/ 88 w 89"/>
                  <a:gd name="T5" fmla="*/ 48 h 137"/>
                  <a:gd name="T6" fmla="*/ 81 w 89"/>
                  <a:gd name="T7" fmla="*/ 40 h 137"/>
                  <a:gd name="T8" fmla="*/ 74 w 89"/>
                  <a:gd name="T9" fmla="*/ 48 h 137"/>
                  <a:gd name="T10" fmla="*/ 74 w 89"/>
                  <a:gd name="T11" fmla="*/ 49 h 137"/>
                  <a:gd name="T12" fmla="*/ 72 w 89"/>
                  <a:gd name="T13" fmla="*/ 49 h 137"/>
                  <a:gd name="T14" fmla="*/ 72 w 89"/>
                  <a:gd name="T15" fmla="*/ 38 h 137"/>
                  <a:gd name="T16" fmla="*/ 65 w 89"/>
                  <a:gd name="T17" fmla="*/ 30 h 137"/>
                  <a:gd name="T18" fmla="*/ 57 w 89"/>
                  <a:gd name="T19" fmla="*/ 38 h 137"/>
                  <a:gd name="T20" fmla="*/ 57 w 89"/>
                  <a:gd name="T21" fmla="*/ 44 h 137"/>
                  <a:gd name="T22" fmla="*/ 55 w 89"/>
                  <a:gd name="T23" fmla="*/ 43 h 137"/>
                  <a:gd name="T24" fmla="*/ 55 w 89"/>
                  <a:gd name="T25" fmla="*/ 31 h 137"/>
                  <a:gd name="T26" fmla="*/ 48 w 89"/>
                  <a:gd name="T27" fmla="*/ 24 h 137"/>
                  <a:gd name="T28" fmla="*/ 41 w 89"/>
                  <a:gd name="T29" fmla="*/ 31 h 137"/>
                  <a:gd name="T30" fmla="*/ 41 w 89"/>
                  <a:gd name="T31" fmla="*/ 41 h 137"/>
                  <a:gd name="T32" fmla="*/ 39 w 89"/>
                  <a:gd name="T33" fmla="*/ 41 h 137"/>
                  <a:gd name="T34" fmla="*/ 39 w 89"/>
                  <a:gd name="T35" fmla="*/ 7 h 137"/>
                  <a:gd name="T36" fmla="*/ 32 w 89"/>
                  <a:gd name="T37" fmla="*/ 0 h 137"/>
                  <a:gd name="T38" fmla="*/ 24 w 89"/>
                  <a:gd name="T39" fmla="*/ 7 h 137"/>
                  <a:gd name="T40" fmla="*/ 24 w 89"/>
                  <a:gd name="T41" fmla="*/ 67 h 137"/>
                  <a:gd name="T42" fmla="*/ 22 w 89"/>
                  <a:gd name="T43" fmla="*/ 56 h 137"/>
                  <a:gd name="T44" fmla="*/ 8 w 89"/>
                  <a:gd name="T45" fmla="*/ 40 h 137"/>
                  <a:gd name="T46" fmla="*/ 1 w 89"/>
                  <a:gd name="T47" fmla="*/ 47 h 137"/>
                  <a:gd name="T48" fmla="*/ 8 w 89"/>
                  <a:gd name="T49" fmla="*/ 73 h 137"/>
                  <a:gd name="T50" fmla="*/ 20 w 89"/>
                  <a:gd name="T51" fmla="*/ 98 h 137"/>
                  <a:gd name="T52" fmla="*/ 22 w 89"/>
                  <a:gd name="T53" fmla="*/ 101 h 137"/>
                  <a:gd name="T54" fmla="*/ 32 w 89"/>
                  <a:gd name="T55" fmla="*/ 111 h 137"/>
                  <a:gd name="T56" fmla="*/ 32 w 89"/>
                  <a:gd name="T57" fmla="*/ 137 h 137"/>
                  <a:gd name="T58" fmla="*/ 81 w 89"/>
                  <a:gd name="T59" fmla="*/ 137 h 137"/>
                  <a:gd name="T60" fmla="*/ 81 w 89"/>
                  <a:gd name="T61" fmla="*/ 111 h 137"/>
                  <a:gd name="T62" fmla="*/ 88 w 89"/>
                  <a:gd name="T63" fmla="*/ 91 h 137"/>
                  <a:gd name="T64" fmla="*/ 88 w 89"/>
                  <a:gd name="T65" fmla="*/ 73 h 137"/>
                  <a:gd name="T66" fmla="*/ 88 w 89"/>
                  <a:gd name="T67" fmla="*/ 72 h 137"/>
                  <a:gd name="T68" fmla="*/ 88 w 89"/>
                  <a:gd name="T69" fmla="*/ 7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9" h="137">
                    <a:moveTo>
                      <a:pt x="88" y="72"/>
                    </a:moveTo>
                    <a:cubicBezTo>
                      <a:pt x="89" y="71"/>
                      <a:pt x="88" y="70"/>
                      <a:pt x="88" y="69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4"/>
                      <a:pt x="85" y="40"/>
                      <a:pt x="81" y="40"/>
                    </a:cubicBezTo>
                    <a:cubicBezTo>
                      <a:pt x="77" y="40"/>
                      <a:pt x="74" y="44"/>
                      <a:pt x="74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3" y="49"/>
                      <a:pt x="73" y="49"/>
                      <a:pt x="72" y="49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4"/>
                      <a:pt x="69" y="30"/>
                      <a:pt x="65" y="30"/>
                    </a:cubicBezTo>
                    <a:cubicBezTo>
                      <a:pt x="61" y="30"/>
                      <a:pt x="57" y="34"/>
                      <a:pt x="57" y="38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56" y="44"/>
                      <a:pt x="55" y="43"/>
                    </a:cubicBezTo>
                    <a:cubicBezTo>
                      <a:pt x="55" y="31"/>
                      <a:pt x="55" y="31"/>
                      <a:pt x="55" y="31"/>
                    </a:cubicBezTo>
                    <a:cubicBezTo>
                      <a:pt x="55" y="27"/>
                      <a:pt x="52" y="24"/>
                      <a:pt x="48" y="24"/>
                    </a:cubicBezTo>
                    <a:cubicBezTo>
                      <a:pt x="44" y="24"/>
                      <a:pt x="41" y="27"/>
                      <a:pt x="41" y="3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0" y="41"/>
                      <a:pt x="40" y="41"/>
                      <a:pt x="39" y="41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28" y="0"/>
                      <a:pt x="24" y="3"/>
                      <a:pt x="24" y="7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3" y="64"/>
                      <a:pt x="23" y="60"/>
                      <a:pt x="22" y="56"/>
                    </a:cubicBezTo>
                    <a:cubicBezTo>
                      <a:pt x="19" y="44"/>
                      <a:pt x="12" y="39"/>
                      <a:pt x="8" y="40"/>
                    </a:cubicBezTo>
                    <a:cubicBezTo>
                      <a:pt x="7" y="41"/>
                      <a:pt x="0" y="43"/>
                      <a:pt x="1" y="47"/>
                    </a:cubicBezTo>
                    <a:cubicBezTo>
                      <a:pt x="2" y="49"/>
                      <a:pt x="7" y="61"/>
                      <a:pt x="8" y="73"/>
                    </a:cubicBezTo>
                    <a:cubicBezTo>
                      <a:pt x="8" y="82"/>
                      <a:pt x="14" y="91"/>
                      <a:pt x="20" y="98"/>
                    </a:cubicBezTo>
                    <a:cubicBezTo>
                      <a:pt x="21" y="99"/>
                      <a:pt x="21" y="100"/>
                      <a:pt x="22" y="101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2" y="137"/>
                      <a:pt x="32" y="137"/>
                      <a:pt x="32" y="137"/>
                    </a:cubicBezTo>
                    <a:cubicBezTo>
                      <a:pt x="81" y="137"/>
                      <a:pt x="81" y="137"/>
                      <a:pt x="81" y="137"/>
                    </a:cubicBezTo>
                    <a:cubicBezTo>
                      <a:pt x="81" y="111"/>
                      <a:pt x="81" y="111"/>
                      <a:pt x="81" y="111"/>
                    </a:cubicBezTo>
                    <a:cubicBezTo>
                      <a:pt x="85" y="105"/>
                      <a:pt x="87" y="98"/>
                      <a:pt x="88" y="91"/>
                    </a:cubicBezTo>
                    <a:cubicBezTo>
                      <a:pt x="88" y="85"/>
                      <a:pt x="88" y="79"/>
                      <a:pt x="88" y="73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10" name="组合 109"/>
          <p:cNvGrpSpPr/>
          <p:nvPr userDrawn="1"/>
        </p:nvGrpSpPr>
        <p:grpSpPr>
          <a:xfrm>
            <a:off x="223940" y="4252416"/>
            <a:ext cx="216000" cy="216000"/>
            <a:chOff x="4485069" y="3107322"/>
            <a:chExt cx="828000" cy="828000"/>
          </a:xfrm>
        </p:grpSpPr>
        <p:sp>
          <p:nvSpPr>
            <p:cNvPr id="111" name="Oval 33"/>
            <p:cNvSpPr>
              <a:spLocks noChangeArrowheads="1"/>
            </p:cNvSpPr>
            <p:nvPr/>
          </p:nvSpPr>
          <p:spPr bwMode="auto">
            <a:xfrm>
              <a:off x="4485069" y="3107322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12" name="Oval 33"/>
            <p:cNvSpPr>
              <a:spLocks noChangeArrowheads="1"/>
            </p:cNvSpPr>
            <p:nvPr/>
          </p:nvSpPr>
          <p:spPr bwMode="auto">
            <a:xfrm>
              <a:off x="4539069" y="3161322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13" name="组合 112"/>
            <p:cNvGrpSpPr/>
            <p:nvPr/>
          </p:nvGrpSpPr>
          <p:grpSpPr>
            <a:xfrm>
              <a:off x="4653670" y="3270052"/>
              <a:ext cx="441460" cy="502539"/>
              <a:chOff x="9007025" y="1146838"/>
              <a:chExt cx="1545345" cy="1759155"/>
            </a:xfrm>
          </p:grpSpPr>
          <p:grpSp>
            <p:nvGrpSpPr>
              <p:cNvPr id="114" name="组合 113"/>
              <p:cNvGrpSpPr/>
              <p:nvPr/>
            </p:nvGrpSpPr>
            <p:grpSpPr>
              <a:xfrm>
                <a:off x="9007025" y="1700817"/>
                <a:ext cx="1545345" cy="1205176"/>
                <a:chOff x="6408969" y="4266674"/>
                <a:chExt cx="329363" cy="256862"/>
              </a:xfrm>
            </p:grpSpPr>
            <p:sp>
              <p:nvSpPr>
                <p:cNvPr id="126" name="Oval 211"/>
                <p:cNvSpPr>
                  <a:spLocks noChangeArrowheads="1"/>
                </p:cNvSpPr>
                <p:nvPr/>
              </p:nvSpPr>
              <p:spPr bwMode="auto">
                <a:xfrm>
                  <a:off x="6669974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212"/>
                <p:cNvSpPr>
                  <a:spLocks/>
                </p:cNvSpPr>
                <p:nvPr/>
              </p:nvSpPr>
              <p:spPr bwMode="auto">
                <a:xfrm>
                  <a:off x="6619223" y="4321567"/>
                  <a:ext cx="119109" cy="201968"/>
                </a:xfrm>
                <a:custGeom>
                  <a:avLst/>
                  <a:gdLst>
                    <a:gd name="T0" fmla="*/ 53 w 58"/>
                    <a:gd name="T1" fmla="*/ 7 h 98"/>
                    <a:gd name="T2" fmla="*/ 48 w 58"/>
                    <a:gd name="T3" fmla="*/ 1 h 98"/>
                    <a:gd name="T4" fmla="*/ 47 w 58"/>
                    <a:gd name="T5" fmla="*/ 1 h 98"/>
                    <a:gd name="T6" fmla="*/ 43 w 58"/>
                    <a:gd name="T7" fmla="*/ 1 h 98"/>
                    <a:gd name="T8" fmla="*/ 43 w 58"/>
                    <a:gd name="T9" fmla="*/ 1 h 98"/>
                    <a:gd name="T10" fmla="*/ 47 w 58"/>
                    <a:gd name="T11" fmla="*/ 4 h 98"/>
                    <a:gd name="T12" fmla="*/ 42 w 58"/>
                    <a:gd name="T13" fmla="*/ 7 h 98"/>
                    <a:gd name="T14" fmla="*/ 44 w 58"/>
                    <a:gd name="T15" fmla="*/ 11 h 98"/>
                    <a:gd name="T16" fmla="*/ 38 w 58"/>
                    <a:gd name="T17" fmla="*/ 25 h 98"/>
                    <a:gd name="T18" fmla="*/ 37 w 58"/>
                    <a:gd name="T19" fmla="*/ 5 h 98"/>
                    <a:gd name="T20" fmla="*/ 38 w 58"/>
                    <a:gd name="T21" fmla="*/ 4 h 98"/>
                    <a:gd name="T22" fmla="*/ 37 w 58"/>
                    <a:gd name="T23" fmla="*/ 0 h 98"/>
                    <a:gd name="T24" fmla="*/ 33 w 58"/>
                    <a:gd name="T25" fmla="*/ 0 h 98"/>
                    <a:gd name="T26" fmla="*/ 32 w 58"/>
                    <a:gd name="T27" fmla="*/ 4 h 98"/>
                    <a:gd name="T28" fmla="*/ 33 w 58"/>
                    <a:gd name="T29" fmla="*/ 5 h 98"/>
                    <a:gd name="T30" fmla="*/ 32 w 58"/>
                    <a:gd name="T31" fmla="*/ 25 h 98"/>
                    <a:gd name="T32" fmla="*/ 25 w 58"/>
                    <a:gd name="T33" fmla="*/ 11 h 98"/>
                    <a:gd name="T34" fmla="*/ 28 w 58"/>
                    <a:gd name="T35" fmla="*/ 7 h 98"/>
                    <a:gd name="T36" fmla="*/ 23 w 58"/>
                    <a:gd name="T37" fmla="*/ 4 h 98"/>
                    <a:gd name="T38" fmla="*/ 27 w 58"/>
                    <a:gd name="T39" fmla="*/ 1 h 98"/>
                    <a:gd name="T40" fmla="*/ 27 w 58"/>
                    <a:gd name="T41" fmla="*/ 1 h 98"/>
                    <a:gd name="T42" fmla="*/ 22 w 58"/>
                    <a:gd name="T43" fmla="*/ 1 h 98"/>
                    <a:gd name="T44" fmla="*/ 22 w 58"/>
                    <a:gd name="T45" fmla="*/ 1 h 98"/>
                    <a:gd name="T46" fmla="*/ 17 w 58"/>
                    <a:gd name="T47" fmla="*/ 5 h 98"/>
                    <a:gd name="T48" fmla="*/ 0 w 58"/>
                    <a:gd name="T49" fmla="*/ 45 h 98"/>
                    <a:gd name="T50" fmla="*/ 12 w 58"/>
                    <a:gd name="T51" fmla="*/ 51 h 98"/>
                    <a:gd name="T52" fmla="*/ 19 w 58"/>
                    <a:gd name="T53" fmla="*/ 36 h 98"/>
                    <a:gd name="T54" fmla="*/ 18 w 58"/>
                    <a:gd name="T55" fmla="*/ 52 h 98"/>
                    <a:gd name="T56" fmla="*/ 18 w 58"/>
                    <a:gd name="T57" fmla="*/ 52 h 98"/>
                    <a:gd name="T58" fmla="*/ 20 w 58"/>
                    <a:gd name="T59" fmla="*/ 52 h 98"/>
                    <a:gd name="T60" fmla="*/ 21 w 58"/>
                    <a:gd name="T61" fmla="*/ 98 h 98"/>
                    <a:gd name="T62" fmla="*/ 34 w 58"/>
                    <a:gd name="T63" fmla="*/ 98 h 98"/>
                    <a:gd name="T64" fmla="*/ 34 w 58"/>
                    <a:gd name="T65" fmla="*/ 52 h 98"/>
                    <a:gd name="T66" fmla="*/ 35 w 58"/>
                    <a:gd name="T67" fmla="*/ 52 h 98"/>
                    <a:gd name="T68" fmla="*/ 37 w 58"/>
                    <a:gd name="T69" fmla="*/ 98 h 98"/>
                    <a:gd name="T70" fmla="*/ 50 w 58"/>
                    <a:gd name="T71" fmla="*/ 98 h 98"/>
                    <a:gd name="T72" fmla="*/ 50 w 58"/>
                    <a:gd name="T73" fmla="*/ 52 h 98"/>
                    <a:gd name="T74" fmla="*/ 51 w 58"/>
                    <a:gd name="T75" fmla="*/ 52 h 98"/>
                    <a:gd name="T76" fmla="*/ 51 w 58"/>
                    <a:gd name="T77" fmla="*/ 52 h 98"/>
                    <a:gd name="T78" fmla="*/ 51 w 58"/>
                    <a:gd name="T79" fmla="*/ 52 h 98"/>
                    <a:gd name="T80" fmla="*/ 58 w 58"/>
                    <a:gd name="T81" fmla="*/ 51 h 98"/>
                    <a:gd name="T82" fmla="*/ 53 w 58"/>
                    <a:gd name="T83" fmla="*/ 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8" h="98">
                      <a:moveTo>
                        <a:pt x="53" y="7"/>
                      </a:moveTo>
                      <a:cubicBezTo>
                        <a:pt x="53" y="4"/>
                        <a:pt x="50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1"/>
                        <a:pt x="44" y="1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7" y="4"/>
                        <a:pt x="47" y="4"/>
                        <a:pt x="47" y="4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44" y="11"/>
                        <a:pt x="44" y="11"/>
                        <a:pt x="44" y="11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7" y="5"/>
                        <a:pt x="37" y="5"/>
                        <a:pt x="37" y="5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3" y="5"/>
                        <a:pt x="33" y="5"/>
                        <a:pt x="33" y="5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5" y="1"/>
                        <a:pt x="24" y="1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0" y="1"/>
                        <a:pt x="18" y="3"/>
                        <a:pt x="17" y="5"/>
                      </a:cubicBezTo>
                      <a:cubicBezTo>
                        <a:pt x="13" y="20"/>
                        <a:pt x="7" y="32"/>
                        <a:pt x="0" y="45"/>
                      </a:cubicBezTo>
                      <a:cubicBezTo>
                        <a:pt x="4" y="47"/>
                        <a:pt x="8" y="49"/>
                        <a:pt x="12" y="51"/>
                      </a:cubicBezTo>
                      <a:cubicBezTo>
                        <a:pt x="14" y="46"/>
                        <a:pt x="16" y="41"/>
                        <a:pt x="19" y="36"/>
                      </a:cubicBezTo>
                      <a:cubicBezTo>
                        <a:pt x="18" y="41"/>
                        <a:pt x="18" y="46"/>
                        <a:pt x="18" y="52"/>
                      </a:cubicBezTo>
                      <a:cubicBezTo>
                        <a:pt x="18" y="52"/>
                        <a:pt x="18" y="52"/>
                        <a:pt x="18" y="52"/>
                      </a:cubicBezTo>
                      <a:cubicBezTo>
                        <a:pt x="19" y="52"/>
                        <a:pt x="19" y="52"/>
                        <a:pt x="20" y="52"/>
                      </a:cubicBezTo>
                      <a:cubicBezTo>
                        <a:pt x="21" y="98"/>
                        <a:pt x="21" y="98"/>
                        <a:pt x="21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4" y="84"/>
                        <a:pt x="34" y="61"/>
                        <a:pt x="34" y="52"/>
                      </a:cubicBezTo>
                      <a:cubicBezTo>
                        <a:pt x="35" y="52"/>
                        <a:pt x="35" y="52"/>
                        <a:pt x="35" y="52"/>
                      </a:cubicBezTo>
                      <a:cubicBezTo>
                        <a:pt x="37" y="98"/>
                        <a:pt x="37" y="98"/>
                        <a:pt x="37" y="98"/>
                      </a:cubicBezTo>
                      <a:cubicBezTo>
                        <a:pt x="50" y="98"/>
                        <a:pt x="50" y="98"/>
                        <a:pt x="50" y="98"/>
                      </a:cubicBezTo>
                      <a:cubicBezTo>
                        <a:pt x="50" y="84"/>
                        <a:pt x="50" y="61"/>
                        <a:pt x="50" y="52"/>
                      </a:cubicBezTo>
                      <a:cubicBezTo>
                        <a:pt x="50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1" y="52"/>
                        <a:pt x="51" y="52"/>
                        <a:pt x="51" y="52"/>
                      </a:cubicBezTo>
                      <a:cubicBezTo>
                        <a:pt x="53" y="52"/>
                        <a:pt x="56" y="52"/>
                        <a:pt x="58" y="51"/>
                      </a:cubicBezTo>
                      <a:lnTo>
                        <a:pt x="53" y="7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Oval 213"/>
                <p:cNvSpPr>
                  <a:spLocks noChangeArrowheads="1"/>
                </p:cNvSpPr>
                <p:nvPr/>
              </p:nvSpPr>
              <p:spPr bwMode="auto">
                <a:xfrm>
                  <a:off x="6462828" y="4270816"/>
                  <a:ext cx="39358" cy="46608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214"/>
                <p:cNvSpPr>
                  <a:spLocks noEditPoints="1"/>
                </p:cNvSpPr>
                <p:nvPr/>
              </p:nvSpPr>
              <p:spPr bwMode="auto">
                <a:xfrm>
                  <a:off x="6408969" y="4266674"/>
                  <a:ext cx="152253" cy="256862"/>
                </a:xfrm>
                <a:custGeom>
                  <a:avLst/>
                  <a:gdLst>
                    <a:gd name="T0" fmla="*/ 71 w 74"/>
                    <a:gd name="T1" fmla="*/ 23 h 125"/>
                    <a:gd name="T2" fmla="*/ 71 w 74"/>
                    <a:gd name="T3" fmla="*/ 23 h 125"/>
                    <a:gd name="T4" fmla="*/ 71 w 74"/>
                    <a:gd name="T5" fmla="*/ 22 h 125"/>
                    <a:gd name="T6" fmla="*/ 71 w 74"/>
                    <a:gd name="T7" fmla="*/ 17 h 125"/>
                    <a:gd name="T8" fmla="*/ 70 w 74"/>
                    <a:gd name="T9" fmla="*/ 0 h 125"/>
                    <a:gd name="T10" fmla="*/ 58 w 74"/>
                    <a:gd name="T11" fmla="*/ 12 h 125"/>
                    <a:gd name="T12" fmla="*/ 58 w 74"/>
                    <a:gd name="T13" fmla="*/ 20 h 125"/>
                    <a:gd name="T14" fmla="*/ 47 w 74"/>
                    <a:gd name="T15" fmla="*/ 31 h 125"/>
                    <a:gd name="T16" fmla="*/ 45 w 74"/>
                    <a:gd name="T17" fmla="*/ 38 h 125"/>
                    <a:gd name="T18" fmla="*/ 37 w 74"/>
                    <a:gd name="T19" fmla="*/ 32 h 125"/>
                    <a:gd name="T20" fmla="*/ 37 w 74"/>
                    <a:gd name="T21" fmla="*/ 27 h 125"/>
                    <a:gd name="T22" fmla="*/ 32 w 74"/>
                    <a:gd name="T23" fmla="*/ 31 h 125"/>
                    <a:gd name="T24" fmla="*/ 32 w 74"/>
                    <a:gd name="T25" fmla="*/ 52 h 125"/>
                    <a:gd name="T26" fmla="*/ 28 w 74"/>
                    <a:gd name="T27" fmla="*/ 34 h 125"/>
                    <a:gd name="T28" fmla="*/ 27 w 74"/>
                    <a:gd name="T29" fmla="*/ 28 h 125"/>
                    <a:gd name="T30" fmla="*/ 22 w 74"/>
                    <a:gd name="T31" fmla="*/ 28 h 125"/>
                    <a:gd name="T32" fmla="*/ 18 w 74"/>
                    <a:gd name="T33" fmla="*/ 30 h 125"/>
                    <a:gd name="T34" fmla="*/ 2 w 74"/>
                    <a:gd name="T35" fmla="*/ 48 h 125"/>
                    <a:gd name="T36" fmla="*/ 1 w 74"/>
                    <a:gd name="T37" fmla="*/ 55 h 125"/>
                    <a:gd name="T38" fmla="*/ 1 w 74"/>
                    <a:gd name="T39" fmla="*/ 55 h 125"/>
                    <a:gd name="T40" fmla="*/ 1 w 74"/>
                    <a:gd name="T41" fmla="*/ 55 h 125"/>
                    <a:gd name="T42" fmla="*/ 2 w 74"/>
                    <a:gd name="T43" fmla="*/ 57 h 125"/>
                    <a:gd name="T44" fmla="*/ 6 w 74"/>
                    <a:gd name="T45" fmla="*/ 65 h 125"/>
                    <a:gd name="T46" fmla="*/ 19 w 74"/>
                    <a:gd name="T47" fmla="*/ 72 h 125"/>
                    <a:gd name="T48" fmla="*/ 19 w 74"/>
                    <a:gd name="T49" fmla="*/ 79 h 125"/>
                    <a:gd name="T50" fmla="*/ 21 w 74"/>
                    <a:gd name="T51" fmla="*/ 125 h 125"/>
                    <a:gd name="T52" fmla="*/ 34 w 74"/>
                    <a:gd name="T53" fmla="*/ 79 h 125"/>
                    <a:gd name="T54" fmla="*/ 37 w 74"/>
                    <a:gd name="T55" fmla="*/ 125 h 125"/>
                    <a:gd name="T56" fmla="*/ 50 w 74"/>
                    <a:gd name="T57" fmla="*/ 79 h 125"/>
                    <a:gd name="T58" fmla="*/ 52 w 74"/>
                    <a:gd name="T59" fmla="*/ 79 h 125"/>
                    <a:gd name="T60" fmla="*/ 67 w 74"/>
                    <a:gd name="T61" fmla="*/ 29 h 125"/>
                    <a:gd name="T62" fmla="*/ 67 w 74"/>
                    <a:gd name="T63" fmla="*/ 29 h 125"/>
                    <a:gd name="T64" fmla="*/ 19 w 74"/>
                    <a:gd name="T65" fmla="*/ 62 h 125"/>
                    <a:gd name="T66" fmla="*/ 15 w 74"/>
                    <a:gd name="T67" fmla="*/ 54 h 125"/>
                    <a:gd name="T68" fmla="*/ 20 w 74"/>
                    <a:gd name="T69" fmla="*/ 4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4" h="125">
                      <a:moveTo>
                        <a:pt x="71" y="23"/>
                      </a:move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3"/>
                        <a:pt x="71" y="23"/>
                        <a:pt x="71" y="23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2"/>
                        <a:pt x="71" y="22"/>
                        <a:pt x="71" y="22"/>
                      </a:cubicBezTo>
                      <a:cubicBezTo>
                        <a:pt x="71" y="20"/>
                        <a:pt x="71" y="20"/>
                        <a:pt x="71" y="20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66" y="0"/>
                        <a:pt x="61" y="0"/>
                        <a:pt x="57" y="0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58" y="18"/>
                        <a:pt x="58" y="18"/>
                        <a:pt x="58" y="18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7" y="31"/>
                        <a:pt x="47" y="31"/>
                        <a:pt x="47" y="31"/>
                      </a:cubicBezTo>
                      <a:cubicBezTo>
                        <a:pt x="42" y="34"/>
                        <a:pt x="42" y="34"/>
                        <a:pt x="42" y="34"/>
                      </a:cubicBezTo>
                      <a:cubicBezTo>
                        <a:pt x="45" y="38"/>
                        <a:pt x="45" y="38"/>
                        <a:pt x="45" y="38"/>
                      </a:cubicBezTo>
                      <a:cubicBezTo>
                        <a:pt x="38" y="52"/>
                        <a:pt x="38" y="52"/>
                        <a:pt x="38" y="52"/>
                      </a:cubicBezTo>
                      <a:cubicBezTo>
                        <a:pt x="37" y="32"/>
                        <a:pt x="37" y="32"/>
                        <a:pt x="37" y="32"/>
                      </a:cubicBezTo>
                      <a:cubicBezTo>
                        <a:pt x="38" y="31"/>
                        <a:pt x="38" y="31"/>
                        <a:pt x="38" y="31"/>
                      </a:cubicBezTo>
                      <a:cubicBezTo>
                        <a:pt x="37" y="27"/>
                        <a:pt x="37" y="27"/>
                        <a:pt x="37" y="27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31"/>
                        <a:pt x="32" y="31"/>
                        <a:pt x="32" y="3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2" y="52"/>
                        <a:pt x="32" y="52"/>
                        <a:pt x="32" y="52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6" y="28"/>
                        <a:pt x="24" y="28"/>
                        <a:pt x="22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1" y="28"/>
                        <a:pt x="19" y="29"/>
                        <a:pt x="18" y="30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0" y="62"/>
                        <a:pt x="1" y="52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1" y="55"/>
                        <a:pt x="1" y="55"/>
                        <a:pt x="1" y="55"/>
                      </a:cubicBezTo>
                      <a:cubicBezTo>
                        <a:pt x="2" y="56"/>
                        <a:pt x="2" y="56"/>
                        <a:pt x="2" y="56"/>
                      </a:cubicBezTo>
                      <a:cubicBezTo>
                        <a:pt x="2" y="57"/>
                        <a:pt x="2" y="57"/>
                        <a:pt x="2" y="57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6" y="65"/>
                        <a:pt x="6" y="65"/>
                        <a:pt x="6" y="65"/>
                      </a:cubicBezTo>
                      <a:cubicBezTo>
                        <a:pt x="12" y="76"/>
                        <a:pt x="12" y="76"/>
                        <a:pt x="12" y="76"/>
                      </a:cubicBezTo>
                      <a:cubicBezTo>
                        <a:pt x="14" y="74"/>
                        <a:pt x="16" y="73"/>
                        <a:pt x="19" y="72"/>
                      </a:cubicBezTo>
                      <a:cubicBezTo>
                        <a:pt x="19" y="74"/>
                        <a:pt x="19" y="76"/>
                        <a:pt x="19" y="79"/>
                      </a:cubicBezTo>
                      <a:cubicBezTo>
                        <a:pt x="19" y="79"/>
                        <a:pt x="19" y="79"/>
                        <a:pt x="19" y="79"/>
                      </a:cubicBezTo>
                      <a:cubicBezTo>
                        <a:pt x="19" y="79"/>
                        <a:pt x="20" y="79"/>
                        <a:pt x="20" y="79"/>
                      </a:cubicBezTo>
                      <a:cubicBezTo>
                        <a:pt x="21" y="125"/>
                        <a:pt x="21" y="125"/>
                        <a:pt x="21" y="125"/>
                      </a:cubicBezTo>
                      <a:cubicBezTo>
                        <a:pt x="34" y="125"/>
                        <a:pt x="34" y="125"/>
                        <a:pt x="34" y="125"/>
                      </a:cubicBezTo>
                      <a:cubicBezTo>
                        <a:pt x="35" y="111"/>
                        <a:pt x="35" y="88"/>
                        <a:pt x="34" y="79"/>
                      </a:cubicBezTo>
                      <a:cubicBezTo>
                        <a:pt x="35" y="79"/>
                        <a:pt x="35" y="79"/>
                        <a:pt x="36" y="79"/>
                      </a:cubicBezTo>
                      <a:cubicBezTo>
                        <a:pt x="37" y="125"/>
                        <a:pt x="37" y="125"/>
                        <a:pt x="37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1" y="111"/>
                        <a:pt x="50" y="88"/>
                        <a:pt x="50" y="79"/>
                      </a:cubicBezTo>
                      <a:cubicBezTo>
                        <a:pt x="51" y="79"/>
                        <a:pt x="51" y="79"/>
                        <a:pt x="52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ubicBezTo>
                        <a:pt x="52" y="64"/>
                        <a:pt x="51" y="50"/>
                        <a:pt x="50" y="36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67" y="29"/>
                        <a:pt x="67" y="29"/>
                        <a:pt x="67" y="29"/>
                      </a:cubicBezTo>
                      <a:cubicBezTo>
                        <a:pt x="74" y="17"/>
                        <a:pt x="69" y="26"/>
                        <a:pt x="71" y="23"/>
                      </a:cubicBezTo>
                      <a:close/>
                      <a:moveTo>
                        <a:pt x="19" y="62"/>
                      </a:move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19" y="51"/>
                        <a:pt x="19" y="56"/>
                        <a:pt x="19" y="62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15" name="组合 114"/>
              <p:cNvGrpSpPr/>
              <p:nvPr/>
            </p:nvGrpSpPr>
            <p:grpSpPr>
              <a:xfrm>
                <a:off x="9471206" y="1146838"/>
                <a:ext cx="827054" cy="556479"/>
                <a:chOff x="3042794" y="2185128"/>
                <a:chExt cx="827054" cy="556479"/>
              </a:xfrm>
            </p:grpSpPr>
            <p:sp>
              <p:nvSpPr>
                <p:cNvPr id="116" name="Freeform 200"/>
                <p:cNvSpPr>
                  <a:spLocks/>
                </p:cNvSpPr>
                <p:nvPr/>
              </p:nvSpPr>
              <p:spPr bwMode="auto">
                <a:xfrm>
                  <a:off x="3507375" y="2185128"/>
                  <a:ext cx="173579" cy="51056"/>
                </a:xfrm>
                <a:custGeom>
                  <a:avLst/>
                  <a:gdLst>
                    <a:gd name="T0" fmla="*/ 34 w 34"/>
                    <a:gd name="T1" fmla="*/ 0 h 10"/>
                    <a:gd name="T2" fmla="*/ 16 w 34"/>
                    <a:gd name="T3" fmla="*/ 10 h 10"/>
                    <a:gd name="T4" fmla="*/ 0 w 34"/>
                    <a:gd name="T5" fmla="*/ 0 h 10"/>
                    <a:gd name="T6" fmla="*/ 34 w 34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16" y="10"/>
                      </a:lnTo>
                      <a:lnTo>
                        <a:pt x="0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201"/>
                <p:cNvSpPr>
                  <a:spLocks/>
                </p:cNvSpPr>
                <p:nvPr/>
              </p:nvSpPr>
              <p:spPr bwMode="auto">
                <a:xfrm>
                  <a:off x="3221480" y="2185128"/>
                  <a:ext cx="183788" cy="51056"/>
                </a:xfrm>
                <a:custGeom>
                  <a:avLst/>
                  <a:gdLst>
                    <a:gd name="T0" fmla="*/ 36 w 36"/>
                    <a:gd name="T1" fmla="*/ 0 h 10"/>
                    <a:gd name="T2" fmla="*/ 20 w 36"/>
                    <a:gd name="T3" fmla="*/ 10 h 10"/>
                    <a:gd name="T4" fmla="*/ 0 w 36"/>
                    <a:gd name="T5" fmla="*/ 0 h 10"/>
                    <a:gd name="T6" fmla="*/ 36 w 36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0">
                      <a:moveTo>
                        <a:pt x="36" y="0"/>
                      </a:moveTo>
                      <a:lnTo>
                        <a:pt x="20" y="10"/>
                      </a:lnTo>
                      <a:lnTo>
                        <a:pt x="0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202"/>
                <p:cNvSpPr>
                  <a:spLocks/>
                </p:cNvSpPr>
                <p:nvPr/>
              </p:nvSpPr>
              <p:spPr bwMode="auto">
                <a:xfrm>
                  <a:off x="3354221" y="2185133"/>
                  <a:ext cx="204209" cy="122523"/>
                </a:xfrm>
                <a:custGeom>
                  <a:avLst/>
                  <a:gdLst>
                    <a:gd name="T0" fmla="*/ 20 w 40"/>
                    <a:gd name="T1" fmla="*/ 0 h 24"/>
                    <a:gd name="T2" fmla="*/ 40 w 40"/>
                    <a:gd name="T3" fmla="*/ 14 h 24"/>
                    <a:gd name="T4" fmla="*/ 20 w 40"/>
                    <a:gd name="T5" fmla="*/ 24 h 24"/>
                    <a:gd name="T6" fmla="*/ 0 w 40"/>
                    <a:gd name="T7" fmla="*/ 14 h 24"/>
                    <a:gd name="T8" fmla="*/ 20 w 40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24">
                      <a:moveTo>
                        <a:pt x="20" y="0"/>
                      </a:moveTo>
                      <a:lnTo>
                        <a:pt x="40" y="14"/>
                      </a:lnTo>
                      <a:lnTo>
                        <a:pt x="20" y="24"/>
                      </a:lnTo>
                      <a:lnTo>
                        <a:pt x="0" y="14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203"/>
                <p:cNvSpPr>
                  <a:spLocks/>
                </p:cNvSpPr>
                <p:nvPr/>
              </p:nvSpPr>
              <p:spPr bwMode="auto">
                <a:xfrm>
                  <a:off x="3517588" y="2277027"/>
                  <a:ext cx="122523" cy="30635"/>
                </a:xfrm>
                <a:custGeom>
                  <a:avLst/>
                  <a:gdLst>
                    <a:gd name="T0" fmla="*/ 0 w 24"/>
                    <a:gd name="T1" fmla="*/ 6 h 6"/>
                    <a:gd name="T2" fmla="*/ 14 w 24"/>
                    <a:gd name="T3" fmla="*/ 0 h 6"/>
                    <a:gd name="T4" fmla="*/ 24 w 24"/>
                    <a:gd name="T5" fmla="*/ 6 h 6"/>
                    <a:gd name="T6" fmla="*/ 0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0" y="6"/>
                      </a:moveTo>
                      <a:lnTo>
                        <a:pt x="14" y="0"/>
                      </a:lnTo>
                      <a:lnTo>
                        <a:pt x="24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04"/>
                <p:cNvSpPr>
                  <a:spLocks/>
                </p:cNvSpPr>
                <p:nvPr/>
              </p:nvSpPr>
              <p:spPr bwMode="auto">
                <a:xfrm>
                  <a:off x="3272536" y="2277027"/>
                  <a:ext cx="122523" cy="30635"/>
                </a:xfrm>
                <a:custGeom>
                  <a:avLst/>
                  <a:gdLst>
                    <a:gd name="T0" fmla="*/ 24 w 24"/>
                    <a:gd name="T1" fmla="*/ 6 h 6"/>
                    <a:gd name="T2" fmla="*/ 0 w 24"/>
                    <a:gd name="T3" fmla="*/ 6 h 6"/>
                    <a:gd name="T4" fmla="*/ 10 w 24"/>
                    <a:gd name="T5" fmla="*/ 0 h 6"/>
                    <a:gd name="T6" fmla="*/ 24 w 24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6">
                      <a:moveTo>
                        <a:pt x="24" y="6"/>
                      </a:moveTo>
                      <a:lnTo>
                        <a:pt x="0" y="6"/>
                      </a:lnTo>
                      <a:lnTo>
                        <a:pt x="10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206"/>
                <p:cNvSpPr>
                  <a:spLocks/>
                </p:cNvSpPr>
                <p:nvPr/>
              </p:nvSpPr>
              <p:spPr bwMode="auto">
                <a:xfrm>
                  <a:off x="3619690" y="2195341"/>
                  <a:ext cx="239950" cy="112320"/>
                </a:xfrm>
                <a:custGeom>
                  <a:avLst/>
                  <a:gdLst>
                    <a:gd name="T0" fmla="*/ 18 w 47"/>
                    <a:gd name="T1" fmla="*/ 22 h 22"/>
                    <a:gd name="T2" fmla="*/ 18 w 47"/>
                    <a:gd name="T3" fmla="*/ 22 h 22"/>
                    <a:gd name="T4" fmla="*/ 16 w 47"/>
                    <a:gd name="T5" fmla="*/ 22 h 22"/>
                    <a:gd name="T6" fmla="*/ 0 w 47"/>
                    <a:gd name="T7" fmla="*/ 12 h 22"/>
                    <a:gd name="T8" fmla="*/ 24 w 47"/>
                    <a:gd name="T9" fmla="*/ 0 h 22"/>
                    <a:gd name="T10" fmla="*/ 47 w 47"/>
                    <a:gd name="T11" fmla="*/ 22 h 22"/>
                    <a:gd name="T12" fmla="*/ 18 w 47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22">
                      <a:moveTo>
                        <a:pt x="18" y="22"/>
                      </a:moveTo>
                      <a:lnTo>
                        <a:pt x="18" y="22"/>
                      </a:lnTo>
                      <a:lnTo>
                        <a:pt x="16" y="22"/>
                      </a:lnTo>
                      <a:lnTo>
                        <a:pt x="0" y="12"/>
                      </a:lnTo>
                      <a:lnTo>
                        <a:pt x="24" y="0"/>
                      </a:lnTo>
                      <a:lnTo>
                        <a:pt x="47" y="22"/>
                      </a:lnTo>
                      <a:lnTo>
                        <a:pt x="18" y="22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207"/>
                <p:cNvSpPr>
                  <a:spLocks/>
                </p:cNvSpPr>
                <p:nvPr/>
              </p:nvSpPr>
              <p:spPr bwMode="auto">
                <a:xfrm>
                  <a:off x="3042794" y="2185133"/>
                  <a:ext cx="250158" cy="122523"/>
                </a:xfrm>
                <a:custGeom>
                  <a:avLst/>
                  <a:gdLst>
                    <a:gd name="T0" fmla="*/ 49 w 49"/>
                    <a:gd name="T1" fmla="*/ 14 h 24"/>
                    <a:gd name="T2" fmla="*/ 33 w 49"/>
                    <a:gd name="T3" fmla="*/ 24 h 24"/>
                    <a:gd name="T4" fmla="*/ 29 w 49"/>
                    <a:gd name="T5" fmla="*/ 24 h 24"/>
                    <a:gd name="T6" fmla="*/ 29 w 49"/>
                    <a:gd name="T7" fmla="*/ 24 h 24"/>
                    <a:gd name="T8" fmla="*/ 0 w 49"/>
                    <a:gd name="T9" fmla="*/ 24 h 24"/>
                    <a:gd name="T10" fmla="*/ 23 w 49"/>
                    <a:gd name="T11" fmla="*/ 0 h 24"/>
                    <a:gd name="T12" fmla="*/ 49 w 49"/>
                    <a:gd name="T13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4">
                      <a:moveTo>
                        <a:pt x="49" y="14"/>
                      </a:moveTo>
                      <a:lnTo>
                        <a:pt x="33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0" y="24"/>
                      </a:lnTo>
                      <a:lnTo>
                        <a:pt x="23" y="0"/>
                      </a:lnTo>
                      <a:lnTo>
                        <a:pt x="49" y="14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208"/>
                <p:cNvSpPr>
                  <a:spLocks/>
                </p:cNvSpPr>
                <p:nvPr/>
              </p:nvSpPr>
              <p:spPr bwMode="auto">
                <a:xfrm>
                  <a:off x="3241901" y="2338291"/>
                  <a:ext cx="418631" cy="403316"/>
                </a:xfrm>
                <a:custGeom>
                  <a:avLst/>
                  <a:gdLst>
                    <a:gd name="T0" fmla="*/ 82 w 82"/>
                    <a:gd name="T1" fmla="*/ 0 h 79"/>
                    <a:gd name="T2" fmla="*/ 42 w 82"/>
                    <a:gd name="T3" fmla="*/ 79 h 79"/>
                    <a:gd name="T4" fmla="*/ 0 w 82"/>
                    <a:gd name="T5" fmla="*/ 0 h 79"/>
                    <a:gd name="T6" fmla="*/ 82 w 82"/>
                    <a:gd name="T7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2" h="79">
                      <a:moveTo>
                        <a:pt x="82" y="0"/>
                      </a:moveTo>
                      <a:lnTo>
                        <a:pt x="42" y="79"/>
                      </a:lnTo>
                      <a:lnTo>
                        <a:pt x="0" y="0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209"/>
                <p:cNvSpPr>
                  <a:spLocks/>
                </p:cNvSpPr>
                <p:nvPr/>
              </p:nvSpPr>
              <p:spPr bwMode="auto">
                <a:xfrm>
                  <a:off x="3517588" y="2338291"/>
                  <a:ext cx="352260" cy="342057"/>
                </a:xfrm>
                <a:custGeom>
                  <a:avLst/>
                  <a:gdLst>
                    <a:gd name="T0" fmla="*/ 36 w 69"/>
                    <a:gd name="T1" fmla="*/ 0 h 67"/>
                    <a:gd name="T2" fmla="*/ 69 w 69"/>
                    <a:gd name="T3" fmla="*/ 0 h 67"/>
                    <a:gd name="T4" fmla="*/ 0 w 69"/>
                    <a:gd name="T5" fmla="*/ 67 h 67"/>
                    <a:gd name="T6" fmla="*/ 36 w 69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" h="67">
                      <a:moveTo>
                        <a:pt x="36" y="0"/>
                      </a:moveTo>
                      <a:lnTo>
                        <a:pt x="69" y="0"/>
                      </a:lnTo>
                      <a:lnTo>
                        <a:pt x="0" y="67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210"/>
                <p:cNvSpPr>
                  <a:spLocks/>
                </p:cNvSpPr>
                <p:nvPr/>
              </p:nvSpPr>
              <p:spPr bwMode="auto">
                <a:xfrm>
                  <a:off x="3042794" y="2338291"/>
                  <a:ext cx="342057" cy="342057"/>
                </a:xfrm>
                <a:custGeom>
                  <a:avLst/>
                  <a:gdLst>
                    <a:gd name="T0" fmla="*/ 0 w 67"/>
                    <a:gd name="T1" fmla="*/ 0 h 67"/>
                    <a:gd name="T2" fmla="*/ 31 w 67"/>
                    <a:gd name="T3" fmla="*/ 0 h 67"/>
                    <a:gd name="T4" fmla="*/ 67 w 67"/>
                    <a:gd name="T5" fmla="*/ 67 h 67"/>
                    <a:gd name="T6" fmla="*/ 0 w 67"/>
                    <a:gd name="T7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lnTo>
                        <a:pt x="31" y="0"/>
                      </a:lnTo>
                      <a:lnTo>
                        <a:pt x="67" y="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134" name="组合 133"/>
          <p:cNvGrpSpPr/>
          <p:nvPr userDrawn="1"/>
        </p:nvGrpSpPr>
        <p:grpSpPr>
          <a:xfrm>
            <a:off x="230498" y="3751796"/>
            <a:ext cx="216000" cy="216000"/>
            <a:chOff x="2992433" y="3979865"/>
            <a:chExt cx="828000" cy="828000"/>
          </a:xfrm>
        </p:grpSpPr>
        <p:sp>
          <p:nvSpPr>
            <p:cNvPr id="135" name="Oval 33"/>
            <p:cNvSpPr>
              <a:spLocks noChangeArrowheads="1"/>
            </p:cNvSpPr>
            <p:nvPr/>
          </p:nvSpPr>
          <p:spPr bwMode="auto">
            <a:xfrm>
              <a:off x="2992433" y="3979865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36" name="Oval 33"/>
            <p:cNvSpPr>
              <a:spLocks noChangeArrowheads="1"/>
            </p:cNvSpPr>
            <p:nvPr/>
          </p:nvSpPr>
          <p:spPr bwMode="auto">
            <a:xfrm>
              <a:off x="3046433" y="4033865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37" name="组合 136"/>
            <p:cNvGrpSpPr/>
            <p:nvPr/>
          </p:nvGrpSpPr>
          <p:grpSpPr>
            <a:xfrm>
              <a:off x="3154433" y="4159865"/>
              <a:ext cx="504000" cy="468000"/>
              <a:chOff x="8111715" y="3136688"/>
              <a:chExt cx="425687" cy="391508"/>
            </a:xfrm>
          </p:grpSpPr>
          <p:sp>
            <p:nvSpPr>
              <p:cNvPr id="138" name="Freeform 165"/>
              <p:cNvSpPr>
                <a:spLocks noEditPoints="1"/>
              </p:cNvSpPr>
              <p:nvPr/>
            </p:nvSpPr>
            <p:spPr bwMode="auto">
              <a:xfrm>
                <a:off x="8111715" y="3388371"/>
                <a:ext cx="141896" cy="48680"/>
              </a:xfrm>
              <a:custGeom>
                <a:avLst/>
                <a:gdLst>
                  <a:gd name="T0" fmla="*/ 66 w 69"/>
                  <a:gd name="T1" fmla="*/ 10 h 24"/>
                  <a:gd name="T2" fmla="*/ 35 w 69"/>
                  <a:gd name="T3" fmla="*/ 0 h 24"/>
                  <a:gd name="T4" fmla="*/ 3 w 69"/>
                  <a:gd name="T5" fmla="*/ 10 h 24"/>
                  <a:gd name="T6" fmla="*/ 34 w 69"/>
                  <a:gd name="T7" fmla="*/ 24 h 24"/>
                  <a:gd name="T8" fmla="*/ 66 w 69"/>
                  <a:gd name="T9" fmla="*/ 10 h 24"/>
                  <a:gd name="T10" fmla="*/ 35 w 69"/>
                  <a:gd name="T11" fmla="*/ 19 h 24"/>
                  <a:gd name="T12" fmla="*/ 11 w 69"/>
                  <a:gd name="T13" fmla="*/ 9 h 24"/>
                  <a:gd name="T14" fmla="*/ 35 w 69"/>
                  <a:gd name="T15" fmla="*/ 2 h 24"/>
                  <a:gd name="T16" fmla="*/ 58 w 69"/>
                  <a:gd name="T17" fmla="*/ 9 h 24"/>
                  <a:gd name="T18" fmla="*/ 35 w 69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4">
                    <a:moveTo>
                      <a:pt x="66" y="10"/>
                    </a:moveTo>
                    <a:cubicBezTo>
                      <a:pt x="63" y="3"/>
                      <a:pt x="49" y="0"/>
                      <a:pt x="35" y="0"/>
                    </a:cubicBezTo>
                    <a:cubicBezTo>
                      <a:pt x="21" y="0"/>
                      <a:pt x="6" y="4"/>
                      <a:pt x="3" y="10"/>
                    </a:cubicBezTo>
                    <a:cubicBezTo>
                      <a:pt x="0" y="16"/>
                      <a:pt x="14" y="24"/>
                      <a:pt x="34" y="24"/>
                    </a:cubicBezTo>
                    <a:cubicBezTo>
                      <a:pt x="55" y="24"/>
                      <a:pt x="69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4" y="2"/>
                      <a:pt x="35" y="2"/>
                    </a:cubicBezTo>
                    <a:cubicBezTo>
                      <a:pt x="46" y="2"/>
                      <a:pt x="57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 166"/>
              <p:cNvSpPr>
                <a:spLocks/>
              </p:cNvSpPr>
              <p:nvPr/>
            </p:nvSpPr>
            <p:spPr bwMode="auto">
              <a:xfrm>
                <a:off x="8211146" y="3426693"/>
                <a:ext cx="36251" cy="20715"/>
              </a:xfrm>
              <a:custGeom>
                <a:avLst/>
                <a:gdLst>
                  <a:gd name="T0" fmla="*/ 10 w 35"/>
                  <a:gd name="T1" fmla="*/ 0 h 20"/>
                  <a:gd name="T2" fmla="*/ 35 w 35"/>
                  <a:gd name="T3" fmla="*/ 8 h 20"/>
                  <a:gd name="T4" fmla="*/ 20 w 35"/>
                  <a:gd name="T5" fmla="*/ 20 h 20"/>
                  <a:gd name="T6" fmla="*/ 0 w 35"/>
                  <a:gd name="T7" fmla="*/ 4 h 20"/>
                  <a:gd name="T8" fmla="*/ 10 w 35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10" y="0"/>
                    </a:moveTo>
                    <a:lnTo>
                      <a:pt x="35" y="8"/>
                    </a:lnTo>
                    <a:lnTo>
                      <a:pt x="20" y="20"/>
                    </a:lnTo>
                    <a:lnTo>
                      <a:pt x="0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 167"/>
              <p:cNvSpPr>
                <a:spLocks noEditPoints="1"/>
              </p:cNvSpPr>
              <p:nvPr/>
            </p:nvSpPr>
            <p:spPr bwMode="auto">
              <a:xfrm>
                <a:off x="8393435" y="3388371"/>
                <a:ext cx="143967" cy="48680"/>
              </a:xfrm>
              <a:custGeom>
                <a:avLst/>
                <a:gdLst>
                  <a:gd name="T0" fmla="*/ 66 w 70"/>
                  <a:gd name="T1" fmla="*/ 10 h 24"/>
                  <a:gd name="T2" fmla="*/ 35 w 70"/>
                  <a:gd name="T3" fmla="*/ 0 h 24"/>
                  <a:gd name="T4" fmla="*/ 3 w 70"/>
                  <a:gd name="T5" fmla="*/ 10 h 24"/>
                  <a:gd name="T6" fmla="*/ 35 w 70"/>
                  <a:gd name="T7" fmla="*/ 24 h 24"/>
                  <a:gd name="T8" fmla="*/ 66 w 70"/>
                  <a:gd name="T9" fmla="*/ 10 h 24"/>
                  <a:gd name="T10" fmla="*/ 35 w 70"/>
                  <a:gd name="T11" fmla="*/ 19 h 24"/>
                  <a:gd name="T12" fmla="*/ 11 w 70"/>
                  <a:gd name="T13" fmla="*/ 9 h 24"/>
                  <a:gd name="T14" fmla="*/ 35 w 70"/>
                  <a:gd name="T15" fmla="*/ 2 h 24"/>
                  <a:gd name="T16" fmla="*/ 58 w 70"/>
                  <a:gd name="T17" fmla="*/ 9 h 24"/>
                  <a:gd name="T18" fmla="*/ 35 w 70"/>
                  <a:gd name="T1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66" y="10"/>
                    </a:moveTo>
                    <a:cubicBezTo>
                      <a:pt x="63" y="4"/>
                      <a:pt x="49" y="0"/>
                      <a:pt x="35" y="0"/>
                    </a:cubicBezTo>
                    <a:cubicBezTo>
                      <a:pt x="21" y="0"/>
                      <a:pt x="7" y="3"/>
                      <a:pt x="3" y="10"/>
                    </a:cubicBezTo>
                    <a:cubicBezTo>
                      <a:pt x="0" y="16"/>
                      <a:pt x="14" y="24"/>
                      <a:pt x="35" y="24"/>
                    </a:cubicBezTo>
                    <a:cubicBezTo>
                      <a:pt x="56" y="24"/>
                      <a:pt x="70" y="16"/>
                      <a:pt x="66" y="10"/>
                    </a:cubicBezTo>
                    <a:close/>
                    <a:moveTo>
                      <a:pt x="35" y="19"/>
                    </a:moveTo>
                    <a:cubicBezTo>
                      <a:pt x="20" y="19"/>
                      <a:pt x="9" y="13"/>
                      <a:pt x="11" y="9"/>
                    </a:cubicBezTo>
                    <a:cubicBezTo>
                      <a:pt x="13" y="5"/>
                      <a:pt x="23" y="2"/>
                      <a:pt x="35" y="2"/>
                    </a:cubicBezTo>
                    <a:cubicBezTo>
                      <a:pt x="46" y="2"/>
                      <a:pt x="56" y="5"/>
                      <a:pt x="58" y="9"/>
                    </a:cubicBezTo>
                    <a:cubicBezTo>
                      <a:pt x="60" y="13"/>
                      <a:pt x="50" y="19"/>
                      <a:pt x="35" y="1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 168"/>
              <p:cNvSpPr>
                <a:spLocks/>
              </p:cNvSpPr>
              <p:nvPr/>
            </p:nvSpPr>
            <p:spPr bwMode="auto">
              <a:xfrm>
                <a:off x="8401720" y="3426693"/>
                <a:ext cx="35215" cy="20715"/>
              </a:xfrm>
              <a:custGeom>
                <a:avLst/>
                <a:gdLst>
                  <a:gd name="T0" fmla="*/ 24 w 34"/>
                  <a:gd name="T1" fmla="*/ 0 h 20"/>
                  <a:gd name="T2" fmla="*/ 0 w 34"/>
                  <a:gd name="T3" fmla="*/ 8 h 20"/>
                  <a:gd name="T4" fmla="*/ 14 w 34"/>
                  <a:gd name="T5" fmla="*/ 20 h 20"/>
                  <a:gd name="T6" fmla="*/ 34 w 34"/>
                  <a:gd name="T7" fmla="*/ 4 h 20"/>
                  <a:gd name="T8" fmla="*/ 24 w 3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4" y="0"/>
                    </a:moveTo>
                    <a:lnTo>
                      <a:pt x="0" y="8"/>
                    </a:lnTo>
                    <a:lnTo>
                      <a:pt x="14" y="20"/>
                    </a:lnTo>
                    <a:lnTo>
                      <a:pt x="34" y="4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 169"/>
              <p:cNvSpPr>
                <a:spLocks noEditPoints="1"/>
              </p:cNvSpPr>
              <p:nvPr/>
            </p:nvSpPr>
            <p:spPr bwMode="auto">
              <a:xfrm>
                <a:off x="8184216" y="3422551"/>
                <a:ext cx="279648" cy="105645"/>
              </a:xfrm>
              <a:custGeom>
                <a:avLst/>
                <a:gdLst>
                  <a:gd name="T0" fmla="*/ 129 w 136"/>
                  <a:gd name="T1" fmla="*/ 21 h 51"/>
                  <a:gd name="T2" fmla="*/ 69 w 136"/>
                  <a:gd name="T3" fmla="*/ 0 h 51"/>
                  <a:gd name="T4" fmla="*/ 7 w 136"/>
                  <a:gd name="T5" fmla="*/ 21 h 51"/>
                  <a:gd name="T6" fmla="*/ 68 w 136"/>
                  <a:gd name="T7" fmla="*/ 51 h 51"/>
                  <a:gd name="T8" fmla="*/ 129 w 136"/>
                  <a:gd name="T9" fmla="*/ 21 h 51"/>
                  <a:gd name="T10" fmla="*/ 68 w 136"/>
                  <a:gd name="T11" fmla="*/ 39 h 51"/>
                  <a:gd name="T12" fmla="*/ 22 w 136"/>
                  <a:gd name="T13" fmla="*/ 19 h 51"/>
                  <a:gd name="T14" fmla="*/ 69 w 136"/>
                  <a:gd name="T15" fmla="*/ 5 h 51"/>
                  <a:gd name="T16" fmla="*/ 115 w 136"/>
                  <a:gd name="T17" fmla="*/ 19 h 51"/>
                  <a:gd name="T18" fmla="*/ 68 w 136"/>
                  <a:gd name="T19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6" h="51">
                    <a:moveTo>
                      <a:pt x="129" y="21"/>
                    </a:moveTo>
                    <a:cubicBezTo>
                      <a:pt x="123" y="8"/>
                      <a:pt x="96" y="0"/>
                      <a:pt x="69" y="0"/>
                    </a:cubicBezTo>
                    <a:cubicBezTo>
                      <a:pt x="41" y="0"/>
                      <a:pt x="13" y="8"/>
                      <a:pt x="7" y="21"/>
                    </a:cubicBezTo>
                    <a:cubicBezTo>
                      <a:pt x="0" y="33"/>
                      <a:pt x="28" y="51"/>
                      <a:pt x="68" y="51"/>
                    </a:cubicBezTo>
                    <a:cubicBezTo>
                      <a:pt x="108" y="51"/>
                      <a:pt x="136" y="33"/>
                      <a:pt x="129" y="21"/>
                    </a:cubicBezTo>
                    <a:close/>
                    <a:moveTo>
                      <a:pt x="68" y="39"/>
                    </a:moveTo>
                    <a:cubicBezTo>
                      <a:pt x="39" y="39"/>
                      <a:pt x="19" y="28"/>
                      <a:pt x="22" y="19"/>
                    </a:cubicBezTo>
                    <a:cubicBezTo>
                      <a:pt x="26" y="10"/>
                      <a:pt x="47" y="5"/>
                      <a:pt x="69" y="5"/>
                    </a:cubicBezTo>
                    <a:cubicBezTo>
                      <a:pt x="91" y="5"/>
                      <a:pt x="111" y="10"/>
                      <a:pt x="115" y="19"/>
                    </a:cubicBezTo>
                    <a:cubicBezTo>
                      <a:pt x="118" y="28"/>
                      <a:pt x="98" y="39"/>
                      <a:pt x="68" y="39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 170"/>
              <p:cNvSpPr>
                <a:spLocks/>
              </p:cNvSpPr>
              <p:nvPr/>
            </p:nvSpPr>
            <p:spPr bwMode="auto">
              <a:xfrm>
                <a:off x="82826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 171"/>
              <p:cNvSpPr>
                <a:spLocks/>
              </p:cNvSpPr>
              <p:nvPr/>
            </p:nvSpPr>
            <p:spPr bwMode="auto">
              <a:xfrm>
                <a:off x="8326112" y="3338655"/>
                <a:ext cx="41429" cy="137753"/>
              </a:xfrm>
              <a:custGeom>
                <a:avLst/>
                <a:gdLst>
                  <a:gd name="T0" fmla="*/ 0 w 20"/>
                  <a:gd name="T1" fmla="*/ 0 h 67"/>
                  <a:gd name="T2" fmla="*/ 2 w 20"/>
                  <a:gd name="T3" fmla="*/ 67 h 67"/>
                  <a:gd name="T4" fmla="*/ 19 w 20"/>
                  <a:gd name="T5" fmla="*/ 67 h 67"/>
                  <a:gd name="T6" fmla="*/ 19 w 20"/>
                  <a:gd name="T7" fmla="*/ 0 h 67"/>
                  <a:gd name="T8" fmla="*/ 0 w 20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67">
                    <a:moveTo>
                      <a:pt x="0" y="0"/>
                    </a:moveTo>
                    <a:cubicBezTo>
                      <a:pt x="2" y="67"/>
                      <a:pt x="2" y="67"/>
                      <a:pt x="2" y="67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0" y="44"/>
                      <a:pt x="19" y="0"/>
                      <a:pt x="19" y="0"/>
                    </a:cubicBezTo>
                    <a:cubicBezTo>
                      <a:pt x="19" y="0"/>
                      <a:pt x="7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Oval 172"/>
              <p:cNvSpPr>
                <a:spLocks noChangeArrowheads="1"/>
              </p:cNvSpPr>
              <p:nvPr/>
            </p:nvSpPr>
            <p:spPr bwMode="auto">
              <a:xfrm>
                <a:off x="8297112" y="3136688"/>
                <a:ext cx="53858" cy="6421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Rectangle 173"/>
              <p:cNvSpPr>
                <a:spLocks noChangeArrowheads="1"/>
              </p:cNvSpPr>
              <p:nvPr/>
            </p:nvSpPr>
            <p:spPr bwMode="auto">
              <a:xfrm>
                <a:off x="8324041" y="3293084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 174"/>
              <p:cNvSpPr>
                <a:spLocks/>
              </p:cNvSpPr>
              <p:nvPr/>
            </p:nvSpPr>
            <p:spPr bwMode="auto">
              <a:xfrm>
                <a:off x="8261896" y="3209189"/>
                <a:ext cx="125324" cy="139824"/>
              </a:xfrm>
              <a:custGeom>
                <a:avLst/>
                <a:gdLst>
                  <a:gd name="T0" fmla="*/ 56 w 61"/>
                  <a:gd name="T1" fmla="*/ 8 h 68"/>
                  <a:gd name="T2" fmla="*/ 49 w 61"/>
                  <a:gd name="T3" fmla="*/ 1 h 68"/>
                  <a:gd name="T4" fmla="*/ 41 w 61"/>
                  <a:gd name="T5" fmla="*/ 0 h 68"/>
                  <a:gd name="T6" fmla="*/ 41 w 61"/>
                  <a:gd name="T7" fmla="*/ 0 h 68"/>
                  <a:gd name="T8" fmla="*/ 46 w 61"/>
                  <a:gd name="T9" fmla="*/ 5 h 68"/>
                  <a:gd name="T10" fmla="*/ 40 w 61"/>
                  <a:gd name="T11" fmla="*/ 8 h 68"/>
                  <a:gd name="T12" fmla="*/ 43 w 61"/>
                  <a:gd name="T13" fmla="*/ 13 h 68"/>
                  <a:gd name="T14" fmla="*/ 30 w 61"/>
                  <a:gd name="T15" fmla="*/ 41 h 68"/>
                  <a:gd name="T16" fmla="*/ 30 w 61"/>
                  <a:gd name="T17" fmla="*/ 41 h 68"/>
                  <a:gd name="T18" fmla="*/ 30 w 61"/>
                  <a:gd name="T19" fmla="*/ 41 h 68"/>
                  <a:gd name="T20" fmla="*/ 30 w 61"/>
                  <a:gd name="T21" fmla="*/ 41 h 68"/>
                  <a:gd name="T22" fmla="*/ 30 w 61"/>
                  <a:gd name="T23" fmla="*/ 41 h 68"/>
                  <a:gd name="T24" fmla="*/ 17 w 61"/>
                  <a:gd name="T25" fmla="*/ 13 h 68"/>
                  <a:gd name="T26" fmla="*/ 20 w 61"/>
                  <a:gd name="T27" fmla="*/ 8 h 68"/>
                  <a:gd name="T28" fmla="*/ 14 w 61"/>
                  <a:gd name="T29" fmla="*/ 5 h 68"/>
                  <a:gd name="T30" fmla="*/ 19 w 61"/>
                  <a:gd name="T31" fmla="*/ 0 h 68"/>
                  <a:gd name="T32" fmla="*/ 19 w 61"/>
                  <a:gd name="T33" fmla="*/ 0 h 68"/>
                  <a:gd name="T34" fmla="*/ 12 w 61"/>
                  <a:gd name="T35" fmla="*/ 1 h 68"/>
                  <a:gd name="T36" fmla="*/ 12 w 61"/>
                  <a:gd name="T37" fmla="*/ 1 h 68"/>
                  <a:gd name="T38" fmla="*/ 5 w 61"/>
                  <a:gd name="T39" fmla="*/ 8 h 68"/>
                  <a:gd name="T40" fmla="*/ 0 w 61"/>
                  <a:gd name="T41" fmla="*/ 68 h 68"/>
                  <a:gd name="T42" fmla="*/ 8 w 61"/>
                  <a:gd name="T43" fmla="*/ 68 h 68"/>
                  <a:gd name="T44" fmla="*/ 8 w 61"/>
                  <a:gd name="T45" fmla="*/ 68 h 68"/>
                  <a:gd name="T46" fmla="*/ 9 w 61"/>
                  <a:gd name="T47" fmla="*/ 68 h 68"/>
                  <a:gd name="T48" fmla="*/ 18 w 61"/>
                  <a:gd name="T49" fmla="*/ 68 h 68"/>
                  <a:gd name="T50" fmla="*/ 18 w 61"/>
                  <a:gd name="T51" fmla="*/ 68 h 68"/>
                  <a:gd name="T52" fmla="*/ 43 w 61"/>
                  <a:gd name="T53" fmla="*/ 68 h 68"/>
                  <a:gd name="T54" fmla="*/ 43 w 61"/>
                  <a:gd name="T55" fmla="*/ 68 h 68"/>
                  <a:gd name="T56" fmla="*/ 52 w 61"/>
                  <a:gd name="T57" fmla="*/ 68 h 68"/>
                  <a:gd name="T58" fmla="*/ 52 w 61"/>
                  <a:gd name="T59" fmla="*/ 68 h 68"/>
                  <a:gd name="T60" fmla="*/ 52 w 61"/>
                  <a:gd name="T61" fmla="*/ 68 h 68"/>
                  <a:gd name="T62" fmla="*/ 61 w 61"/>
                  <a:gd name="T63" fmla="*/ 68 h 68"/>
                  <a:gd name="T64" fmla="*/ 56 w 61"/>
                  <a:gd name="T65" fmla="*/ 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8">
                    <a:moveTo>
                      <a:pt x="56" y="8"/>
                    </a:moveTo>
                    <a:cubicBezTo>
                      <a:pt x="56" y="4"/>
                      <a:pt x="53" y="1"/>
                      <a:pt x="49" y="1"/>
                    </a:cubicBezTo>
                    <a:cubicBezTo>
                      <a:pt x="48" y="1"/>
                      <a:pt x="43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3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5" y="4"/>
                      <a:pt x="5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8"/>
                      <a:pt x="5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6" y="68"/>
                      <a:pt x="35" y="68"/>
                      <a:pt x="43" y="68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46" y="68"/>
                      <a:pt x="49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5" y="68"/>
                      <a:pt x="58" y="68"/>
                      <a:pt x="61" y="68"/>
                    </a:cubicBezTo>
                    <a:lnTo>
                      <a:pt x="56" y="8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 175"/>
              <p:cNvSpPr>
                <a:spLocks/>
              </p:cNvSpPr>
              <p:nvPr/>
            </p:nvSpPr>
            <p:spPr bwMode="auto">
              <a:xfrm>
                <a:off x="8315754" y="3207118"/>
                <a:ext cx="16572" cy="20715"/>
              </a:xfrm>
              <a:custGeom>
                <a:avLst/>
                <a:gdLst>
                  <a:gd name="T0" fmla="*/ 14 w 16"/>
                  <a:gd name="T1" fmla="*/ 0 h 20"/>
                  <a:gd name="T2" fmla="*/ 16 w 16"/>
                  <a:gd name="T3" fmla="*/ 12 h 20"/>
                  <a:gd name="T4" fmla="*/ 8 w 16"/>
                  <a:gd name="T5" fmla="*/ 20 h 20"/>
                  <a:gd name="T6" fmla="*/ 0 w 16"/>
                  <a:gd name="T7" fmla="*/ 12 h 20"/>
                  <a:gd name="T8" fmla="*/ 4 w 16"/>
                  <a:gd name="T9" fmla="*/ 0 h 20"/>
                  <a:gd name="T10" fmla="*/ 14 w 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20">
                    <a:moveTo>
                      <a:pt x="14" y="0"/>
                    </a:moveTo>
                    <a:lnTo>
                      <a:pt x="16" y="12"/>
                    </a:lnTo>
                    <a:lnTo>
                      <a:pt x="8" y="20"/>
                    </a:lnTo>
                    <a:lnTo>
                      <a:pt x="0" y="12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 176"/>
              <p:cNvSpPr>
                <a:spLocks/>
              </p:cNvSpPr>
              <p:nvPr/>
            </p:nvSpPr>
            <p:spPr bwMode="auto">
              <a:xfrm>
                <a:off x="8313683" y="3221619"/>
                <a:ext cx="20715" cy="79751"/>
              </a:xfrm>
              <a:custGeom>
                <a:avLst/>
                <a:gdLst>
                  <a:gd name="T0" fmla="*/ 16 w 20"/>
                  <a:gd name="T1" fmla="*/ 0 h 77"/>
                  <a:gd name="T2" fmla="*/ 20 w 20"/>
                  <a:gd name="T3" fmla="*/ 69 h 77"/>
                  <a:gd name="T4" fmla="*/ 10 w 20"/>
                  <a:gd name="T5" fmla="*/ 77 h 77"/>
                  <a:gd name="T6" fmla="*/ 0 w 20"/>
                  <a:gd name="T7" fmla="*/ 69 h 77"/>
                  <a:gd name="T8" fmla="*/ 4 w 20"/>
                  <a:gd name="T9" fmla="*/ 0 h 77"/>
                  <a:gd name="T10" fmla="*/ 16 w 20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7">
                    <a:moveTo>
                      <a:pt x="16" y="0"/>
                    </a:moveTo>
                    <a:lnTo>
                      <a:pt x="20" y="69"/>
                    </a:lnTo>
                    <a:lnTo>
                      <a:pt x="10" y="77"/>
                    </a:lnTo>
                    <a:lnTo>
                      <a:pt x="0" y="69"/>
                    </a:lnTo>
                    <a:lnTo>
                      <a:pt x="4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 177"/>
              <p:cNvSpPr>
                <a:spLocks/>
              </p:cNvSpPr>
              <p:nvPr/>
            </p:nvSpPr>
            <p:spPr bwMode="auto">
              <a:xfrm>
                <a:off x="8184217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1 w 13"/>
                  <a:gd name="T3" fmla="*/ 42 h 42"/>
                  <a:gd name="T4" fmla="*/ 12 w 13"/>
                  <a:gd name="T5" fmla="*/ 42 h 42"/>
                  <a:gd name="T6" fmla="*/ 12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1" y="42"/>
                      <a:pt x="1" y="42"/>
                      <a:pt x="1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3" y="28"/>
                      <a:pt x="12" y="0"/>
                      <a:pt x="12" y="0"/>
                    </a:cubicBezTo>
                    <a:cubicBezTo>
                      <a:pt x="12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 178"/>
              <p:cNvSpPr>
                <a:spLocks/>
              </p:cNvSpPr>
              <p:nvPr/>
            </p:nvSpPr>
            <p:spPr bwMode="auto">
              <a:xfrm>
                <a:off x="8155216" y="3324156"/>
                <a:ext cx="26929" cy="85966"/>
              </a:xfrm>
              <a:custGeom>
                <a:avLst/>
                <a:gdLst>
                  <a:gd name="T0" fmla="*/ 0 w 13"/>
                  <a:gd name="T1" fmla="*/ 0 h 42"/>
                  <a:gd name="T2" fmla="*/ 2 w 13"/>
                  <a:gd name="T3" fmla="*/ 42 h 42"/>
                  <a:gd name="T4" fmla="*/ 13 w 13"/>
                  <a:gd name="T5" fmla="*/ 42 h 42"/>
                  <a:gd name="T6" fmla="*/ 13 w 13"/>
                  <a:gd name="T7" fmla="*/ 0 h 42"/>
                  <a:gd name="T8" fmla="*/ 0 w 1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2">
                    <a:moveTo>
                      <a:pt x="0" y="0"/>
                    </a:moveTo>
                    <a:cubicBezTo>
                      <a:pt x="2" y="42"/>
                      <a:pt x="2" y="42"/>
                      <a:pt x="2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Oval 179"/>
              <p:cNvSpPr>
                <a:spLocks noChangeArrowheads="1"/>
              </p:cNvSpPr>
              <p:nvPr/>
            </p:nvSpPr>
            <p:spPr bwMode="auto">
              <a:xfrm>
                <a:off x="8165574" y="3196761"/>
                <a:ext cx="35215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Rectangle 180"/>
              <p:cNvSpPr>
                <a:spLocks noChangeArrowheads="1"/>
              </p:cNvSpPr>
              <p:nvPr/>
            </p:nvSpPr>
            <p:spPr bwMode="auto">
              <a:xfrm>
                <a:off x="8182145" y="3295155"/>
                <a:ext cx="2072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 181"/>
              <p:cNvSpPr>
                <a:spLocks noEditPoints="1"/>
              </p:cNvSpPr>
              <p:nvPr/>
            </p:nvSpPr>
            <p:spPr bwMode="auto">
              <a:xfrm>
                <a:off x="8136573" y="3242333"/>
                <a:ext cx="106681" cy="94252"/>
              </a:xfrm>
              <a:custGeom>
                <a:avLst/>
                <a:gdLst>
                  <a:gd name="T0" fmla="*/ 51 w 52"/>
                  <a:gd name="T1" fmla="*/ 17 h 46"/>
                  <a:gd name="T2" fmla="*/ 51 w 52"/>
                  <a:gd name="T3" fmla="*/ 17 h 46"/>
                  <a:gd name="T4" fmla="*/ 51 w 52"/>
                  <a:gd name="T5" fmla="*/ 17 h 46"/>
                  <a:gd name="T6" fmla="*/ 37 w 52"/>
                  <a:gd name="T7" fmla="*/ 2 h 46"/>
                  <a:gd name="T8" fmla="*/ 34 w 52"/>
                  <a:gd name="T9" fmla="*/ 0 h 46"/>
                  <a:gd name="T10" fmla="*/ 29 w 52"/>
                  <a:gd name="T11" fmla="*/ 0 h 46"/>
                  <a:gd name="T12" fmla="*/ 29 w 52"/>
                  <a:gd name="T13" fmla="*/ 0 h 46"/>
                  <a:gd name="T14" fmla="*/ 33 w 52"/>
                  <a:gd name="T15" fmla="*/ 3 h 46"/>
                  <a:gd name="T16" fmla="*/ 29 w 52"/>
                  <a:gd name="T17" fmla="*/ 5 h 46"/>
                  <a:gd name="T18" fmla="*/ 31 w 52"/>
                  <a:gd name="T19" fmla="*/ 9 h 46"/>
                  <a:gd name="T20" fmla="*/ 23 w 52"/>
                  <a:gd name="T21" fmla="*/ 26 h 46"/>
                  <a:gd name="T22" fmla="*/ 23 w 52"/>
                  <a:gd name="T23" fmla="*/ 26 h 46"/>
                  <a:gd name="T24" fmla="*/ 22 w 52"/>
                  <a:gd name="T25" fmla="*/ 26 h 46"/>
                  <a:gd name="T26" fmla="*/ 22 w 52"/>
                  <a:gd name="T27" fmla="*/ 26 h 46"/>
                  <a:gd name="T28" fmla="*/ 22 w 52"/>
                  <a:gd name="T29" fmla="*/ 26 h 46"/>
                  <a:gd name="T30" fmla="*/ 14 w 52"/>
                  <a:gd name="T31" fmla="*/ 9 h 46"/>
                  <a:gd name="T32" fmla="*/ 16 w 52"/>
                  <a:gd name="T33" fmla="*/ 5 h 46"/>
                  <a:gd name="T34" fmla="*/ 12 w 52"/>
                  <a:gd name="T35" fmla="*/ 3 h 46"/>
                  <a:gd name="T36" fmla="*/ 16 w 52"/>
                  <a:gd name="T37" fmla="*/ 0 h 46"/>
                  <a:gd name="T38" fmla="*/ 16 w 52"/>
                  <a:gd name="T39" fmla="*/ 0 h 46"/>
                  <a:gd name="T40" fmla="*/ 11 w 52"/>
                  <a:gd name="T41" fmla="*/ 0 h 46"/>
                  <a:gd name="T42" fmla="*/ 7 w 52"/>
                  <a:gd name="T43" fmla="*/ 4 h 46"/>
                  <a:gd name="T44" fmla="*/ 0 w 52"/>
                  <a:gd name="T45" fmla="*/ 23 h 46"/>
                  <a:gd name="T46" fmla="*/ 8 w 52"/>
                  <a:gd name="T47" fmla="*/ 46 h 46"/>
                  <a:gd name="T48" fmla="*/ 13 w 52"/>
                  <a:gd name="T49" fmla="*/ 44 h 46"/>
                  <a:gd name="T50" fmla="*/ 37 w 52"/>
                  <a:gd name="T51" fmla="*/ 44 h 46"/>
                  <a:gd name="T52" fmla="*/ 37 w 52"/>
                  <a:gd name="T53" fmla="*/ 43 h 46"/>
                  <a:gd name="T54" fmla="*/ 36 w 52"/>
                  <a:gd name="T55" fmla="*/ 38 h 46"/>
                  <a:gd name="T56" fmla="*/ 43 w 52"/>
                  <a:gd name="T57" fmla="*/ 41 h 46"/>
                  <a:gd name="T58" fmla="*/ 47 w 52"/>
                  <a:gd name="T59" fmla="*/ 32 h 46"/>
                  <a:gd name="T60" fmla="*/ 49 w 52"/>
                  <a:gd name="T61" fmla="*/ 27 h 46"/>
                  <a:gd name="T62" fmla="*/ 51 w 52"/>
                  <a:gd name="T63" fmla="*/ 25 h 46"/>
                  <a:gd name="T64" fmla="*/ 51 w 52"/>
                  <a:gd name="T65" fmla="*/ 24 h 46"/>
                  <a:gd name="T66" fmla="*/ 51 w 52"/>
                  <a:gd name="T67" fmla="*/ 23 h 46"/>
                  <a:gd name="T68" fmla="*/ 52 w 52"/>
                  <a:gd name="T69" fmla="*/ 23 h 46"/>
                  <a:gd name="T70" fmla="*/ 52 w 52"/>
                  <a:gd name="T71" fmla="*/ 23 h 46"/>
                  <a:gd name="T72" fmla="*/ 52 w 52"/>
                  <a:gd name="T73" fmla="*/ 23 h 46"/>
                  <a:gd name="T74" fmla="*/ 52 w 52"/>
                  <a:gd name="T75" fmla="*/ 23 h 46"/>
                  <a:gd name="T76" fmla="*/ 51 w 52"/>
                  <a:gd name="T77" fmla="*/ 17 h 46"/>
                  <a:gd name="T78" fmla="*/ 40 w 52"/>
                  <a:gd name="T79" fmla="*/ 22 h 46"/>
                  <a:gd name="T80" fmla="*/ 38 w 52"/>
                  <a:gd name="T81" fmla="*/ 27 h 46"/>
                  <a:gd name="T82" fmla="*/ 36 w 52"/>
                  <a:gd name="T83" fmla="*/ 29 h 46"/>
                  <a:gd name="T84" fmla="*/ 36 w 52"/>
                  <a:gd name="T85" fmla="*/ 15 h 46"/>
                  <a:gd name="T86" fmla="*/ 41 w 52"/>
                  <a:gd name="T87" fmla="*/ 21 h 46"/>
                  <a:gd name="T88" fmla="*/ 40 w 52"/>
                  <a:gd name="T89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2" h="46">
                    <a:moveTo>
                      <a:pt x="51" y="17"/>
                    </a:moveTo>
                    <a:cubicBezTo>
                      <a:pt x="51" y="17"/>
                      <a:pt x="51" y="17"/>
                      <a:pt x="51" y="17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6" y="1"/>
                      <a:pt x="35" y="1"/>
                      <a:pt x="34" y="0"/>
                    </a:cubicBezTo>
                    <a:cubicBezTo>
                      <a:pt x="34" y="0"/>
                      <a:pt x="31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2" y="0"/>
                      <a:pt x="11" y="0"/>
                    </a:cubicBezTo>
                    <a:cubicBezTo>
                      <a:pt x="10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" y="37"/>
                      <a:pt x="5" y="38"/>
                      <a:pt x="8" y="46"/>
                    </a:cubicBezTo>
                    <a:cubicBezTo>
                      <a:pt x="9" y="45"/>
                      <a:pt x="11" y="44"/>
                      <a:pt x="13" y="44"/>
                    </a:cubicBezTo>
                    <a:cubicBezTo>
                      <a:pt x="21" y="44"/>
                      <a:pt x="29" y="44"/>
                      <a:pt x="37" y="44"/>
                    </a:cubicBezTo>
                    <a:cubicBezTo>
                      <a:pt x="37" y="43"/>
                      <a:pt x="37" y="43"/>
                      <a:pt x="37" y="43"/>
                    </a:cubicBezTo>
                    <a:cubicBezTo>
                      <a:pt x="37" y="41"/>
                      <a:pt x="36" y="39"/>
                      <a:pt x="36" y="38"/>
                    </a:cubicBezTo>
                    <a:cubicBezTo>
                      <a:pt x="38" y="39"/>
                      <a:pt x="41" y="40"/>
                      <a:pt x="43" y="4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20"/>
                      <a:pt x="52" y="29"/>
                      <a:pt x="51" y="17"/>
                    </a:cubicBezTo>
                    <a:close/>
                    <a:moveTo>
                      <a:pt x="40" y="22"/>
                    </a:moveTo>
                    <a:cubicBezTo>
                      <a:pt x="38" y="27"/>
                      <a:pt x="38" y="27"/>
                      <a:pt x="38" y="27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4"/>
                      <a:pt x="36" y="20"/>
                      <a:pt x="36" y="15"/>
                    </a:cubicBezTo>
                    <a:cubicBezTo>
                      <a:pt x="41" y="21"/>
                      <a:pt x="41" y="21"/>
                      <a:pt x="41" y="21"/>
                    </a:cubicBezTo>
                    <a:lnTo>
                      <a:pt x="40" y="22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 182"/>
              <p:cNvSpPr>
                <a:spLocks/>
              </p:cNvSpPr>
              <p:nvPr/>
            </p:nvSpPr>
            <p:spPr bwMode="auto">
              <a:xfrm>
                <a:off x="8178002" y="3240261"/>
                <a:ext cx="10358" cy="12429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8 h 12"/>
                  <a:gd name="T4" fmla="*/ 4 w 10"/>
                  <a:gd name="T5" fmla="*/ 12 h 12"/>
                  <a:gd name="T6" fmla="*/ 10 w 10"/>
                  <a:gd name="T7" fmla="*/ 8 h 12"/>
                  <a:gd name="T8" fmla="*/ 8 w 10"/>
                  <a:gd name="T9" fmla="*/ 0 h 12"/>
                  <a:gd name="T10" fmla="*/ 2 w 10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8"/>
                    </a:lnTo>
                    <a:lnTo>
                      <a:pt x="4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183"/>
              <p:cNvSpPr>
                <a:spLocks/>
              </p:cNvSpPr>
              <p:nvPr/>
            </p:nvSpPr>
            <p:spPr bwMode="auto">
              <a:xfrm>
                <a:off x="8175930" y="3248547"/>
                <a:ext cx="14501" cy="50751"/>
              </a:xfrm>
              <a:custGeom>
                <a:avLst/>
                <a:gdLst>
                  <a:gd name="T0" fmla="*/ 4 w 14"/>
                  <a:gd name="T1" fmla="*/ 0 h 49"/>
                  <a:gd name="T2" fmla="*/ 0 w 14"/>
                  <a:gd name="T3" fmla="*/ 45 h 49"/>
                  <a:gd name="T4" fmla="*/ 6 w 14"/>
                  <a:gd name="T5" fmla="*/ 49 h 49"/>
                  <a:gd name="T6" fmla="*/ 14 w 14"/>
                  <a:gd name="T7" fmla="*/ 45 h 49"/>
                  <a:gd name="T8" fmla="*/ 10 w 14"/>
                  <a:gd name="T9" fmla="*/ 0 h 49"/>
                  <a:gd name="T10" fmla="*/ 4 w 14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9">
                    <a:moveTo>
                      <a:pt x="4" y="0"/>
                    </a:moveTo>
                    <a:lnTo>
                      <a:pt x="0" y="45"/>
                    </a:lnTo>
                    <a:lnTo>
                      <a:pt x="6" y="49"/>
                    </a:lnTo>
                    <a:lnTo>
                      <a:pt x="14" y="45"/>
                    </a:lnTo>
                    <a:lnTo>
                      <a:pt x="1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184"/>
              <p:cNvSpPr>
                <a:spLocks/>
              </p:cNvSpPr>
              <p:nvPr/>
            </p:nvSpPr>
            <p:spPr bwMode="auto">
              <a:xfrm>
                <a:off x="8465936" y="3326228"/>
                <a:ext cx="24857" cy="88037"/>
              </a:xfrm>
              <a:custGeom>
                <a:avLst/>
                <a:gdLst>
                  <a:gd name="T0" fmla="*/ 0 w 12"/>
                  <a:gd name="T1" fmla="*/ 0 h 43"/>
                  <a:gd name="T2" fmla="*/ 1 w 12"/>
                  <a:gd name="T3" fmla="*/ 43 h 43"/>
                  <a:gd name="T4" fmla="*/ 12 w 12"/>
                  <a:gd name="T5" fmla="*/ 43 h 43"/>
                  <a:gd name="T6" fmla="*/ 12 w 12"/>
                  <a:gd name="T7" fmla="*/ 0 h 43"/>
                  <a:gd name="T8" fmla="*/ 0 w 1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28"/>
                      <a:pt x="12" y="0"/>
                      <a:pt x="12" y="0"/>
                    </a:cubicBezTo>
                    <a:cubicBezTo>
                      <a:pt x="12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 185"/>
              <p:cNvSpPr>
                <a:spLocks/>
              </p:cNvSpPr>
              <p:nvPr/>
            </p:nvSpPr>
            <p:spPr bwMode="auto">
              <a:xfrm>
                <a:off x="8436936" y="3326228"/>
                <a:ext cx="26929" cy="88037"/>
              </a:xfrm>
              <a:custGeom>
                <a:avLst/>
                <a:gdLst>
                  <a:gd name="T0" fmla="*/ 0 w 13"/>
                  <a:gd name="T1" fmla="*/ 0 h 43"/>
                  <a:gd name="T2" fmla="*/ 1 w 13"/>
                  <a:gd name="T3" fmla="*/ 43 h 43"/>
                  <a:gd name="T4" fmla="*/ 13 w 13"/>
                  <a:gd name="T5" fmla="*/ 43 h 43"/>
                  <a:gd name="T6" fmla="*/ 13 w 13"/>
                  <a:gd name="T7" fmla="*/ 0 h 43"/>
                  <a:gd name="T8" fmla="*/ 0 w 1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3">
                    <a:moveTo>
                      <a:pt x="0" y="0"/>
                    </a:moveTo>
                    <a:cubicBezTo>
                      <a:pt x="1" y="43"/>
                      <a:pt x="1" y="43"/>
                      <a:pt x="1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28"/>
                      <a:pt x="13" y="0"/>
                      <a:pt x="13" y="0"/>
                    </a:cubicBezTo>
                    <a:cubicBezTo>
                      <a:pt x="13" y="0"/>
                      <a:pt x="5" y="0"/>
                      <a:pt x="0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Oval 186"/>
              <p:cNvSpPr>
                <a:spLocks noChangeArrowheads="1"/>
              </p:cNvSpPr>
              <p:nvPr/>
            </p:nvSpPr>
            <p:spPr bwMode="auto">
              <a:xfrm>
                <a:off x="8447294" y="3198832"/>
                <a:ext cx="33143" cy="41429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Rectangle 187"/>
              <p:cNvSpPr>
                <a:spLocks noChangeArrowheads="1"/>
              </p:cNvSpPr>
              <p:nvPr/>
            </p:nvSpPr>
            <p:spPr bwMode="auto">
              <a:xfrm>
                <a:off x="8463865" y="3297227"/>
                <a:ext cx="1036" cy="10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eform 188"/>
              <p:cNvSpPr>
                <a:spLocks/>
              </p:cNvSpPr>
              <p:nvPr/>
            </p:nvSpPr>
            <p:spPr bwMode="auto">
              <a:xfrm>
                <a:off x="8418292" y="3244404"/>
                <a:ext cx="89073" cy="94252"/>
              </a:xfrm>
              <a:custGeom>
                <a:avLst/>
                <a:gdLst>
                  <a:gd name="T0" fmla="*/ 42 w 43"/>
                  <a:gd name="T1" fmla="*/ 24 h 46"/>
                  <a:gd name="T2" fmla="*/ 38 w 43"/>
                  <a:gd name="T3" fmla="*/ 5 h 46"/>
                  <a:gd name="T4" fmla="*/ 34 w 43"/>
                  <a:gd name="T5" fmla="*/ 1 h 46"/>
                  <a:gd name="T6" fmla="*/ 29 w 43"/>
                  <a:gd name="T7" fmla="*/ 0 h 46"/>
                  <a:gd name="T8" fmla="*/ 29 w 43"/>
                  <a:gd name="T9" fmla="*/ 0 h 46"/>
                  <a:gd name="T10" fmla="*/ 32 w 43"/>
                  <a:gd name="T11" fmla="*/ 3 h 46"/>
                  <a:gd name="T12" fmla="*/ 28 w 43"/>
                  <a:gd name="T13" fmla="*/ 5 h 46"/>
                  <a:gd name="T14" fmla="*/ 30 w 43"/>
                  <a:gd name="T15" fmla="*/ 9 h 46"/>
                  <a:gd name="T16" fmla="*/ 22 w 43"/>
                  <a:gd name="T17" fmla="*/ 26 h 46"/>
                  <a:gd name="T18" fmla="*/ 22 w 43"/>
                  <a:gd name="T19" fmla="*/ 26 h 46"/>
                  <a:gd name="T20" fmla="*/ 22 w 43"/>
                  <a:gd name="T21" fmla="*/ 26 h 46"/>
                  <a:gd name="T22" fmla="*/ 22 w 43"/>
                  <a:gd name="T23" fmla="*/ 26 h 46"/>
                  <a:gd name="T24" fmla="*/ 22 w 43"/>
                  <a:gd name="T25" fmla="*/ 26 h 46"/>
                  <a:gd name="T26" fmla="*/ 14 w 43"/>
                  <a:gd name="T27" fmla="*/ 9 h 46"/>
                  <a:gd name="T28" fmla="*/ 16 w 43"/>
                  <a:gd name="T29" fmla="*/ 5 h 46"/>
                  <a:gd name="T30" fmla="*/ 12 w 43"/>
                  <a:gd name="T31" fmla="*/ 3 h 46"/>
                  <a:gd name="T32" fmla="*/ 15 w 43"/>
                  <a:gd name="T33" fmla="*/ 0 h 46"/>
                  <a:gd name="T34" fmla="*/ 15 w 43"/>
                  <a:gd name="T35" fmla="*/ 0 h 46"/>
                  <a:gd name="T36" fmla="*/ 11 w 43"/>
                  <a:gd name="T37" fmla="*/ 1 h 46"/>
                  <a:gd name="T38" fmla="*/ 7 w 43"/>
                  <a:gd name="T39" fmla="*/ 4 h 46"/>
                  <a:gd name="T40" fmla="*/ 0 w 43"/>
                  <a:gd name="T41" fmla="*/ 23 h 46"/>
                  <a:gd name="T42" fmla="*/ 7 w 43"/>
                  <a:gd name="T43" fmla="*/ 46 h 46"/>
                  <a:gd name="T44" fmla="*/ 12 w 43"/>
                  <a:gd name="T45" fmla="*/ 44 h 46"/>
                  <a:gd name="T46" fmla="*/ 30 w 43"/>
                  <a:gd name="T47" fmla="*/ 44 h 46"/>
                  <a:gd name="T48" fmla="*/ 30 w 43"/>
                  <a:gd name="T49" fmla="*/ 45 h 46"/>
                  <a:gd name="T50" fmla="*/ 42 w 43"/>
                  <a:gd name="T51" fmla="*/ 45 h 46"/>
                  <a:gd name="T52" fmla="*/ 42 w 43"/>
                  <a:gd name="T5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" h="46">
                    <a:moveTo>
                      <a:pt x="42" y="24"/>
                    </a:moveTo>
                    <a:cubicBezTo>
                      <a:pt x="38" y="5"/>
                      <a:pt x="38" y="5"/>
                      <a:pt x="38" y="5"/>
                    </a:cubicBezTo>
                    <a:cubicBezTo>
                      <a:pt x="37" y="3"/>
                      <a:pt x="36" y="1"/>
                      <a:pt x="34" y="1"/>
                    </a:cubicBezTo>
                    <a:cubicBezTo>
                      <a:pt x="34" y="1"/>
                      <a:pt x="3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1" y="0"/>
                      <a:pt x="11" y="1"/>
                    </a:cubicBezTo>
                    <a:cubicBezTo>
                      <a:pt x="9" y="1"/>
                      <a:pt x="8" y="2"/>
                      <a:pt x="7" y="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37"/>
                      <a:pt x="5" y="38"/>
                      <a:pt x="7" y="46"/>
                    </a:cubicBezTo>
                    <a:cubicBezTo>
                      <a:pt x="9" y="45"/>
                      <a:pt x="11" y="44"/>
                      <a:pt x="12" y="44"/>
                    </a:cubicBezTo>
                    <a:cubicBezTo>
                      <a:pt x="18" y="44"/>
                      <a:pt x="24" y="44"/>
                      <a:pt x="30" y="44"/>
                    </a:cubicBezTo>
                    <a:cubicBezTo>
                      <a:pt x="30" y="44"/>
                      <a:pt x="30" y="44"/>
                      <a:pt x="30" y="45"/>
                    </a:cubicBezTo>
                    <a:cubicBezTo>
                      <a:pt x="34" y="45"/>
                      <a:pt x="38" y="45"/>
                      <a:pt x="42" y="45"/>
                    </a:cubicBezTo>
                    <a:cubicBezTo>
                      <a:pt x="42" y="38"/>
                      <a:pt x="43" y="33"/>
                      <a:pt x="42" y="24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Freeform 189"/>
              <p:cNvSpPr>
                <a:spLocks/>
              </p:cNvSpPr>
              <p:nvPr/>
            </p:nvSpPr>
            <p:spPr bwMode="auto">
              <a:xfrm>
                <a:off x="8457650" y="3244404"/>
                <a:ext cx="12429" cy="12429"/>
              </a:xfrm>
              <a:custGeom>
                <a:avLst/>
                <a:gdLst>
                  <a:gd name="T0" fmla="*/ 2 w 12"/>
                  <a:gd name="T1" fmla="*/ 0 h 12"/>
                  <a:gd name="T2" fmla="*/ 0 w 12"/>
                  <a:gd name="T3" fmla="*/ 8 h 12"/>
                  <a:gd name="T4" fmla="*/ 6 w 12"/>
                  <a:gd name="T5" fmla="*/ 12 h 12"/>
                  <a:gd name="T6" fmla="*/ 12 w 12"/>
                  <a:gd name="T7" fmla="*/ 8 h 12"/>
                  <a:gd name="T8" fmla="*/ 10 w 12"/>
                  <a:gd name="T9" fmla="*/ 0 h 12"/>
                  <a:gd name="T10" fmla="*/ 2 w 12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lnTo>
                      <a:pt x="0" y="8"/>
                    </a:lnTo>
                    <a:lnTo>
                      <a:pt x="6" y="12"/>
                    </a:lnTo>
                    <a:lnTo>
                      <a:pt x="12" y="8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Freeform 190"/>
              <p:cNvSpPr>
                <a:spLocks/>
              </p:cNvSpPr>
              <p:nvPr/>
            </p:nvSpPr>
            <p:spPr bwMode="auto">
              <a:xfrm>
                <a:off x="8457650" y="3252690"/>
                <a:ext cx="12429" cy="50751"/>
              </a:xfrm>
              <a:custGeom>
                <a:avLst/>
                <a:gdLst>
                  <a:gd name="T0" fmla="*/ 2 w 12"/>
                  <a:gd name="T1" fmla="*/ 0 h 49"/>
                  <a:gd name="T2" fmla="*/ 0 w 12"/>
                  <a:gd name="T3" fmla="*/ 43 h 49"/>
                  <a:gd name="T4" fmla="*/ 6 w 12"/>
                  <a:gd name="T5" fmla="*/ 49 h 49"/>
                  <a:gd name="T6" fmla="*/ 12 w 12"/>
                  <a:gd name="T7" fmla="*/ 43 h 49"/>
                  <a:gd name="T8" fmla="*/ 10 w 12"/>
                  <a:gd name="T9" fmla="*/ 0 h 49"/>
                  <a:gd name="T10" fmla="*/ 2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2" y="0"/>
                    </a:moveTo>
                    <a:lnTo>
                      <a:pt x="0" y="43"/>
                    </a:lnTo>
                    <a:lnTo>
                      <a:pt x="6" y="49"/>
                    </a:lnTo>
                    <a:lnTo>
                      <a:pt x="12" y="43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64" name="组合 163"/>
          <p:cNvGrpSpPr/>
          <p:nvPr userDrawn="1"/>
        </p:nvGrpSpPr>
        <p:grpSpPr>
          <a:xfrm>
            <a:off x="232718" y="3262561"/>
            <a:ext cx="216000" cy="216000"/>
            <a:chOff x="5138914" y="4010841"/>
            <a:chExt cx="828000" cy="828000"/>
          </a:xfrm>
        </p:grpSpPr>
        <p:sp>
          <p:nvSpPr>
            <p:cNvPr id="165" name="Oval 33"/>
            <p:cNvSpPr>
              <a:spLocks noChangeArrowheads="1"/>
            </p:cNvSpPr>
            <p:nvPr/>
          </p:nvSpPr>
          <p:spPr bwMode="auto">
            <a:xfrm>
              <a:off x="5138914" y="4010841"/>
              <a:ext cx="828000" cy="82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166" name="Oval 33"/>
            <p:cNvSpPr>
              <a:spLocks noChangeArrowheads="1"/>
            </p:cNvSpPr>
            <p:nvPr/>
          </p:nvSpPr>
          <p:spPr bwMode="auto">
            <a:xfrm>
              <a:off x="5192914" y="4064841"/>
              <a:ext cx="720000" cy="720000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</p:spPr>
          <p:txBody>
            <a:bodyPr/>
            <a:lstStyle/>
            <a:p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grpSp>
          <p:nvGrpSpPr>
            <p:cNvPr id="167" name="组合 166"/>
            <p:cNvGrpSpPr/>
            <p:nvPr/>
          </p:nvGrpSpPr>
          <p:grpSpPr>
            <a:xfrm>
              <a:off x="5336914" y="4208841"/>
              <a:ext cx="432000" cy="432000"/>
              <a:chOff x="5526525" y="3190546"/>
              <a:chExt cx="364578" cy="339721"/>
            </a:xfrm>
          </p:grpSpPr>
          <p:sp>
            <p:nvSpPr>
              <p:cNvPr id="168" name="Freeform 143"/>
              <p:cNvSpPr>
                <a:spLocks/>
              </p:cNvSpPr>
              <p:nvPr/>
            </p:nvSpPr>
            <p:spPr bwMode="auto">
              <a:xfrm>
                <a:off x="5574169" y="3252690"/>
                <a:ext cx="90109" cy="90109"/>
              </a:xfrm>
              <a:custGeom>
                <a:avLst/>
                <a:gdLst>
                  <a:gd name="T0" fmla="*/ 0 w 44"/>
                  <a:gd name="T1" fmla="*/ 22 h 44"/>
                  <a:gd name="T2" fmla="*/ 22 w 44"/>
                  <a:gd name="T3" fmla="*/ 44 h 44"/>
                  <a:gd name="T4" fmla="*/ 44 w 44"/>
                  <a:gd name="T5" fmla="*/ 25 h 44"/>
                  <a:gd name="T6" fmla="*/ 19 w 44"/>
                  <a:gd name="T7" fmla="*/ 25 h 44"/>
                  <a:gd name="T8" fmla="*/ 19 w 44"/>
                  <a:gd name="T9" fmla="*/ 0 h 44"/>
                  <a:gd name="T10" fmla="*/ 0 w 44"/>
                  <a:gd name="T11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22"/>
                    </a:moveTo>
                    <a:cubicBezTo>
                      <a:pt x="0" y="34"/>
                      <a:pt x="10" y="44"/>
                      <a:pt x="22" y="44"/>
                    </a:cubicBezTo>
                    <a:cubicBezTo>
                      <a:pt x="33" y="44"/>
                      <a:pt x="43" y="36"/>
                      <a:pt x="44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2"/>
                      <a:pt x="0" y="11"/>
                      <a:pt x="0" y="2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eform 144"/>
              <p:cNvSpPr>
                <a:spLocks noEditPoints="1"/>
              </p:cNvSpPr>
              <p:nvPr/>
            </p:nvSpPr>
            <p:spPr bwMode="auto">
              <a:xfrm>
                <a:off x="5619740" y="3252690"/>
                <a:ext cx="44537" cy="44537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0 w 22"/>
                  <a:gd name="T5" fmla="*/ 22 h 22"/>
                  <a:gd name="T6" fmla="*/ 22 w 22"/>
                  <a:gd name="T7" fmla="*/ 22 h 22"/>
                  <a:gd name="T8" fmla="*/ 0 w 22"/>
                  <a:gd name="T9" fmla="*/ 0 h 22"/>
                  <a:gd name="T10" fmla="*/ 2 w 22"/>
                  <a:gd name="T11" fmla="*/ 3 h 22"/>
                  <a:gd name="T12" fmla="*/ 19 w 22"/>
                  <a:gd name="T13" fmla="*/ 20 h 22"/>
                  <a:gd name="T14" fmla="*/ 2 w 22"/>
                  <a:gd name="T15" fmla="*/ 20 h 22"/>
                  <a:gd name="T16" fmla="*/ 2 w 22"/>
                  <a:gd name="T1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10"/>
                      <a:pt x="12" y="0"/>
                      <a:pt x="0" y="0"/>
                    </a:cubicBezTo>
                    <a:close/>
                    <a:moveTo>
                      <a:pt x="2" y="3"/>
                    </a:moveTo>
                    <a:cubicBezTo>
                      <a:pt x="11" y="4"/>
                      <a:pt x="18" y="11"/>
                      <a:pt x="19" y="20"/>
                    </a:cubicBezTo>
                    <a:cubicBezTo>
                      <a:pt x="2" y="20"/>
                      <a:pt x="2" y="20"/>
                      <a:pt x="2" y="20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0" name="Freeform 145"/>
              <p:cNvSpPr>
                <a:spLocks/>
              </p:cNvSpPr>
              <p:nvPr/>
            </p:nvSpPr>
            <p:spPr bwMode="auto">
              <a:xfrm>
                <a:off x="5684991" y="3282726"/>
                <a:ext cx="82859" cy="10358"/>
              </a:xfrm>
              <a:custGeom>
                <a:avLst/>
                <a:gdLst>
                  <a:gd name="T0" fmla="*/ 0 w 80"/>
                  <a:gd name="T1" fmla="*/ 6 h 10"/>
                  <a:gd name="T2" fmla="*/ 30 w 80"/>
                  <a:gd name="T3" fmla="*/ 10 h 10"/>
                  <a:gd name="T4" fmla="*/ 72 w 80"/>
                  <a:gd name="T5" fmla="*/ 10 h 10"/>
                  <a:gd name="T6" fmla="*/ 80 w 80"/>
                  <a:gd name="T7" fmla="*/ 0 h 10"/>
                  <a:gd name="T8" fmla="*/ 0 w 80"/>
                  <a:gd name="T9" fmla="*/ 0 h 10"/>
                  <a:gd name="T10" fmla="*/ 0 w 80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0">
                    <a:moveTo>
                      <a:pt x="0" y="6"/>
                    </a:moveTo>
                    <a:lnTo>
                      <a:pt x="30" y="10"/>
                    </a:lnTo>
                    <a:lnTo>
                      <a:pt x="72" y="10"/>
                    </a:lnTo>
                    <a:lnTo>
                      <a:pt x="8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Freeform 146"/>
              <p:cNvSpPr>
                <a:spLocks/>
              </p:cNvSpPr>
              <p:nvPr/>
            </p:nvSpPr>
            <p:spPr bwMode="auto">
              <a:xfrm>
                <a:off x="5684992" y="3262011"/>
                <a:ext cx="108752" cy="10358"/>
              </a:xfrm>
              <a:custGeom>
                <a:avLst/>
                <a:gdLst>
                  <a:gd name="T0" fmla="*/ 0 w 53"/>
                  <a:gd name="T1" fmla="*/ 0 h 5"/>
                  <a:gd name="T2" fmla="*/ 0 w 53"/>
                  <a:gd name="T3" fmla="*/ 5 h 5"/>
                  <a:gd name="T4" fmla="*/ 53 w 53"/>
                  <a:gd name="T5" fmla="*/ 5 h 5"/>
                  <a:gd name="T6" fmla="*/ 50 w 53"/>
                  <a:gd name="T7" fmla="*/ 0 h 5"/>
                  <a:gd name="T8" fmla="*/ 0 w 5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5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2" y="4"/>
                      <a:pt x="51" y="2"/>
                      <a:pt x="5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Freeform 147"/>
              <p:cNvSpPr>
                <a:spLocks/>
              </p:cNvSpPr>
              <p:nvPr/>
            </p:nvSpPr>
            <p:spPr bwMode="auto">
              <a:xfrm>
                <a:off x="5526525" y="3190546"/>
                <a:ext cx="364578" cy="187468"/>
              </a:xfrm>
              <a:custGeom>
                <a:avLst/>
                <a:gdLst>
                  <a:gd name="T0" fmla="*/ 0 w 177"/>
                  <a:gd name="T1" fmla="*/ 0 h 91"/>
                  <a:gd name="T2" fmla="*/ 0 w 177"/>
                  <a:gd name="T3" fmla="*/ 20 h 91"/>
                  <a:gd name="T4" fmla="*/ 9 w 177"/>
                  <a:gd name="T5" fmla="*/ 20 h 91"/>
                  <a:gd name="T6" fmla="*/ 9 w 177"/>
                  <a:gd name="T7" fmla="*/ 91 h 91"/>
                  <a:gd name="T8" fmla="*/ 116 w 177"/>
                  <a:gd name="T9" fmla="*/ 91 h 91"/>
                  <a:gd name="T10" fmla="*/ 117 w 177"/>
                  <a:gd name="T11" fmla="*/ 85 h 91"/>
                  <a:gd name="T12" fmla="*/ 14 w 177"/>
                  <a:gd name="T13" fmla="*/ 85 h 91"/>
                  <a:gd name="T14" fmla="*/ 14 w 177"/>
                  <a:gd name="T15" fmla="*/ 20 h 91"/>
                  <a:gd name="T16" fmla="*/ 126 w 177"/>
                  <a:gd name="T17" fmla="*/ 20 h 91"/>
                  <a:gd name="T18" fmla="*/ 141 w 177"/>
                  <a:gd name="T19" fmla="*/ 8 h 91"/>
                  <a:gd name="T20" fmla="*/ 156 w 177"/>
                  <a:gd name="T21" fmla="*/ 20 h 91"/>
                  <a:gd name="T22" fmla="*/ 163 w 177"/>
                  <a:gd name="T23" fmla="*/ 20 h 91"/>
                  <a:gd name="T24" fmla="*/ 163 w 177"/>
                  <a:gd name="T25" fmla="*/ 42 h 91"/>
                  <a:gd name="T26" fmla="*/ 168 w 177"/>
                  <a:gd name="T27" fmla="*/ 48 h 91"/>
                  <a:gd name="T28" fmla="*/ 168 w 177"/>
                  <a:gd name="T29" fmla="*/ 20 h 91"/>
                  <a:gd name="T30" fmla="*/ 177 w 177"/>
                  <a:gd name="T31" fmla="*/ 20 h 91"/>
                  <a:gd name="T32" fmla="*/ 177 w 177"/>
                  <a:gd name="T33" fmla="*/ 0 h 91"/>
                  <a:gd name="T34" fmla="*/ 0 w 177"/>
                  <a:gd name="T3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91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91"/>
                      <a:pt x="9" y="91"/>
                      <a:pt x="9" y="91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17" y="89"/>
                      <a:pt x="117" y="87"/>
                      <a:pt x="117" y="85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28" y="13"/>
                      <a:pt x="134" y="8"/>
                      <a:pt x="141" y="8"/>
                    </a:cubicBezTo>
                    <a:cubicBezTo>
                      <a:pt x="148" y="8"/>
                      <a:pt x="154" y="13"/>
                      <a:pt x="156" y="20"/>
                    </a:cubicBezTo>
                    <a:cubicBezTo>
                      <a:pt x="163" y="20"/>
                      <a:pt x="163" y="20"/>
                      <a:pt x="163" y="20"/>
                    </a:cubicBezTo>
                    <a:cubicBezTo>
                      <a:pt x="163" y="42"/>
                      <a:pt x="163" y="42"/>
                      <a:pt x="163" y="42"/>
                    </a:cubicBezTo>
                    <a:cubicBezTo>
                      <a:pt x="165" y="43"/>
                      <a:pt x="167" y="45"/>
                      <a:pt x="168" y="48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77" y="20"/>
                      <a:pt x="177" y="20"/>
                      <a:pt x="177" y="20"/>
                    </a:cubicBezTo>
                    <a:cubicBezTo>
                      <a:pt x="177" y="0"/>
                      <a:pt x="177" y="0"/>
                      <a:pt x="177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Oval 148"/>
              <p:cNvSpPr>
                <a:spLocks noChangeArrowheads="1"/>
              </p:cNvSpPr>
              <p:nvPr/>
            </p:nvSpPr>
            <p:spPr bwMode="auto">
              <a:xfrm>
                <a:off x="5791673" y="3215404"/>
                <a:ext cx="49715" cy="5903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49"/>
              <p:cNvSpPr>
                <a:spLocks/>
              </p:cNvSpPr>
              <p:nvPr/>
            </p:nvSpPr>
            <p:spPr bwMode="auto">
              <a:xfrm>
                <a:off x="5687063" y="3278583"/>
                <a:ext cx="187468" cy="251684"/>
              </a:xfrm>
              <a:custGeom>
                <a:avLst/>
                <a:gdLst>
                  <a:gd name="T0" fmla="*/ 80 w 91"/>
                  <a:gd name="T1" fmla="*/ 2 h 122"/>
                  <a:gd name="T2" fmla="*/ 79 w 91"/>
                  <a:gd name="T3" fmla="*/ 2 h 122"/>
                  <a:gd name="T4" fmla="*/ 79 w 91"/>
                  <a:gd name="T5" fmla="*/ 2 h 122"/>
                  <a:gd name="T6" fmla="*/ 73 w 91"/>
                  <a:gd name="T7" fmla="*/ 1 h 122"/>
                  <a:gd name="T8" fmla="*/ 73 w 91"/>
                  <a:gd name="T9" fmla="*/ 2 h 122"/>
                  <a:gd name="T10" fmla="*/ 78 w 91"/>
                  <a:gd name="T11" fmla="*/ 6 h 122"/>
                  <a:gd name="T12" fmla="*/ 72 w 91"/>
                  <a:gd name="T13" fmla="*/ 9 h 122"/>
                  <a:gd name="T14" fmla="*/ 75 w 91"/>
                  <a:gd name="T15" fmla="*/ 14 h 122"/>
                  <a:gd name="T16" fmla="*/ 67 w 91"/>
                  <a:gd name="T17" fmla="*/ 31 h 122"/>
                  <a:gd name="T18" fmla="*/ 66 w 91"/>
                  <a:gd name="T19" fmla="*/ 7 h 122"/>
                  <a:gd name="T20" fmla="*/ 67 w 91"/>
                  <a:gd name="T21" fmla="*/ 6 h 122"/>
                  <a:gd name="T22" fmla="*/ 65 w 91"/>
                  <a:gd name="T23" fmla="*/ 0 h 122"/>
                  <a:gd name="T24" fmla="*/ 61 w 91"/>
                  <a:gd name="T25" fmla="*/ 0 h 122"/>
                  <a:gd name="T26" fmla="*/ 59 w 91"/>
                  <a:gd name="T27" fmla="*/ 6 h 122"/>
                  <a:gd name="T28" fmla="*/ 60 w 91"/>
                  <a:gd name="T29" fmla="*/ 7 h 122"/>
                  <a:gd name="T30" fmla="*/ 59 w 91"/>
                  <a:gd name="T31" fmla="*/ 31 h 122"/>
                  <a:gd name="T32" fmla="*/ 51 w 91"/>
                  <a:gd name="T33" fmla="*/ 14 h 122"/>
                  <a:gd name="T34" fmla="*/ 54 w 91"/>
                  <a:gd name="T35" fmla="*/ 9 h 122"/>
                  <a:gd name="T36" fmla="*/ 48 w 91"/>
                  <a:gd name="T37" fmla="*/ 6 h 122"/>
                  <a:gd name="T38" fmla="*/ 53 w 91"/>
                  <a:gd name="T39" fmla="*/ 2 h 122"/>
                  <a:gd name="T40" fmla="*/ 53 w 91"/>
                  <a:gd name="T41" fmla="*/ 1 h 122"/>
                  <a:gd name="T42" fmla="*/ 49 w 91"/>
                  <a:gd name="T43" fmla="*/ 2 h 122"/>
                  <a:gd name="T44" fmla="*/ 47 w 91"/>
                  <a:gd name="T45" fmla="*/ 2 h 122"/>
                  <a:gd name="T46" fmla="*/ 47 w 91"/>
                  <a:gd name="T47" fmla="*/ 2 h 122"/>
                  <a:gd name="T48" fmla="*/ 46 w 91"/>
                  <a:gd name="T49" fmla="*/ 2 h 122"/>
                  <a:gd name="T50" fmla="*/ 44 w 91"/>
                  <a:gd name="T51" fmla="*/ 4 h 122"/>
                  <a:gd name="T52" fmla="*/ 34 w 91"/>
                  <a:gd name="T53" fmla="*/ 13 h 122"/>
                  <a:gd name="T54" fmla="*/ 34 w 91"/>
                  <a:gd name="T55" fmla="*/ 14 h 122"/>
                  <a:gd name="T56" fmla="*/ 29 w 91"/>
                  <a:gd name="T57" fmla="*/ 13 h 122"/>
                  <a:gd name="T58" fmla="*/ 2 w 91"/>
                  <a:gd name="T59" fmla="*/ 9 h 122"/>
                  <a:gd name="T60" fmla="*/ 0 w 91"/>
                  <a:gd name="T61" fmla="*/ 26 h 122"/>
                  <a:gd name="T62" fmla="*/ 27 w 91"/>
                  <a:gd name="T63" fmla="*/ 28 h 122"/>
                  <a:gd name="T64" fmla="*/ 34 w 91"/>
                  <a:gd name="T65" fmla="*/ 29 h 122"/>
                  <a:gd name="T66" fmla="*/ 35 w 91"/>
                  <a:gd name="T67" fmla="*/ 29 h 122"/>
                  <a:gd name="T68" fmla="*/ 36 w 91"/>
                  <a:gd name="T69" fmla="*/ 29 h 122"/>
                  <a:gd name="T70" fmla="*/ 43 w 91"/>
                  <a:gd name="T71" fmla="*/ 26 h 122"/>
                  <a:gd name="T72" fmla="*/ 43 w 91"/>
                  <a:gd name="T73" fmla="*/ 25 h 122"/>
                  <a:gd name="T74" fmla="*/ 42 w 91"/>
                  <a:gd name="T75" fmla="*/ 65 h 122"/>
                  <a:gd name="T76" fmla="*/ 42 w 91"/>
                  <a:gd name="T77" fmla="*/ 65 h 122"/>
                  <a:gd name="T78" fmla="*/ 44 w 91"/>
                  <a:gd name="T79" fmla="*/ 65 h 122"/>
                  <a:gd name="T80" fmla="*/ 46 w 91"/>
                  <a:gd name="T81" fmla="*/ 122 h 122"/>
                  <a:gd name="T82" fmla="*/ 62 w 91"/>
                  <a:gd name="T83" fmla="*/ 122 h 122"/>
                  <a:gd name="T84" fmla="*/ 62 w 91"/>
                  <a:gd name="T85" fmla="*/ 65 h 122"/>
                  <a:gd name="T86" fmla="*/ 64 w 91"/>
                  <a:gd name="T87" fmla="*/ 65 h 122"/>
                  <a:gd name="T88" fmla="*/ 66 w 91"/>
                  <a:gd name="T89" fmla="*/ 122 h 122"/>
                  <a:gd name="T90" fmla="*/ 82 w 91"/>
                  <a:gd name="T91" fmla="*/ 122 h 122"/>
                  <a:gd name="T92" fmla="*/ 82 w 91"/>
                  <a:gd name="T93" fmla="*/ 65 h 122"/>
                  <a:gd name="T94" fmla="*/ 84 w 91"/>
                  <a:gd name="T95" fmla="*/ 65 h 122"/>
                  <a:gd name="T96" fmla="*/ 84 w 91"/>
                  <a:gd name="T97" fmla="*/ 65 h 122"/>
                  <a:gd name="T98" fmla="*/ 91 w 91"/>
                  <a:gd name="T99" fmla="*/ 64 h 122"/>
                  <a:gd name="T100" fmla="*/ 87 w 91"/>
                  <a:gd name="T101" fmla="*/ 9 h 122"/>
                  <a:gd name="T102" fmla="*/ 80 w 91"/>
                  <a:gd name="T103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1" h="122">
                    <a:moveTo>
                      <a:pt x="80" y="2"/>
                    </a:moveTo>
                    <a:cubicBezTo>
                      <a:pt x="79" y="2"/>
                      <a:pt x="79" y="2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7" y="2"/>
                      <a:pt x="75" y="2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2" y="2"/>
                      <a:pt x="50" y="2"/>
                      <a:pt x="49" y="2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6" y="2"/>
                    </a:cubicBezTo>
                    <a:cubicBezTo>
                      <a:pt x="45" y="3"/>
                      <a:pt x="45" y="3"/>
                      <a:pt x="44" y="4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4"/>
                      <a:pt x="1" y="20"/>
                      <a:pt x="0" y="26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5" y="29"/>
                      <a:pt x="35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8"/>
                      <a:pt x="43" y="26"/>
                      <a:pt x="43" y="26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8"/>
                      <a:pt x="43" y="51"/>
                      <a:pt x="42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3" y="65"/>
                      <a:pt x="44" y="65"/>
                      <a:pt x="44" y="65"/>
                    </a:cubicBezTo>
                    <a:cubicBezTo>
                      <a:pt x="46" y="122"/>
                      <a:pt x="46" y="122"/>
                      <a:pt x="46" y="122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3" y="105"/>
                      <a:pt x="62" y="76"/>
                      <a:pt x="62" y="65"/>
                    </a:cubicBezTo>
                    <a:cubicBezTo>
                      <a:pt x="63" y="65"/>
                      <a:pt x="63" y="65"/>
                      <a:pt x="64" y="65"/>
                    </a:cubicBezTo>
                    <a:cubicBezTo>
                      <a:pt x="66" y="122"/>
                      <a:pt x="66" y="122"/>
                      <a:pt x="66" y="122"/>
                    </a:cubicBezTo>
                    <a:cubicBezTo>
                      <a:pt x="82" y="122"/>
                      <a:pt x="82" y="122"/>
                      <a:pt x="82" y="122"/>
                    </a:cubicBezTo>
                    <a:cubicBezTo>
                      <a:pt x="82" y="105"/>
                      <a:pt x="82" y="76"/>
                      <a:pt x="82" y="65"/>
                    </a:cubicBezTo>
                    <a:cubicBezTo>
                      <a:pt x="82" y="65"/>
                      <a:pt x="83" y="65"/>
                      <a:pt x="84" y="6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86" y="65"/>
                      <a:pt x="89" y="64"/>
                      <a:pt x="91" y="64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5"/>
                      <a:pt x="83" y="2"/>
                      <a:pt x="8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8569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BCB641-02AF-4416-A5BA-01DB2F764A8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CF7E18-9E23-469B-8807-FEA98914CCA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889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5" r:id="rId15"/>
    <p:sldLayoutId id="2147483694" r:id="rId16"/>
    <p:sldLayoutId id="2147483696" r:id="rId17"/>
    <p:sldLayoutId id="2147483656" r:id="rId18"/>
    <p:sldLayoutId id="2147483657" r:id="rId19"/>
    <p:sldLayoutId id="2147483658" r:id="rId20"/>
    <p:sldLayoutId id="214748365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522228ED-E7A3-44C1-8BF8-218E37A358B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2018/3/29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D73EDA7A-3C0D-4423-A11A-050071D8C94C}" type="slidenum">
              <a:rPr lang="zh-CN" alt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868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E2ED4E68-F11D-4361-8C3A-7B444C600E52}" type="datetimeFigureOut">
              <a:rPr 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3/29/2018</a:t>
            </a:fld>
            <a:endParaRPr 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fld id="{424D2F68-A850-446D-85C8-0E7954AA3385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defTabSz="121917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6520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51853F-F5EC-47D5-A3BC-B163C26F371D}" type="datetimeFigureOut">
              <a:rPr lang="zh-CN" altLang="en-US" smtClean="0"/>
              <a:t>2018/3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0883AC-372F-4132-B165-7B93417EAB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7229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87F3EBE-3ED6-4B6A-A88D-9BF96E6AD7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52680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817AE732-4A7E-4F4E-9AE2-19327E50B0E7}"/>
              </a:ext>
            </a:extLst>
          </p:cNvPr>
          <p:cNvSpPr/>
          <p:nvPr/>
        </p:nvSpPr>
        <p:spPr>
          <a:xfrm>
            <a:off x="0" y="0"/>
            <a:ext cx="12192000" cy="6958584"/>
          </a:xfrm>
          <a:prstGeom prst="rect">
            <a:avLst/>
          </a:prstGeom>
          <a:solidFill>
            <a:schemeClr val="dk1">
              <a:alpha val="64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8" name="文本框 687">
            <a:extLst>
              <a:ext uri="{FF2B5EF4-FFF2-40B4-BE49-F238E27FC236}">
                <a16:creationId xmlns:a16="http://schemas.microsoft.com/office/drawing/2014/main" id="{D65D8A9B-9762-4870-AD9D-7D1405783649}"/>
              </a:ext>
            </a:extLst>
          </p:cNvPr>
          <p:cNvSpPr txBox="1"/>
          <p:nvPr/>
        </p:nvSpPr>
        <p:spPr>
          <a:xfrm>
            <a:off x="3123872" y="1257364"/>
            <a:ext cx="594425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6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A</a:t>
            </a:r>
            <a:r>
              <a:rPr lang="zh-CN" altLang="en-US" sz="66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轮融资计划书</a:t>
            </a:r>
          </a:p>
        </p:txBody>
      </p:sp>
      <p:sp>
        <p:nvSpPr>
          <p:cNvPr id="691" name="文本框 690">
            <a:extLst>
              <a:ext uri="{FF2B5EF4-FFF2-40B4-BE49-F238E27FC236}">
                <a16:creationId xmlns:a16="http://schemas.microsoft.com/office/drawing/2014/main" id="{24221776-0DE6-4C3F-96EB-A4A23C159B3E}"/>
              </a:ext>
            </a:extLst>
          </p:cNvPr>
          <p:cNvSpPr txBox="1"/>
          <p:nvPr/>
        </p:nvSpPr>
        <p:spPr>
          <a:xfrm>
            <a:off x="5407350" y="5701220"/>
            <a:ext cx="13773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400">
                <a:solidFill>
                  <a:srgbClr val="231815"/>
                </a:solidFill>
                <a:latin typeface="方正水黑简体" panose="03000509000000000000" pitchFamily="65" charset="-122"/>
                <a:ea typeface="方正水黑简体" panose="03000509000000000000" pitchFamily="65" charset="-122"/>
              </a:defRPr>
            </a:lvl1pPr>
          </a:lstStyle>
          <a:p>
            <a:r>
              <a:rPr lang="en-US" altLang="zh-CN" sz="1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2017</a:t>
            </a:r>
            <a:r>
              <a:rPr lang="zh-CN" altLang="en-US" sz="1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年</a:t>
            </a:r>
            <a:r>
              <a:rPr lang="en-US" altLang="zh-CN" sz="1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7</a:t>
            </a:r>
            <a:r>
              <a:rPr lang="zh-CN" altLang="en-US" sz="1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月</a:t>
            </a:r>
          </a:p>
        </p:txBody>
      </p:sp>
    </p:spTree>
    <p:extLst>
      <p:ext uri="{BB962C8B-B14F-4D97-AF65-F5344CB8AC3E}">
        <p14:creationId xmlns:p14="http://schemas.microsoft.com/office/powerpoint/2010/main" val="145734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/>
        </p:nvGrpSpPr>
        <p:grpSpPr>
          <a:xfrm>
            <a:off x="2528198" y="1271016"/>
            <a:ext cx="8473181" cy="4742688"/>
            <a:chOff x="2775086" y="1682496"/>
            <a:chExt cx="8473181" cy="4742688"/>
          </a:xfrm>
        </p:grpSpPr>
        <p:grpSp>
          <p:nvGrpSpPr>
            <p:cNvPr id="2" name="组合 1"/>
            <p:cNvGrpSpPr/>
            <p:nvPr/>
          </p:nvGrpSpPr>
          <p:grpSpPr>
            <a:xfrm>
              <a:off x="2775086" y="1682496"/>
              <a:ext cx="8473181" cy="4742688"/>
              <a:chOff x="2327030" y="1883664"/>
              <a:chExt cx="8473181" cy="4742688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FA31C9A7-90E7-489D-813F-AD49A285F917}"/>
                  </a:ext>
                </a:extLst>
              </p:cNvPr>
              <p:cNvSpPr txBox="1"/>
              <p:nvPr/>
            </p:nvSpPr>
            <p:spPr>
              <a:xfrm>
                <a:off x="2327030" y="4136441"/>
                <a:ext cx="14157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solidFill>
                      <a:srgbClr val="4C6062"/>
                    </a:solidFill>
                    <a:latin typeface="方正兰亭超细黑简体" panose="02000000000000000000" pitchFamily="2" charset="-122"/>
                    <a:ea typeface="方正兰亭超细黑简体" panose="02000000000000000000" pitchFamily="2" charset="-122"/>
                  </a:rPr>
                  <a:t>提供学情报告</a:t>
                </a: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3D306F62-CB51-40AF-A301-318191C55720}"/>
                  </a:ext>
                </a:extLst>
              </p:cNvPr>
              <p:cNvSpPr txBox="1"/>
              <p:nvPr/>
            </p:nvSpPr>
            <p:spPr>
              <a:xfrm>
                <a:off x="2327030" y="4799080"/>
                <a:ext cx="14157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solidFill>
                      <a:srgbClr val="4C6062"/>
                    </a:solidFill>
                    <a:latin typeface="方正兰亭超细黑简体" panose="02000000000000000000" pitchFamily="2" charset="-122"/>
                    <a:ea typeface="方正兰亭超细黑简体" panose="02000000000000000000" pitchFamily="2" charset="-122"/>
                  </a:rPr>
                  <a:t>精准辅导计划</a:t>
                </a: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0C650560-05DD-48E5-ABB9-58A1FFF4D0B4}"/>
                  </a:ext>
                </a:extLst>
              </p:cNvPr>
              <p:cNvSpPr txBox="1"/>
              <p:nvPr/>
            </p:nvSpPr>
            <p:spPr>
              <a:xfrm>
                <a:off x="2327030" y="2811163"/>
                <a:ext cx="14157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solidFill>
                      <a:srgbClr val="4C6062"/>
                    </a:solidFill>
                    <a:latin typeface="方正兰亭超细黑简体" panose="02000000000000000000" pitchFamily="2" charset="-122"/>
                    <a:ea typeface="方正兰亭超细黑简体" panose="02000000000000000000" pitchFamily="2" charset="-122"/>
                  </a:rPr>
                  <a:t>批阅平台作业</a:t>
                </a: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3434C6AE-3609-4B94-B234-184191902ADF}"/>
                  </a:ext>
                </a:extLst>
              </p:cNvPr>
              <p:cNvSpPr txBox="1"/>
              <p:nvPr/>
            </p:nvSpPr>
            <p:spPr>
              <a:xfrm>
                <a:off x="2327030" y="5461719"/>
                <a:ext cx="142058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solidFill>
                      <a:srgbClr val="4C6062"/>
                    </a:solidFill>
                    <a:latin typeface="方正兰亭超细黑简体" panose="02000000000000000000" pitchFamily="2" charset="-122"/>
                    <a:ea typeface="方正兰亭超细黑简体" panose="02000000000000000000" pitchFamily="2" charset="-122"/>
                  </a:rPr>
                  <a:t>任课老师反馈</a:t>
                </a: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7298CDC0-9D0B-450F-80F2-06D7EE9E6661}"/>
                  </a:ext>
                </a:extLst>
              </p:cNvPr>
              <p:cNvSpPr txBox="1"/>
              <p:nvPr/>
            </p:nvSpPr>
            <p:spPr>
              <a:xfrm>
                <a:off x="2327030" y="6124359"/>
                <a:ext cx="14157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solidFill>
                      <a:srgbClr val="4C6062"/>
                    </a:solidFill>
                    <a:latin typeface="方正兰亭超细黑简体" panose="02000000000000000000" pitchFamily="2" charset="-122"/>
                    <a:ea typeface="方正兰亭超细黑简体" panose="02000000000000000000" pitchFamily="2" charset="-122"/>
                  </a:rPr>
                  <a:t>用户推广成本</a:t>
                </a: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CDA20958-2C40-4A83-96D2-81FCAA135672}"/>
                  </a:ext>
                </a:extLst>
              </p:cNvPr>
              <p:cNvSpPr txBox="1"/>
              <p:nvPr/>
            </p:nvSpPr>
            <p:spPr>
              <a:xfrm>
                <a:off x="2327030" y="2148524"/>
                <a:ext cx="203132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solidFill>
                      <a:srgbClr val="4C6062"/>
                    </a:solidFill>
                    <a:latin typeface="方正兰亭超细黑简体" panose="02000000000000000000" pitchFamily="2" charset="-122"/>
                    <a:ea typeface="方正兰亭超细黑简体" panose="02000000000000000000" pitchFamily="2" charset="-122"/>
                  </a:rPr>
                  <a:t>批阅纸制练习册作业</a:t>
                </a:r>
              </a:p>
            </p:txBody>
          </p:sp>
          <p:grpSp>
            <p:nvGrpSpPr>
              <p:cNvPr id="89" name="组合 88">
                <a:extLst>
                  <a:ext uri="{FF2B5EF4-FFF2-40B4-BE49-F238E27FC236}">
                    <a16:creationId xmlns:a16="http://schemas.microsoft.com/office/drawing/2014/main" id="{8971BFC0-EEBF-4AA3-8C10-A8408D7093FE}"/>
                  </a:ext>
                </a:extLst>
              </p:cNvPr>
              <p:cNvGrpSpPr/>
              <p:nvPr/>
            </p:nvGrpSpPr>
            <p:grpSpPr>
              <a:xfrm>
                <a:off x="9999992" y="4176631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90" name="Freeform 801">
                  <a:extLst>
                    <a:ext uri="{FF2B5EF4-FFF2-40B4-BE49-F238E27FC236}">
                      <a16:creationId xmlns:a16="http://schemas.microsoft.com/office/drawing/2014/main" id="{962A8ABD-20DB-424C-963C-B2162042F5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1" name="Freeform 802">
                  <a:extLst>
                    <a:ext uri="{FF2B5EF4-FFF2-40B4-BE49-F238E27FC236}">
                      <a16:creationId xmlns:a16="http://schemas.microsoft.com/office/drawing/2014/main" id="{C598B01C-4EE6-483A-B1A8-915B14E1A0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2" name="组合 91">
                <a:extLst>
                  <a:ext uri="{FF2B5EF4-FFF2-40B4-BE49-F238E27FC236}">
                    <a16:creationId xmlns:a16="http://schemas.microsoft.com/office/drawing/2014/main" id="{021421A6-495F-463C-A6F7-7B6A2B3E8AF9}"/>
                  </a:ext>
                </a:extLst>
              </p:cNvPr>
              <p:cNvGrpSpPr/>
              <p:nvPr/>
            </p:nvGrpSpPr>
            <p:grpSpPr>
              <a:xfrm>
                <a:off x="9999992" y="4786432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93" name="Freeform 801">
                  <a:extLst>
                    <a:ext uri="{FF2B5EF4-FFF2-40B4-BE49-F238E27FC236}">
                      <a16:creationId xmlns:a16="http://schemas.microsoft.com/office/drawing/2014/main" id="{12330DAE-F5FE-46E0-B5AA-0560B70D03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4" name="Freeform 802">
                  <a:extLst>
                    <a:ext uri="{FF2B5EF4-FFF2-40B4-BE49-F238E27FC236}">
                      <a16:creationId xmlns:a16="http://schemas.microsoft.com/office/drawing/2014/main" id="{A0B77A75-11D8-4650-BC11-F83F6F643E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5" name="组合 94">
                <a:extLst>
                  <a:ext uri="{FF2B5EF4-FFF2-40B4-BE49-F238E27FC236}">
                    <a16:creationId xmlns:a16="http://schemas.microsoft.com/office/drawing/2014/main" id="{229B6C82-0D96-41F2-9535-654D24344AA0}"/>
                  </a:ext>
                </a:extLst>
              </p:cNvPr>
              <p:cNvGrpSpPr/>
              <p:nvPr/>
            </p:nvGrpSpPr>
            <p:grpSpPr>
              <a:xfrm>
                <a:off x="9999992" y="5438047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96" name="Freeform 801">
                  <a:extLst>
                    <a:ext uri="{FF2B5EF4-FFF2-40B4-BE49-F238E27FC236}">
                      <a16:creationId xmlns:a16="http://schemas.microsoft.com/office/drawing/2014/main" id="{8D1D65EB-E997-4C97-B672-3E559BAD40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7" name="Freeform 802">
                  <a:extLst>
                    <a:ext uri="{FF2B5EF4-FFF2-40B4-BE49-F238E27FC236}">
                      <a16:creationId xmlns:a16="http://schemas.microsoft.com/office/drawing/2014/main" id="{E4AC9785-1F08-452E-AB18-0814B4D655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1" name="组合 100">
                <a:extLst>
                  <a:ext uri="{FF2B5EF4-FFF2-40B4-BE49-F238E27FC236}">
                    <a16:creationId xmlns:a16="http://schemas.microsoft.com/office/drawing/2014/main" id="{BA9FBE0D-1C61-4F4C-8730-AE99F11FDC3D}"/>
                  </a:ext>
                </a:extLst>
              </p:cNvPr>
              <p:cNvGrpSpPr/>
              <p:nvPr/>
            </p:nvGrpSpPr>
            <p:grpSpPr>
              <a:xfrm>
                <a:off x="9999992" y="2125470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02" name="Freeform 801">
                  <a:extLst>
                    <a:ext uri="{FF2B5EF4-FFF2-40B4-BE49-F238E27FC236}">
                      <a16:creationId xmlns:a16="http://schemas.microsoft.com/office/drawing/2014/main" id="{DC79C8D6-91A7-4751-B1DC-691CB2B566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03" name="Freeform 802">
                  <a:extLst>
                    <a:ext uri="{FF2B5EF4-FFF2-40B4-BE49-F238E27FC236}">
                      <a16:creationId xmlns:a16="http://schemas.microsoft.com/office/drawing/2014/main" id="{9026DFCF-D793-44A8-8D14-B4EADE8AEE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sp>
            <p:nvSpPr>
              <p:cNvPr id="104" name="文本框 103">
                <a:extLst>
                  <a:ext uri="{FF2B5EF4-FFF2-40B4-BE49-F238E27FC236}">
                    <a16:creationId xmlns:a16="http://schemas.microsoft.com/office/drawing/2014/main" id="{8F63AF2E-E5F5-43B8-8928-33999B0ECD43}"/>
                  </a:ext>
                </a:extLst>
              </p:cNvPr>
              <p:cNvSpPr txBox="1"/>
              <p:nvPr/>
            </p:nvSpPr>
            <p:spPr>
              <a:xfrm>
                <a:off x="2327030" y="3473802"/>
                <a:ext cx="143500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600" dirty="0">
                    <a:solidFill>
                      <a:srgbClr val="4C6062"/>
                    </a:solidFill>
                    <a:latin typeface="方正兰亭超细黑简体" panose="02000000000000000000" pitchFamily="2" charset="-122"/>
                    <a:ea typeface="方正兰亭超细黑简体" panose="02000000000000000000" pitchFamily="2" charset="-122"/>
                  </a:rPr>
                  <a:t>持续收集数据</a:t>
                </a:r>
              </a:p>
            </p:txBody>
          </p:sp>
          <p:grpSp>
            <p:nvGrpSpPr>
              <p:cNvPr id="108" name="组合 107">
                <a:extLst>
                  <a:ext uri="{FF2B5EF4-FFF2-40B4-BE49-F238E27FC236}">
                    <a16:creationId xmlns:a16="http://schemas.microsoft.com/office/drawing/2014/main" id="{844D9F9E-9205-4BE3-9451-7E42CA88EBB2}"/>
                  </a:ext>
                </a:extLst>
              </p:cNvPr>
              <p:cNvGrpSpPr/>
              <p:nvPr/>
            </p:nvGrpSpPr>
            <p:grpSpPr>
              <a:xfrm>
                <a:off x="9999992" y="3460650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09" name="Freeform 801">
                  <a:extLst>
                    <a:ext uri="{FF2B5EF4-FFF2-40B4-BE49-F238E27FC236}">
                      <a16:creationId xmlns:a16="http://schemas.microsoft.com/office/drawing/2014/main" id="{17D9B634-1A80-4971-A3B2-C323F44FA19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10" name="Freeform 802">
                  <a:extLst>
                    <a:ext uri="{FF2B5EF4-FFF2-40B4-BE49-F238E27FC236}">
                      <a16:creationId xmlns:a16="http://schemas.microsoft.com/office/drawing/2014/main" id="{E8485ED9-0434-4C3D-926A-88A1D95596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1" name="组合 110">
                <a:extLst>
                  <a:ext uri="{FF2B5EF4-FFF2-40B4-BE49-F238E27FC236}">
                    <a16:creationId xmlns:a16="http://schemas.microsoft.com/office/drawing/2014/main" id="{47C797BC-A19D-457A-BB44-E6D0B533A417}"/>
                  </a:ext>
                </a:extLst>
              </p:cNvPr>
              <p:cNvGrpSpPr/>
              <p:nvPr/>
            </p:nvGrpSpPr>
            <p:grpSpPr>
              <a:xfrm>
                <a:off x="9999992" y="2780722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12" name="Freeform 801">
                  <a:extLst>
                    <a:ext uri="{FF2B5EF4-FFF2-40B4-BE49-F238E27FC236}">
                      <a16:creationId xmlns:a16="http://schemas.microsoft.com/office/drawing/2014/main" id="{01328545-A53C-43FB-B6E5-74E4662821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13" name="Freeform 802">
                  <a:extLst>
                    <a:ext uri="{FF2B5EF4-FFF2-40B4-BE49-F238E27FC236}">
                      <a16:creationId xmlns:a16="http://schemas.microsoft.com/office/drawing/2014/main" id="{FBE225EB-4CC1-4DE1-A0BD-E3C5EB8233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8" name="组合 117">
                <a:extLst>
                  <a:ext uri="{FF2B5EF4-FFF2-40B4-BE49-F238E27FC236}">
                    <a16:creationId xmlns:a16="http://schemas.microsoft.com/office/drawing/2014/main" id="{BEF99F5E-A413-4725-8CCA-93F82EAE2244}"/>
                  </a:ext>
                </a:extLst>
              </p:cNvPr>
              <p:cNvGrpSpPr/>
              <p:nvPr/>
            </p:nvGrpSpPr>
            <p:grpSpPr>
              <a:xfrm>
                <a:off x="7592072" y="3457602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19" name="Freeform 801">
                  <a:extLst>
                    <a:ext uri="{FF2B5EF4-FFF2-40B4-BE49-F238E27FC236}">
                      <a16:creationId xmlns:a16="http://schemas.microsoft.com/office/drawing/2014/main" id="{F9D918D7-9FFE-437E-90FF-0EA11E11F9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20" name="Freeform 802">
                  <a:extLst>
                    <a:ext uri="{FF2B5EF4-FFF2-40B4-BE49-F238E27FC236}">
                      <a16:creationId xmlns:a16="http://schemas.microsoft.com/office/drawing/2014/main" id="{1EBB32DA-652F-4425-88F8-6B7BDE9C2F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1" name="组合 120">
                <a:extLst>
                  <a:ext uri="{FF2B5EF4-FFF2-40B4-BE49-F238E27FC236}">
                    <a16:creationId xmlns:a16="http://schemas.microsoft.com/office/drawing/2014/main" id="{8826C606-CAEE-4AFB-96E8-B46B4DF90DC4}"/>
                  </a:ext>
                </a:extLst>
              </p:cNvPr>
              <p:cNvGrpSpPr/>
              <p:nvPr/>
            </p:nvGrpSpPr>
            <p:grpSpPr>
              <a:xfrm>
                <a:off x="7592072" y="2777674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22" name="Freeform 801">
                  <a:extLst>
                    <a:ext uri="{FF2B5EF4-FFF2-40B4-BE49-F238E27FC236}">
                      <a16:creationId xmlns:a16="http://schemas.microsoft.com/office/drawing/2014/main" id="{08622251-6B3B-4392-857D-9701FCEC91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23" name="Freeform 802">
                  <a:extLst>
                    <a:ext uri="{FF2B5EF4-FFF2-40B4-BE49-F238E27FC236}">
                      <a16:creationId xmlns:a16="http://schemas.microsoft.com/office/drawing/2014/main" id="{BD0C1A41-7FD9-408B-B9E5-C0F36B5B80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24" name="组合 123">
                <a:extLst>
                  <a:ext uri="{FF2B5EF4-FFF2-40B4-BE49-F238E27FC236}">
                    <a16:creationId xmlns:a16="http://schemas.microsoft.com/office/drawing/2014/main" id="{193F55EB-DC63-4A48-860E-CC88459E2063}"/>
                  </a:ext>
                </a:extLst>
              </p:cNvPr>
              <p:cNvGrpSpPr/>
              <p:nvPr/>
            </p:nvGrpSpPr>
            <p:grpSpPr>
              <a:xfrm>
                <a:off x="5078181" y="4181776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25" name="Freeform 801">
                  <a:extLst>
                    <a:ext uri="{FF2B5EF4-FFF2-40B4-BE49-F238E27FC236}">
                      <a16:creationId xmlns:a16="http://schemas.microsoft.com/office/drawing/2014/main" id="{02ECCDD2-DA87-4157-98F4-F89C92939F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26" name="Freeform 802">
                  <a:extLst>
                    <a:ext uri="{FF2B5EF4-FFF2-40B4-BE49-F238E27FC236}">
                      <a16:creationId xmlns:a16="http://schemas.microsoft.com/office/drawing/2014/main" id="{485A1376-07E8-41B7-AFC7-7CBCC3BDFC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0" name="组合 129">
                <a:extLst>
                  <a:ext uri="{FF2B5EF4-FFF2-40B4-BE49-F238E27FC236}">
                    <a16:creationId xmlns:a16="http://schemas.microsoft.com/office/drawing/2014/main" id="{70F190AF-27DF-4367-A547-AC9EB0A33819}"/>
                  </a:ext>
                </a:extLst>
              </p:cNvPr>
              <p:cNvGrpSpPr/>
              <p:nvPr/>
            </p:nvGrpSpPr>
            <p:grpSpPr>
              <a:xfrm>
                <a:off x="5078181" y="5443192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31" name="Freeform 801">
                  <a:extLst>
                    <a:ext uri="{FF2B5EF4-FFF2-40B4-BE49-F238E27FC236}">
                      <a16:creationId xmlns:a16="http://schemas.microsoft.com/office/drawing/2014/main" id="{ECD9C93C-D378-421C-BAB2-1227188D72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32" name="Freeform 802">
                  <a:extLst>
                    <a:ext uri="{FF2B5EF4-FFF2-40B4-BE49-F238E27FC236}">
                      <a16:creationId xmlns:a16="http://schemas.microsoft.com/office/drawing/2014/main" id="{8123FDD0-4F4B-4CF1-AE3F-66DA40D87B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9" name="组合 138">
                <a:extLst>
                  <a:ext uri="{FF2B5EF4-FFF2-40B4-BE49-F238E27FC236}">
                    <a16:creationId xmlns:a16="http://schemas.microsoft.com/office/drawing/2014/main" id="{2031DB06-F028-42C3-90E0-95D7EAFA83E1}"/>
                  </a:ext>
                </a:extLst>
              </p:cNvPr>
              <p:cNvGrpSpPr/>
              <p:nvPr/>
            </p:nvGrpSpPr>
            <p:grpSpPr>
              <a:xfrm>
                <a:off x="5078181" y="3465795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40" name="Freeform 801">
                  <a:extLst>
                    <a:ext uri="{FF2B5EF4-FFF2-40B4-BE49-F238E27FC236}">
                      <a16:creationId xmlns:a16="http://schemas.microsoft.com/office/drawing/2014/main" id="{EBE4FCB5-3F93-49F1-8D34-A9BE8BDB873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41" name="Freeform 802">
                  <a:extLst>
                    <a:ext uri="{FF2B5EF4-FFF2-40B4-BE49-F238E27FC236}">
                      <a16:creationId xmlns:a16="http://schemas.microsoft.com/office/drawing/2014/main" id="{80D1999D-33A3-4C07-B0BB-354A4547B4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42" name="组合 141">
                <a:extLst>
                  <a:ext uri="{FF2B5EF4-FFF2-40B4-BE49-F238E27FC236}">
                    <a16:creationId xmlns:a16="http://schemas.microsoft.com/office/drawing/2014/main" id="{FAEB7174-1242-4E87-AE3D-F8E55B626A89}"/>
                  </a:ext>
                </a:extLst>
              </p:cNvPr>
              <p:cNvGrpSpPr/>
              <p:nvPr/>
            </p:nvGrpSpPr>
            <p:grpSpPr>
              <a:xfrm>
                <a:off x="5078181" y="2785867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43" name="Freeform 801">
                  <a:extLst>
                    <a:ext uri="{FF2B5EF4-FFF2-40B4-BE49-F238E27FC236}">
                      <a16:creationId xmlns:a16="http://schemas.microsoft.com/office/drawing/2014/main" id="{F562C6FF-C117-4C5A-81AC-17310DD4F5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44" name="Freeform 802">
                  <a:extLst>
                    <a:ext uri="{FF2B5EF4-FFF2-40B4-BE49-F238E27FC236}">
                      <a16:creationId xmlns:a16="http://schemas.microsoft.com/office/drawing/2014/main" id="{3658D6E0-C77C-45D0-A688-7C4B865DBD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cxnSp>
            <p:nvCxnSpPr>
              <p:cNvPr id="3" name="直接连接符 2">
                <a:extLst>
                  <a:ext uri="{FF2B5EF4-FFF2-40B4-BE49-F238E27FC236}">
                    <a16:creationId xmlns:a16="http://schemas.microsoft.com/office/drawing/2014/main" id="{049AC771-5ED3-47EF-BD72-E7981B3BA995}"/>
                  </a:ext>
                </a:extLst>
              </p:cNvPr>
              <p:cNvCxnSpPr/>
              <p:nvPr/>
            </p:nvCxnSpPr>
            <p:spPr>
              <a:xfrm>
                <a:off x="2422782" y="2587752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直接连接符 53">
                <a:extLst>
                  <a:ext uri="{FF2B5EF4-FFF2-40B4-BE49-F238E27FC236}">
                    <a16:creationId xmlns:a16="http://schemas.microsoft.com/office/drawing/2014/main" id="{3E368811-78E8-427D-AFF2-1D891520261C}"/>
                  </a:ext>
                </a:extLst>
              </p:cNvPr>
              <p:cNvCxnSpPr/>
              <p:nvPr/>
            </p:nvCxnSpPr>
            <p:spPr>
              <a:xfrm>
                <a:off x="2422782" y="3260852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直接连接符 54">
                <a:extLst>
                  <a:ext uri="{FF2B5EF4-FFF2-40B4-BE49-F238E27FC236}">
                    <a16:creationId xmlns:a16="http://schemas.microsoft.com/office/drawing/2014/main" id="{E5AFD646-F2EC-44FE-B8B9-76FC37C7C0BF}"/>
                  </a:ext>
                </a:extLst>
              </p:cNvPr>
              <p:cNvCxnSpPr/>
              <p:nvPr/>
            </p:nvCxnSpPr>
            <p:spPr>
              <a:xfrm>
                <a:off x="2422782" y="3933952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直接连接符 55">
                <a:extLst>
                  <a:ext uri="{FF2B5EF4-FFF2-40B4-BE49-F238E27FC236}">
                    <a16:creationId xmlns:a16="http://schemas.microsoft.com/office/drawing/2014/main" id="{A978FF8E-D1E3-4860-8493-42CDF120E74F}"/>
                  </a:ext>
                </a:extLst>
              </p:cNvPr>
              <p:cNvCxnSpPr/>
              <p:nvPr/>
            </p:nvCxnSpPr>
            <p:spPr>
              <a:xfrm>
                <a:off x="2422782" y="4607052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直接连接符 56">
                <a:extLst>
                  <a:ext uri="{FF2B5EF4-FFF2-40B4-BE49-F238E27FC236}">
                    <a16:creationId xmlns:a16="http://schemas.microsoft.com/office/drawing/2014/main" id="{6A4A4510-E03B-4064-96BF-3BAE8B6BC977}"/>
                  </a:ext>
                </a:extLst>
              </p:cNvPr>
              <p:cNvCxnSpPr/>
              <p:nvPr/>
            </p:nvCxnSpPr>
            <p:spPr>
              <a:xfrm>
                <a:off x="2422782" y="5280152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直接连接符 57">
                <a:extLst>
                  <a:ext uri="{FF2B5EF4-FFF2-40B4-BE49-F238E27FC236}">
                    <a16:creationId xmlns:a16="http://schemas.microsoft.com/office/drawing/2014/main" id="{9A872910-5622-4AD0-99EA-3782BC7B92C4}"/>
                  </a:ext>
                </a:extLst>
              </p:cNvPr>
              <p:cNvCxnSpPr/>
              <p:nvPr/>
            </p:nvCxnSpPr>
            <p:spPr>
              <a:xfrm>
                <a:off x="2422782" y="5953252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直接连接符 58">
                <a:extLst>
                  <a:ext uri="{FF2B5EF4-FFF2-40B4-BE49-F238E27FC236}">
                    <a16:creationId xmlns:a16="http://schemas.microsoft.com/office/drawing/2014/main" id="{93B8DB9A-BDFB-40E2-BEF5-95398FE62B93}"/>
                  </a:ext>
                </a:extLst>
              </p:cNvPr>
              <p:cNvCxnSpPr/>
              <p:nvPr/>
            </p:nvCxnSpPr>
            <p:spPr>
              <a:xfrm>
                <a:off x="2422782" y="6626352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59">
                <a:extLst>
                  <a:ext uri="{FF2B5EF4-FFF2-40B4-BE49-F238E27FC236}">
                    <a16:creationId xmlns:a16="http://schemas.microsoft.com/office/drawing/2014/main" id="{AA6AC220-D760-42A7-902C-F761871A902C}"/>
                  </a:ext>
                </a:extLst>
              </p:cNvPr>
              <p:cNvCxnSpPr/>
              <p:nvPr/>
            </p:nvCxnSpPr>
            <p:spPr>
              <a:xfrm>
                <a:off x="2422782" y="1883664"/>
                <a:ext cx="7956000" cy="0"/>
              </a:xfrm>
              <a:prstGeom prst="line">
                <a:avLst/>
              </a:prstGeom>
              <a:ln w="12700">
                <a:solidFill>
                  <a:srgbClr val="EBAC07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1" name="组合 60">
                <a:extLst>
                  <a:ext uri="{FF2B5EF4-FFF2-40B4-BE49-F238E27FC236}">
                    <a16:creationId xmlns:a16="http://schemas.microsoft.com/office/drawing/2014/main" id="{1D00151E-13AF-4671-92C5-3F8D90C58F1F}"/>
                  </a:ext>
                </a:extLst>
              </p:cNvPr>
              <p:cNvGrpSpPr/>
              <p:nvPr/>
            </p:nvGrpSpPr>
            <p:grpSpPr>
              <a:xfrm>
                <a:off x="7609152" y="4149447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62" name="Freeform 801">
                  <a:extLst>
                    <a:ext uri="{FF2B5EF4-FFF2-40B4-BE49-F238E27FC236}">
                      <a16:creationId xmlns:a16="http://schemas.microsoft.com/office/drawing/2014/main" id="{DF6B63ED-D079-446D-BB7C-B5CECA775CA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63" name="Freeform 802">
                  <a:extLst>
                    <a:ext uri="{FF2B5EF4-FFF2-40B4-BE49-F238E27FC236}">
                      <a16:creationId xmlns:a16="http://schemas.microsoft.com/office/drawing/2014/main" id="{14E5B682-7AD1-4AF9-96BF-E81BEC56FC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" name="组合 9"/>
              <p:cNvGrpSpPr/>
              <p:nvPr/>
            </p:nvGrpSpPr>
            <p:grpSpPr>
              <a:xfrm>
                <a:off x="5087827" y="6044776"/>
                <a:ext cx="492443" cy="461665"/>
                <a:chOff x="5087827" y="5985914"/>
                <a:chExt cx="492443" cy="461665"/>
              </a:xfrm>
            </p:grpSpPr>
            <p:sp>
              <p:nvSpPr>
                <p:cNvPr id="75" name="Freeform 801">
                  <a:extLst>
                    <a:ext uri="{FF2B5EF4-FFF2-40B4-BE49-F238E27FC236}">
                      <a16:creationId xmlns:a16="http://schemas.microsoft.com/office/drawing/2014/main" id="{02ECCDD2-DA87-4157-98F4-F89C92939F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87827" y="6136934"/>
                  <a:ext cx="296934" cy="285069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9" name="文本框 8"/>
                <p:cNvSpPr txBox="1"/>
                <p:nvPr/>
              </p:nvSpPr>
              <p:spPr>
                <a:xfrm>
                  <a:off x="5087827" y="5985914"/>
                  <a:ext cx="49244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2400" dirty="0">
                      <a:solidFill>
                        <a:srgbClr val="FF0000"/>
                      </a:solidFill>
                      <a:latin typeface="站酷快乐体2016修订版" panose="02010600030101010101" pitchFamily="2" charset="-122"/>
                      <a:ea typeface="站酷快乐体2016修订版" panose="02010600030101010101" pitchFamily="2" charset="-122"/>
                    </a:rPr>
                    <a:t>高</a:t>
                  </a:r>
                </a:p>
              </p:txBody>
            </p:sp>
          </p:grpSp>
          <p:grpSp>
            <p:nvGrpSpPr>
              <p:cNvPr id="82" name="组合 81"/>
              <p:cNvGrpSpPr/>
              <p:nvPr/>
            </p:nvGrpSpPr>
            <p:grpSpPr>
              <a:xfrm>
                <a:off x="7605682" y="6044776"/>
                <a:ext cx="492443" cy="461665"/>
                <a:chOff x="5087827" y="5985914"/>
                <a:chExt cx="492443" cy="461665"/>
              </a:xfrm>
            </p:grpSpPr>
            <p:sp>
              <p:nvSpPr>
                <p:cNvPr id="83" name="Freeform 801">
                  <a:extLst>
                    <a:ext uri="{FF2B5EF4-FFF2-40B4-BE49-F238E27FC236}">
                      <a16:creationId xmlns:a16="http://schemas.microsoft.com/office/drawing/2014/main" id="{02ECCDD2-DA87-4157-98F4-F89C92939F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87827" y="6136934"/>
                  <a:ext cx="296934" cy="285069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84" name="文本框 83"/>
                <p:cNvSpPr txBox="1"/>
                <p:nvPr/>
              </p:nvSpPr>
              <p:spPr>
                <a:xfrm>
                  <a:off x="5087827" y="5985914"/>
                  <a:ext cx="49244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2400" dirty="0">
                      <a:solidFill>
                        <a:srgbClr val="FF0000"/>
                      </a:solidFill>
                      <a:latin typeface="站酷快乐体2016修订版" panose="02010600030101010101" pitchFamily="2" charset="-122"/>
                      <a:ea typeface="站酷快乐体2016修订版" panose="02010600030101010101" pitchFamily="2" charset="-122"/>
                    </a:rPr>
                    <a:t>高</a:t>
                  </a:r>
                </a:p>
              </p:txBody>
            </p:sp>
          </p:grpSp>
          <p:grpSp>
            <p:nvGrpSpPr>
              <p:cNvPr id="85" name="组合 84"/>
              <p:cNvGrpSpPr/>
              <p:nvPr/>
            </p:nvGrpSpPr>
            <p:grpSpPr>
              <a:xfrm>
                <a:off x="9999992" y="6044776"/>
                <a:ext cx="800219" cy="461665"/>
                <a:chOff x="5087827" y="5985914"/>
                <a:chExt cx="800219" cy="461665"/>
              </a:xfrm>
            </p:grpSpPr>
            <p:sp>
              <p:nvSpPr>
                <p:cNvPr id="86" name="Freeform 801">
                  <a:extLst>
                    <a:ext uri="{FF2B5EF4-FFF2-40B4-BE49-F238E27FC236}">
                      <a16:creationId xmlns:a16="http://schemas.microsoft.com/office/drawing/2014/main" id="{02ECCDD2-DA87-4157-98F4-F89C92939F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87827" y="6136934"/>
                  <a:ext cx="296934" cy="285069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87" name="文本框 86"/>
                <p:cNvSpPr txBox="1"/>
                <p:nvPr/>
              </p:nvSpPr>
              <p:spPr>
                <a:xfrm>
                  <a:off x="5087827" y="5985914"/>
                  <a:ext cx="800219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zh-CN" altLang="en-US" sz="2400" dirty="0">
                      <a:solidFill>
                        <a:schemeClr val="accent6"/>
                      </a:solidFill>
                      <a:latin typeface="站酷快乐体2016修订版" panose="02010600030101010101" pitchFamily="2" charset="-122"/>
                      <a:ea typeface="站酷快乐体2016修订版" panose="02010600030101010101" pitchFamily="2" charset="-122"/>
                    </a:rPr>
                    <a:t>极低</a:t>
                  </a:r>
                </a:p>
              </p:txBody>
            </p:sp>
          </p:grpSp>
          <p:grpSp>
            <p:nvGrpSpPr>
              <p:cNvPr id="88" name="组合 87">
                <a:extLst>
                  <a:ext uri="{FF2B5EF4-FFF2-40B4-BE49-F238E27FC236}">
                    <a16:creationId xmlns:a16="http://schemas.microsoft.com/office/drawing/2014/main" id="{1D00151E-13AF-4671-92C5-3F8D90C58F1F}"/>
                  </a:ext>
                </a:extLst>
              </p:cNvPr>
              <p:cNvGrpSpPr/>
              <p:nvPr/>
            </p:nvGrpSpPr>
            <p:grpSpPr>
              <a:xfrm>
                <a:off x="7592072" y="5421491"/>
                <a:ext cx="360000" cy="324000"/>
                <a:chOff x="4918075" y="1663700"/>
                <a:chExt cx="434975" cy="409576"/>
              </a:xfrm>
              <a:solidFill>
                <a:schemeClr val="tx2"/>
              </a:solidFill>
            </p:grpSpPr>
            <p:sp>
              <p:nvSpPr>
                <p:cNvPr id="105" name="Freeform 801">
                  <a:extLst>
                    <a:ext uri="{FF2B5EF4-FFF2-40B4-BE49-F238E27FC236}">
                      <a16:creationId xmlns:a16="http://schemas.microsoft.com/office/drawing/2014/main" id="{DF6B63ED-D079-446D-BB7C-B5CECA775CA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8075" y="1712913"/>
                  <a:ext cx="358775" cy="360363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06" name="Freeform 802">
                  <a:extLst>
                    <a:ext uri="{FF2B5EF4-FFF2-40B4-BE49-F238E27FC236}">
                      <a16:creationId xmlns:a16="http://schemas.microsoft.com/office/drawing/2014/main" id="{14E5B682-7AD1-4AF9-96BF-E81BEC56FC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350" y="1663700"/>
                  <a:ext cx="393700" cy="341313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</p:grpSp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95849">
              <a:off x="4563221" y="1941894"/>
              <a:ext cx="554702" cy="315872"/>
            </a:xfrm>
            <a:prstGeom prst="rect">
              <a:avLst/>
            </a:prstGeom>
          </p:spPr>
        </p:pic>
        <p:pic>
          <p:nvPicPr>
            <p:cNvPr id="78" name="图片 7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95849">
              <a:off x="3843229" y="5935155"/>
              <a:ext cx="554702" cy="3158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259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矩形 167"/>
          <p:cNvSpPr/>
          <p:nvPr/>
        </p:nvSpPr>
        <p:spPr>
          <a:xfrm>
            <a:off x="1790890" y="3493008"/>
            <a:ext cx="8425307" cy="2069775"/>
          </a:xfrm>
          <a:prstGeom prst="rect">
            <a:avLst/>
          </a:prstGeom>
          <a:solidFill>
            <a:srgbClr val="A2B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15</a:t>
            </a:r>
            <a:r>
              <a:rPr lang="zh-CN" altLang="en-US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省已明确表态可以合作</a:t>
            </a:r>
          </a:p>
        </p:txBody>
      </p:sp>
      <p:sp>
        <p:nvSpPr>
          <p:cNvPr id="170" name="Rectangle 936"/>
          <p:cNvSpPr>
            <a:spLocks noChangeArrowheads="1"/>
          </p:cNvSpPr>
          <p:nvPr/>
        </p:nvSpPr>
        <p:spPr bwMode="auto">
          <a:xfrm>
            <a:off x="1790891" y="1355024"/>
            <a:ext cx="8373872" cy="2009968"/>
          </a:xfrm>
          <a:prstGeom prst="round2SameRect">
            <a:avLst>
              <a:gd name="adj1" fmla="val 28966"/>
              <a:gd name="adj2" fmla="val 0"/>
            </a:avLst>
          </a:prstGeom>
          <a:solidFill>
            <a:srgbClr val="A2B932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66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市场发展规划</a:t>
            </a:r>
            <a:endParaRPr lang="zh-CN" altLang="zh-CN" sz="66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546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5"/>
          <p:cNvSpPr>
            <a:spLocks noChangeArrowheads="1"/>
          </p:cNvSpPr>
          <p:nvPr/>
        </p:nvSpPr>
        <p:spPr bwMode="auto">
          <a:xfrm>
            <a:off x="5728035" y="3657103"/>
            <a:ext cx="2476743" cy="1238372"/>
          </a:xfrm>
          <a:custGeom>
            <a:avLst/>
            <a:gdLst>
              <a:gd name="T0" fmla="*/ 2147483646 w 1053"/>
              <a:gd name="T1" fmla="*/ 2147483646 h 527"/>
              <a:gd name="T2" fmla="*/ 0 w 1053"/>
              <a:gd name="T3" fmla="*/ 2147483646 h 527"/>
              <a:gd name="T4" fmla="*/ 2147483646 w 1053"/>
              <a:gd name="T5" fmla="*/ 0 h 527"/>
              <a:gd name="T6" fmla="*/ 2147483646 w 1053"/>
              <a:gd name="T7" fmla="*/ 2147483646 h 527"/>
              <a:gd name="T8" fmla="*/ 0 60000 65536"/>
              <a:gd name="T9" fmla="*/ 0 60000 65536"/>
              <a:gd name="T10" fmla="*/ 0 60000 65536"/>
              <a:gd name="T11" fmla="*/ 0 60000 65536"/>
              <a:gd name="T12" fmla="*/ 0 w 1053"/>
              <a:gd name="T13" fmla="*/ 0 h 527"/>
              <a:gd name="T14" fmla="*/ 1053 w 1053"/>
              <a:gd name="T15" fmla="*/ 527 h 52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53" h="527">
                <a:moveTo>
                  <a:pt x="1053" y="527"/>
                </a:moveTo>
                <a:cubicBezTo>
                  <a:pt x="727" y="527"/>
                  <a:pt x="363" y="527"/>
                  <a:pt x="0" y="527"/>
                </a:cubicBezTo>
                <a:cubicBezTo>
                  <a:pt x="0" y="236"/>
                  <a:pt x="236" y="0"/>
                  <a:pt x="526" y="0"/>
                </a:cubicBezTo>
                <a:cubicBezTo>
                  <a:pt x="818" y="0"/>
                  <a:pt x="1053" y="236"/>
                  <a:pt x="1053" y="527"/>
                </a:cubicBezTo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240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0" name="Freeform 8"/>
          <p:cNvSpPr>
            <a:spLocks noChangeArrowheads="1"/>
          </p:cNvSpPr>
          <p:nvPr/>
        </p:nvSpPr>
        <p:spPr bwMode="auto">
          <a:xfrm>
            <a:off x="8518071" y="3370207"/>
            <a:ext cx="3052349" cy="1525267"/>
          </a:xfrm>
          <a:custGeom>
            <a:avLst/>
            <a:gdLst>
              <a:gd name="T0" fmla="*/ 2147483646 w 1298"/>
              <a:gd name="T1" fmla="*/ 2147483646 h 650"/>
              <a:gd name="T2" fmla="*/ 0 w 1298"/>
              <a:gd name="T3" fmla="*/ 2147483646 h 650"/>
              <a:gd name="T4" fmla="*/ 2147483646 w 1298"/>
              <a:gd name="T5" fmla="*/ 0 h 650"/>
              <a:gd name="T6" fmla="*/ 2147483646 w 1298"/>
              <a:gd name="T7" fmla="*/ 2147483646 h 650"/>
              <a:gd name="T8" fmla="*/ 0 60000 65536"/>
              <a:gd name="T9" fmla="*/ 0 60000 65536"/>
              <a:gd name="T10" fmla="*/ 0 60000 65536"/>
              <a:gd name="T11" fmla="*/ 0 60000 65536"/>
              <a:gd name="T12" fmla="*/ 0 w 1298"/>
              <a:gd name="T13" fmla="*/ 0 h 650"/>
              <a:gd name="T14" fmla="*/ 1298 w 1298"/>
              <a:gd name="T15" fmla="*/ 650 h 6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98" h="650">
                <a:moveTo>
                  <a:pt x="1298" y="650"/>
                </a:moveTo>
                <a:cubicBezTo>
                  <a:pt x="895" y="650"/>
                  <a:pt x="448" y="650"/>
                  <a:pt x="0" y="650"/>
                </a:cubicBezTo>
                <a:cubicBezTo>
                  <a:pt x="0" y="291"/>
                  <a:pt x="290" y="0"/>
                  <a:pt x="649" y="0"/>
                </a:cubicBezTo>
                <a:cubicBezTo>
                  <a:pt x="1008" y="0"/>
                  <a:pt x="1298" y="291"/>
                  <a:pt x="1298" y="650"/>
                </a:cubicBezTo>
              </a:path>
            </a:pathLst>
          </a:custGeom>
          <a:solidFill>
            <a:srgbClr val="4C606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240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1" name="Freeform 12"/>
          <p:cNvSpPr>
            <a:spLocks noChangeArrowheads="1"/>
          </p:cNvSpPr>
          <p:nvPr/>
        </p:nvSpPr>
        <p:spPr bwMode="auto">
          <a:xfrm>
            <a:off x="3655304" y="4011183"/>
            <a:ext cx="1770398" cy="884291"/>
          </a:xfrm>
          <a:custGeom>
            <a:avLst/>
            <a:gdLst>
              <a:gd name="T0" fmla="*/ 2147483646 w 753"/>
              <a:gd name="T1" fmla="*/ 1585416882 h 377"/>
              <a:gd name="T2" fmla="*/ 0 w 753"/>
              <a:gd name="T3" fmla="*/ 1585416882 h 377"/>
              <a:gd name="T4" fmla="*/ 1588671770 w 753"/>
              <a:gd name="T5" fmla="*/ 0 h 377"/>
              <a:gd name="T6" fmla="*/ 2147483646 w 753"/>
              <a:gd name="T7" fmla="*/ 1585416882 h 377"/>
              <a:gd name="T8" fmla="*/ 0 60000 65536"/>
              <a:gd name="T9" fmla="*/ 0 60000 65536"/>
              <a:gd name="T10" fmla="*/ 0 60000 65536"/>
              <a:gd name="T11" fmla="*/ 0 60000 65536"/>
              <a:gd name="T12" fmla="*/ 0 w 753"/>
              <a:gd name="T13" fmla="*/ 0 h 377"/>
              <a:gd name="T14" fmla="*/ 753 w 753"/>
              <a:gd name="T15" fmla="*/ 377 h 37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53" h="377">
                <a:moveTo>
                  <a:pt x="753" y="377"/>
                </a:moveTo>
                <a:cubicBezTo>
                  <a:pt x="519" y="377"/>
                  <a:pt x="259" y="377"/>
                  <a:pt x="0" y="377"/>
                </a:cubicBezTo>
                <a:cubicBezTo>
                  <a:pt x="0" y="169"/>
                  <a:pt x="168" y="0"/>
                  <a:pt x="376" y="0"/>
                </a:cubicBezTo>
                <a:cubicBezTo>
                  <a:pt x="584" y="0"/>
                  <a:pt x="753" y="169"/>
                  <a:pt x="753" y="377"/>
                </a:cubicBezTo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240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2" name="Freeform 14"/>
          <p:cNvSpPr>
            <a:spLocks noChangeArrowheads="1"/>
          </p:cNvSpPr>
          <p:nvPr/>
        </p:nvSpPr>
        <p:spPr bwMode="auto">
          <a:xfrm>
            <a:off x="2272443" y="4365262"/>
            <a:ext cx="1062240" cy="530212"/>
          </a:xfrm>
          <a:custGeom>
            <a:avLst/>
            <a:gdLst>
              <a:gd name="T0" fmla="*/ 1908100445 w 452"/>
              <a:gd name="T1" fmla="*/ 950790277 h 226"/>
              <a:gd name="T2" fmla="*/ 0 w 452"/>
              <a:gd name="T3" fmla="*/ 950790277 h 226"/>
              <a:gd name="T4" fmla="*/ 954050223 w 452"/>
              <a:gd name="T5" fmla="*/ 0 h 226"/>
              <a:gd name="T6" fmla="*/ 1908100445 w 452"/>
              <a:gd name="T7" fmla="*/ 950790277 h 226"/>
              <a:gd name="T8" fmla="*/ 0 60000 65536"/>
              <a:gd name="T9" fmla="*/ 0 60000 65536"/>
              <a:gd name="T10" fmla="*/ 0 60000 65536"/>
              <a:gd name="T11" fmla="*/ 0 60000 65536"/>
              <a:gd name="T12" fmla="*/ 0 w 452"/>
              <a:gd name="T13" fmla="*/ 0 h 226"/>
              <a:gd name="T14" fmla="*/ 452 w 452"/>
              <a:gd name="T15" fmla="*/ 226 h 2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52" h="226">
                <a:moveTo>
                  <a:pt x="452" y="226"/>
                </a:moveTo>
                <a:cubicBezTo>
                  <a:pt x="312" y="226"/>
                  <a:pt x="156" y="226"/>
                  <a:pt x="0" y="226"/>
                </a:cubicBezTo>
                <a:cubicBezTo>
                  <a:pt x="0" y="101"/>
                  <a:pt x="101" y="0"/>
                  <a:pt x="226" y="0"/>
                </a:cubicBezTo>
                <a:cubicBezTo>
                  <a:pt x="351" y="0"/>
                  <a:pt x="452" y="101"/>
                  <a:pt x="452" y="226"/>
                </a:cubicBezTo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240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3" name="TextBox 682"/>
          <p:cNvSpPr>
            <a:spLocks noChangeArrowheads="1"/>
          </p:cNvSpPr>
          <p:nvPr/>
        </p:nvSpPr>
        <p:spPr bwMode="auto">
          <a:xfrm>
            <a:off x="8915571" y="3686156"/>
            <a:ext cx="225734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72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67%</a:t>
            </a:r>
            <a:endParaRPr lang="zh-CN" altLang="en-US" sz="72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4" name="TextBox 682"/>
          <p:cNvSpPr>
            <a:spLocks noChangeArrowheads="1"/>
          </p:cNvSpPr>
          <p:nvPr/>
        </p:nvSpPr>
        <p:spPr bwMode="auto">
          <a:xfrm>
            <a:off x="5930410" y="3893156"/>
            <a:ext cx="1877438" cy="995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5867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17%</a:t>
            </a:r>
            <a:endParaRPr lang="zh-CN" altLang="en-US" sz="5867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5" name="TextBox 682"/>
          <p:cNvSpPr>
            <a:spLocks noChangeArrowheads="1"/>
          </p:cNvSpPr>
          <p:nvPr/>
        </p:nvSpPr>
        <p:spPr bwMode="auto">
          <a:xfrm>
            <a:off x="3703687" y="4131026"/>
            <a:ext cx="156805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4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13%</a:t>
            </a:r>
            <a:endParaRPr lang="zh-CN" altLang="en-US" sz="48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6" name="TextBox 682"/>
          <p:cNvSpPr>
            <a:spLocks noChangeArrowheads="1"/>
          </p:cNvSpPr>
          <p:nvPr/>
        </p:nvSpPr>
        <p:spPr bwMode="auto">
          <a:xfrm>
            <a:off x="2318345" y="4339841"/>
            <a:ext cx="949299" cy="666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3733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3%</a:t>
            </a:r>
            <a:endParaRPr lang="zh-CN" altLang="en-US" sz="3733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7" name="TextBox 59"/>
          <p:cNvSpPr>
            <a:spLocks noChangeArrowheads="1"/>
          </p:cNvSpPr>
          <p:nvPr/>
        </p:nvSpPr>
        <p:spPr bwMode="auto">
          <a:xfrm>
            <a:off x="2144845" y="5092072"/>
            <a:ext cx="1281121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zh-CN" altLang="en-US" sz="2133" dirty="0">
                <a:solidFill>
                  <a:srgbClr val="F83003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团队建设</a:t>
            </a:r>
            <a:endParaRPr lang="zh-CN" altLang="en-US" sz="24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8" name="TextBox 60"/>
          <p:cNvSpPr>
            <a:spLocks noChangeArrowheads="1"/>
          </p:cNvSpPr>
          <p:nvPr/>
        </p:nvSpPr>
        <p:spPr bwMode="auto">
          <a:xfrm>
            <a:off x="3779829" y="5039874"/>
            <a:ext cx="141577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zh-CN" altLang="en-US" sz="2400" dirty="0">
                <a:solidFill>
                  <a:srgbClr val="EBAC07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课程研发</a:t>
            </a:r>
          </a:p>
        </p:txBody>
      </p:sp>
      <p:sp>
        <p:nvSpPr>
          <p:cNvPr id="49" name="TextBox 61"/>
          <p:cNvSpPr>
            <a:spLocks noChangeArrowheads="1"/>
          </p:cNvSpPr>
          <p:nvPr/>
        </p:nvSpPr>
        <p:spPr bwMode="auto">
          <a:xfrm>
            <a:off x="6155929" y="5039312"/>
            <a:ext cx="162095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zh-CN" altLang="en-US" sz="2800" dirty="0">
                <a:solidFill>
                  <a:srgbClr val="8BC925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产品升级</a:t>
            </a:r>
            <a:endParaRPr lang="zh-CN" altLang="en-US" sz="16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0" name="直接连接符 63"/>
          <p:cNvSpPr>
            <a:spLocks noChangeShapeType="1"/>
          </p:cNvSpPr>
          <p:nvPr/>
        </p:nvSpPr>
        <p:spPr bwMode="auto">
          <a:xfrm>
            <a:off x="2250655" y="5649029"/>
            <a:ext cx="1069503" cy="0"/>
          </a:xfrm>
          <a:prstGeom prst="line">
            <a:avLst/>
          </a:prstGeom>
          <a:noFill/>
          <a:ln w="5080">
            <a:solidFill>
              <a:srgbClr val="F83003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1" name="矩形 1"/>
          <p:cNvSpPr>
            <a:spLocks noChangeArrowheads="1"/>
          </p:cNvSpPr>
          <p:nvPr/>
        </p:nvSpPr>
        <p:spPr bwMode="auto">
          <a:xfrm>
            <a:off x="1859557" y="5732371"/>
            <a:ext cx="18880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buFont typeface="Arial" panose="020B0604020202020204" pitchFamily="34" charset="0"/>
              <a:buNone/>
            </a:pPr>
            <a:r>
              <a:rPr lang="en-US" altLang="zh-CN" sz="3600" dirty="0">
                <a:solidFill>
                  <a:srgbClr val="F83003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微软雅黑" panose="020B0503020204020204" pitchFamily="34" charset="-122"/>
              </a:rPr>
              <a:t>100</a:t>
            </a:r>
            <a:r>
              <a:rPr lang="zh-CN" altLang="en-US" sz="3600" dirty="0">
                <a:solidFill>
                  <a:srgbClr val="F83003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微软雅黑" panose="020B0503020204020204" pitchFamily="34" charset="-122"/>
              </a:rPr>
              <a:t>万</a:t>
            </a:r>
            <a:endParaRPr lang="zh-CN" altLang="en-US" sz="3600" dirty="0">
              <a:solidFill>
                <a:srgbClr val="F83003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2" name="直接连接符 65"/>
          <p:cNvSpPr>
            <a:spLocks noChangeShapeType="1"/>
          </p:cNvSpPr>
          <p:nvPr/>
        </p:nvSpPr>
        <p:spPr bwMode="auto">
          <a:xfrm>
            <a:off x="3809646" y="5649029"/>
            <a:ext cx="1416319" cy="0"/>
          </a:xfrm>
          <a:prstGeom prst="line">
            <a:avLst/>
          </a:prstGeom>
          <a:noFill/>
          <a:ln w="5080">
            <a:solidFill>
              <a:srgbClr val="EBAC07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3" name="矩形 1"/>
          <p:cNvSpPr>
            <a:spLocks noChangeArrowheads="1"/>
          </p:cNvSpPr>
          <p:nvPr/>
        </p:nvSpPr>
        <p:spPr bwMode="auto">
          <a:xfrm>
            <a:off x="3630535" y="5732372"/>
            <a:ext cx="185600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buFont typeface="Arial" panose="020B0604020202020204" pitchFamily="34" charset="0"/>
              <a:buNone/>
            </a:pPr>
            <a:r>
              <a:rPr lang="en-US" altLang="zh-CN" sz="3600" dirty="0">
                <a:solidFill>
                  <a:srgbClr val="EBAC07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微软雅黑" panose="020B0503020204020204" pitchFamily="34" charset="-122"/>
              </a:rPr>
              <a:t>400</a:t>
            </a:r>
            <a:r>
              <a:rPr lang="zh-CN" altLang="en-US" sz="3600" dirty="0">
                <a:solidFill>
                  <a:srgbClr val="EBAC07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微软雅黑" panose="020B0503020204020204" pitchFamily="34" charset="-122"/>
              </a:rPr>
              <a:t>万</a:t>
            </a:r>
            <a:endParaRPr lang="zh-CN" altLang="en-US" sz="3600" dirty="0">
              <a:solidFill>
                <a:srgbClr val="EBAC07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4" name="直接连接符 67"/>
          <p:cNvSpPr>
            <a:spLocks noChangeShapeType="1"/>
          </p:cNvSpPr>
          <p:nvPr/>
        </p:nvSpPr>
        <p:spPr bwMode="auto">
          <a:xfrm>
            <a:off x="5887825" y="5647214"/>
            <a:ext cx="2157163" cy="1815"/>
          </a:xfrm>
          <a:prstGeom prst="line">
            <a:avLst/>
          </a:prstGeom>
          <a:noFill/>
          <a:ln w="5080">
            <a:solidFill>
              <a:srgbClr val="A2B932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5" name="矩形 1"/>
          <p:cNvSpPr>
            <a:spLocks noChangeArrowheads="1"/>
          </p:cNvSpPr>
          <p:nvPr/>
        </p:nvSpPr>
        <p:spPr bwMode="auto">
          <a:xfrm>
            <a:off x="5800666" y="5670818"/>
            <a:ext cx="2331479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buFont typeface="Arial" panose="020B0604020202020204" pitchFamily="34" charset="0"/>
              <a:buNone/>
            </a:pPr>
            <a:r>
              <a:rPr lang="en-US" altLang="zh-CN" sz="4400" dirty="0">
                <a:solidFill>
                  <a:srgbClr val="A2B932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500</a:t>
            </a:r>
            <a:r>
              <a:rPr lang="zh-CN" altLang="en-US" sz="4400" dirty="0">
                <a:solidFill>
                  <a:srgbClr val="A2B932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万</a:t>
            </a:r>
          </a:p>
        </p:txBody>
      </p:sp>
      <p:sp>
        <p:nvSpPr>
          <p:cNvPr id="56" name="TextBox 71"/>
          <p:cNvSpPr>
            <a:spLocks noChangeArrowheads="1"/>
          </p:cNvSpPr>
          <p:nvPr/>
        </p:nvSpPr>
        <p:spPr bwMode="auto">
          <a:xfrm>
            <a:off x="8977290" y="4984448"/>
            <a:ext cx="2133918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zh-CN" altLang="en-US" sz="3800" dirty="0">
                <a:solidFill>
                  <a:srgbClr val="4C6062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业务拓展</a:t>
            </a:r>
            <a:endParaRPr lang="zh-CN" altLang="en-US" sz="38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7" name="直接连接符 72"/>
          <p:cNvSpPr>
            <a:spLocks noChangeShapeType="1"/>
          </p:cNvSpPr>
          <p:nvPr/>
        </p:nvSpPr>
        <p:spPr bwMode="auto">
          <a:xfrm>
            <a:off x="8861255" y="5649029"/>
            <a:ext cx="2364164" cy="0"/>
          </a:xfrm>
          <a:prstGeom prst="line">
            <a:avLst/>
          </a:prstGeom>
          <a:noFill/>
          <a:ln w="5080">
            <a:solidFill>
              <a:srgbClr val="7F7F7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/>
          </a:p>
        </p:txBody>
      </p:sp>
      <p:sp>
        <p:nvSpPr>
          <p:cNvPr id="58" name="矩形 1"/>
          <p:cNvSpPr>
            <a:spLocks noChangeArrowheads="1"/>
          </p:cNvSpPr>
          <p:nvPr/>
        </p:nvSpPr>
        <p:spPr bwMode="auto">
          <a:xfrm>
            <a:off x="8879413" y="5674124"/>
            <a:ext cx="2329664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4400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微软雅黑" panose="020B0503020204020204" pitchFamily="34" charset="-122"/>
              </a:rPr>
              <a:t>2000</a:t>
            </a:r>
            <a:r>
              <a:rPr lang="zh-CN" altLang="en-US" sz="4400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微软雅黑" panose="020B0503020204020204" pitchFamily="34" charset="-122"/>
              </a:rPr>
              <a:t>万</a:t>
            </a:r>
            <a:endParaRPr lang="zh-CN" altLang="en-US" sz="48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59" name="直接连接符 58"/>
          <p:cNvSpPr>
            <a:spLocks noChangeShapeType="1"/>
          </p:cNvSpPr>
          <p:nvPr/>
        </p:nvSpPr>
        <p:spPr bwMode="auto">
          <a:xfrm>
            <a:off x="2250655" y="6453425"/>
            <a:ext cx="1069503" cy="1816"/>
          </a:xfrm>
          <a:prstGeom prst="line">
            <a:avLst/>
          </a:prstGeom>
          <a:noFill/>
          <a:ln w="5080">
            <a:solidFill>
              <a:srgbClr val="F83003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/>
          </a:p>
        </p:txBody>
      </p:sp>
      <p:sp>
        <p:nvSpPr>
          <p:cNvPr id="60" name="直接连接符 62"/>
          <p:cNvSpPr>
            <a:spLocks noChangeShapeType="1"/>
          </p:cNvSpPr>
          <p:nvPr/>
        </p:nvSpPr>
        <p:spPr bwMode="auto">
          <a:xfrm>
            <a:off x="3809646" y="6455241"/>
            <a:ext cx="1416319" cy="0"/>
          </a:xfrm>
          <a:prstGeom prst="line">
            <a:avLst/>
          </a:prstGeom>
          <a:noFill/>
          <a:ln w="5080">
            <a:solidFill>
              <a:srgbClr val="EBAC07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/>
          </a:p>
        </p:txBody>
      </p:sp>
      <p:sp>
        <p:nvSpPr>
          <p:cNvPr id="61" name="直接连接符 69"/>
          <p:cNvSpPr>
            <a:spLocks noChangeShapeType="1"/>
          </p:cNvSpPr>
          <p:nvPr/>
        </p:nvSpPr>
        <p:spPr bwMode="auto">
          <a:xfrm>
            <a:off x="5906113" y="6455241"/>
            <a:ext cx="2157163" cy="0"/>
          </a:xfrm>
          <a:prstGeom prst="line">
            <a:avLst/>
          </a:prstGeom>
          <a:noFill/>
          <a:ln w="5080">
            <a:solidFill>
              <a:srgbClr val="A2B932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/>
          </a:p>
        </p:txBody>
      </p:sp>
      <p:sp>
        <p:nvSpPr>
          <p:cNvPr id="62" name="直接连接符 70"/>
          <p:cNvSpPr>
            <a:spLocks noChangeShapeType="1"/>
          </p:cNvSpPr>
          <p:nvPr/>
        </p:nvSpPr>
        <p:spPr bwMode="auto">
          <a:xfrm>
            <a:off x="8861255" y="6455241"/>
            <a:ext cx="2364164" cy="0"/>
          </a:xfrm>
          <a:prstGeom prst="line">
            <a:avLst/>
          </a:prstGeom>
          <a:noFill/>
          <a:ln w="5080">
            <a:solidFill>
              <a:srgbClr val="7F7F7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2400"/>
          </a:p>
        </p:txBody>
      </p:sp>
      <p:sp>
        <p:nvSpPr>
          <p:cNvPr id="68" name="TextBox 88"/>
          <p:cNvSpPr>
            <a:spLocks noChangeArrowheads="1"/>
          </p:cNvSpPr>
          <p:nvPr/>
        </p:nvSpPr>
        <p:spPr bwMode="auto">
          <a:xfrm>
            <a:off x="9746299" y="1086490"/>
            <a:ext cx="183415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2400" dirty="0">
                <a:solidFill>
                  <a:srgbClr val="EBAC07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A  </a:t>
            </a:r>
            <a:r>
              <a:rPr lang="zh-CN" altLang="en-US" sz="2400" dirty="0">
                <a:solidFill>
                  <a:srgbClr val="EBAC07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股权转让</a:t>
            </a:r>
            <a:endParaRPr lang="zh-CN" altLang="en-US" sz="28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69" name="TextBox 89"/>
          <p:cNvSpPr>
            <a:spLocks noChangeArrowheads="1"/>
          </p:cNvSpPr>
          <p:nvPr/>
        </p:nvSpPr>
        <p:spPr bwMode="auto">
          <a:xfrm>
            <a:off x="9746299" y="1741958"/>
            <a:ext cx="181652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2400" dirty="0">
                <a:solidFill>
                  <a:srgbClr val="A2B932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B  </a:t>
            </a:r>
            <a:r>
              <a:rPr lang="zh-CN" altLang="en-US" sz="2400" dirty="0">
                <a:solidFill>
                  <a:srgbClr val="A2B932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上市变现</a:t>
            </a:r>
            <a:endParaRPr lang="zh-CN" altLang="en-US" sz="28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70" name="TextBox 90"/>
          <p:cNvSpPr>
            <a:spLocks noChangeArrowheads="1"/>
          </p:cNvSpPr>
          <p:nvPr/>
        </p:nvSpPr>
        <p:spPr bwMode="auto">
          <a:xfrm>
            <a:off x="9746299" y="2406570"/>
            <a:ext cx="18437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zh-CN" sz="2400" dirty="0">
                <a:solidFill>
                  <a:srgbClr val="284848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C  </a:t>
            </a:r>
            <a:r>
              <a:rPr lang="zh-CN" altLang="en-US" sz="2400" dirty="0">
                <a:solidFill>
                  <a:srgbClr val="284848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股东回购</a:t>
            </a:r>
            <a:endParaRPr lang="zh-CN" altLang="en-US" sz="28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grpSp>
        <p:nvGrpSpPr>
          <p:cNvPr id="90" name="组合 89"/>
          <p:cNvGrpSpPr/>
          <p:nvPr/>
        </p:nvGrpSpPr>
        <p:grpSpPr>
          <a:xfrm>
            <a:off x="8745245" y="1701136"/>
            <a:ext cx="972000" cy="576000"/>
            <a:chOff x="9113743" y="1385959"/>
            <a:chExt cx="955675" cy="446087"/>
          </a:xfrm>
        </p:grpSpPr>
        <p:sp>
          <p:nvSpPr>
            <p:cNvPr id="66" name="Rectangle 7"/>
            <p:cNvSpPr>
              <a:spLocks noChangeArrowheads="1"/>
            </p:cNvSpPr>
            <p:nvPr/>
          </p:nvSpPr>
          <p:spPr bwMode="auto">
            <a:xfrm>
              <a:off x="9113743" y="1385959"/>
              <a:ext cx="955675" cy="446087"/>
            </a:xfrm>
            <a:prstGeom prst="rect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endParaRPr lang="zh-CN" altLang="zh-CN" sz="1600">
                <a:solidFill>
                  <a:srgbClr val="000000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71" name="Freeform 71"/>
            <p:cNvSpPr>
              <a:spLocks noEditPoints="1"/>
            </p:cNvSpPr>
            <p:nvPr/>
          </p:nvSpPr>
          <p:spPr bwMode="auto">
            <a:xfrm>
              <a:off x="9184522" y="1387045"/>
              <a:ext cx="746846" cy="422118"/>
            </a:xfrm>
            <a:custGeom>
              <a:avLst/>
              <a:gdLst>
                <a:gd name="T0" fmla="*/ 39 w 213"/>
                <a:gd name="T1" fmla="*/ 157 h 196"/>
                <a:gd name="T2" fmla="*/ 39 w 213"/>
                <a:gd name="T3" fmla="*/ 16 h 196"/>
                <a:gd name="T4" fmla="*/ 28 w 213"/>
                <a:gd name="T5" fmla="*/ 16 h 196"/>
                <a:gd name="T6" fmla="*/ 28 w 213"/>
                <a:gd name="T7" fmla="*/ 157 h 196"/>
                <a:gd name="T8" fmla="*/ 0 w 213"/>
                <a:gd name="T9" fmla="*/ 157 h 196"/>
                <a:gd name="T10" fmla="*/ 0 w 213"/>
                <a:gd name="T11" fmla="*/ 168 h 196"/>
                <a:gd name="T12" fmla="*/ 28 w 213"/>
                <a:gd name="T13" fmla="*/ 168 h 196"/>
                <a:gd name="T14" fmla="*/ 28 w 213"/>
                <a:gd name="T15" fmla="*/ 196 h 196"/>
                <a:gd name="T16" fmla="*/ 39 w 213"/>
                <a:gd name="T17" fmla="*/ 196 h 196"/>
                <a:gd name="T18" fmla="*/ 39 w 213"/>
                <a:gd name="T19" fmla="*/ 168 h 196"/>
                <a:gd name="T20" fmla="*/ 213 w 213"/>
                <a:gd name="T21" fmla="*/ 168 h 196"/>
                <a:gd name="T22" fmla="*/ 213 w 213"/>
                <a:gd name="T23" fmla="*/ 157 h 196"/>
                <a:gd name="T24" fmla="*/ 39 w 213"/>
                <a:gd name="T25" fmla="*/ 157 h 196"/>
                <a:gd name="T26" fmla="*/ 180 w 213"/>
                <a:gd name="T27" fmla="*/ 0 h 196"/>
                <a:gd name="T28" fmla="*/ 147 w 213"/>
                <a:gd name="T29" fmla="*/ 65 h 196"/>
                <a:gd name="T30" fmla="*/ 121 w 213"/>
                <a:gd name="T31" fmla="*/ 33 h 196"/>
                <a:gd name="T32" fmla="*/ 93 w 213"/>
                <a:gd name="T33" fmla="*/ 65 h 196"/>
                <a:gd name="T34" fmla="*/ 77 w 213"/>
                <a:gd name="T35" fmla="*/ 54 h 196"/>
                <a:gd name="T36" fmla="*/ 49 w 213"/>
                <a:gd name="T37" fmla="*/ 82 h 196"/>
                <a:gd name="T38" fmla="*/ 49 w 213"/>
                <a:gd name="T39" fmla="*/ 147 h 196"/>
                <a:gd name="T40" fmla="*/ 180 w 213"/>
                <a:gd name="T41" fmla="*/ 147 h 196"/>
                <a:gd name="T42" fmla="*/ 180 w 213"/>
                <a:gd name="T4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3" h="196">
                  <a:moveTo>
                    <a:pt x="39" y="157"/>
                  </a:moveTo>
                  <a:lnTo>
                    <a:pt x="39" y="16"/>
                  </a:lnTo>
                  <a:lnTo>
                    <a:pt x="28" y="16"/>
                  </a:lnTo>
                  <a:lnTo>
                    <a:pt x="28" y="157"/>
                  </a:lnTo>
                  <a:lnTo>
                    <a:pt x="0" y="157"/>
                  </a:lnTo>
                  <a:lnTo>
                    <a:pt x="0" y="168"/>
                  </a:lnTo>
                  <a:lnTo>
                    <a:pt x="28" y="168"/>
                  </a:lnTo>
                  <a:lnTo>
                    <a:pt x="28" y="196"/>
                  </a:lnTo>
                  <a:lnTo>
                    <a:pt x="39" y="196"/>
                  </a:lnTo>
                  <a:lnTo>
                    <a:pt x="39" y="168"/>
                  </a:lnTo>
                  <a:lnTo>
                    <a:pt x="213" y="168"/>
                  </a:lnTo>
                  <a:lnTo>
                    <a:pt x="213" y="157"/>
                  </a:lnTo>
                  <a:lnTo>
                    <a:pt x="39" y="157"/>
                  </a:lnTo>
                  <a:close/>
                  <a:moveTo>
                    <a:pt x="180" y="0"/>
                  </a:moveTo>
                  <a:lnTo>
                    <a:pt x="147" y="65"/>
                  </a:lnTo>
                  <a:lnTo>
                    <a:pt x="121" y="33"/>
                  </a:lnTo>
                  <a:lnTo>
                    <a:pt x="93" y="65"/>
                  </a:lnTo>
                  <a:lnTo>
                    <a:pt x="77" y="54"/>
                  </a:lnTo>
                  <a:lnTo>
                    <a:pt x="49" y="82"/>
                  </a:lnTo>
                  <a:lnTo>
                    <a:pt x="49" y="147"/>
                  </a:lnTo>
                  <a:lnTo>
                    <a:pt x="180" y="147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8745245" y="2362077"/>
            <a:ext cx="972000" cy="576000"/>
            <a:chOff x="9115330" y="1861827"/>
            <a:chExt cx="954088" cy="446087"/>
          </a:xfrm>
        </p:grpSpPr>
        <p:sp>
          <p:nvSpPr>
            <p:cNvPr id="67" name="Rectangle 8"/>
            <p:cNvSpPr>
              <a:spLocks noChangeArrowheads="1"/>
            </p:cNvSpPr>
            <p:nvPr/>
          </p:nvSpPr>
          <p:spPr bwMode="auto">
            <a:xfrm>
              <a:off x="9115330" y="1861827"/>
              <a:ext cx="954088" cy="446087"/>
            </a:xfrm>
            <a:prstGeom prst="rect">
              <a:avLst/>
            </a:prstGeom>
            <a:solidFill>
              <a:srgbClr val="4C6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endParaRPr lang="zh-CN" altLang="zh-CN" sz="1600">
                <a:solidFill>
                  <a:srgbClr val="000000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72" name="Freeform 142"/>
            <p:cNvSpPr>
              <a:spLocks noEditPoints="1"/>
            </p:cNvSpPr>
            <p:nvPr/>
          </p:nvSpPr>
          <p:spPr bwMode="auto">
            <a:xfrm>
              <a:off x="9304234" y="1945345"/>
              <a:ext cx="573106" cy="348006"/>
            </a:xfrm>
            <a:custGeom>
              <a:avLst/>
              <a:gdLst>
                <a:gd name="T0" fmla="*/ 172 w 209"/>
                <a:gd name="T1" fmla="*/ 85 h 127"/>
                <a:gd name="T2" fmla="*/ 142 w 209"/>
                <a:gd name="T3" fmla="*/ 17 h 127"/>
                <a:gd name="T4" fmla="*/ 138 w 209"/>
                <a:gd name="T5" fmla="*/ 20 h 127"/>
                <a:gd name="T6" fmla="*/ 131 w 209"/>
                <a:gd name="T7" fmla="*/ 19 h 127"/>
                <a:gd name="T8" fmla="*/ 79 w 209"/>
                <a:gd name="T9" fmla="*/ 23 h 127"/>
                <a:gd name="T10" fmla="*/ 67 w 209"/>
                <a:gd name="T11" fmla="*/ 17 h 127"/>
                <a:gd name="T12" fmla="*/ 37 w 209"/>
                <a:gd name="T13" fmla="*/ 85 h 127"/>
                <a:gd name="T14" fmla="*/ 45 w 209"/>
                <a:gd name="T15" fmla="*/ 91 h 127"/>
                <a:gd name="T16" fmla="*/ 60 w 209"/>
                <a:gd name="T17" fmla="*/ 99 h 127"/>
                <a:gd name="T18" fmla="*/ 72 w 209"/>
                <a:gd name="T19" fmla="*/ 110 h 127"/>
                <a:gd name="T20" fmla="*/ 85 w 209"/>
                <a:gd name="T21" fmla="*/ 121 h 127"/>
                <a:gd name="T22" fmla="*/ 109 w 209"/>
                <a:gd name="T23" fmla="*/ 125 h 127"/>
                <a:gd name="T24" fmla="*/ 116 w 209"/>
                <a:gd name="T25" fmla="*/ 111 h 127"/>
                <a:gd name="T26" fmla="*/ 130 w 209"/>
                <a:gd name="T27" fmla="*/ 116 h 127"/>
                <a:gd name="T28" fmla="*/ 134 w 209"/>
                <a:gd name="T29" fmla="*/ 102 h 127"/>
                <a:gd name="T30" fmla="*/ 141 w 209"/>
                <a:gd name="T31" fmla="*/ 104 h 127"/>
                <a:gd name="T32" fmla="*/ 149 w 209"/>
                <a:gd name="T33" fmla="*/ 91 h 127"/>
                <a:gd name="T34" fmla="*/ 158 w 209"/>
                <a:gd name="T35" fmla="*/ 93 h 127"/>
                <a:gd name="T36" fmla="*/ 165 w 209"/>
                <a:gd name="T37" fmla="*/ 79 h 127"/>
                <a:gd name="T38" fmla="*/ 34 w 209"/>
                <a:gd name="T39" fmla="*/ 9 h 127"/>
                <a:gd name="T40" fmla="*/ 175 w 209"/>
                <a:gd name="T41" fmla="*/ 9 h 127"/>
                <a:gd name="T42" fmla="*/ 151 w 209"/>
                <a:gd name="T43" fmla="*/ 20 h 127"/>
                <a:gd name="T44" fmla="*/ 100 w 209"/>
                <a:gd name="T45" fmla="*/ 27 h 127"/>
                <a:gd name="T46" fmla="*/ 108 w 209"/>
                <a:gd name="T47" fmla="*/ 25 h 127"/>
                <a:gd name="T48" fmla="*/ 115 w 209"/>
                <a:gd name="T49" fmla="*/ 24 h 127"/>
                <a:gd name="T50" fmla="*/ 130 w 209"/>
                <a:gd name="T51" fmla="*/ 26 h 127"/>
                <a:gd name="T52" fmla="*/ 148 w 209"/>
                <a:gd name="T53" fmla="*/ 29 h 127"/>
                <a:gd name="T54" fmla="*/ 160 w 209"/>
                <a:gd name="T55" fmla="*/ 75 h 127"/>
                <a:gd name="T56" fmla="*/ 111 w 209"/>
                <a:gd name="T57" fmla="*/ 48 h 127"/>
                <a:gd name="T58" fmla="*/ 107 w 209"/>
                <a:gd name="T59" fmla="*/ 47 h 127"/>
                <a:gd name="T60" fmla="*/ 103 w 209"/>
                <a:gd name="T61" fmla="*/ 46 h 127"/>
                <a:gd name="T62" fmla="*/ 95 w 209"/>
                <a:gd name="T63" fmla="*/ 47 h 127"/>
                <a:gd name="T64" fmla="*/ 93 w 209"/>
                <a:gd name="T65" fmla="*/ 48 h 127"/>
                <a:gd name="T66" fmla="*/ 72 w 209"/>
                <a:gd name="T67" fmla="*/ 52 h 127"/>
                <a:gd name="T68" fmla="*/ 69 w 209"/>
                <a:gd name="T69" fmla="*/ 50 h 127"/>
                <a:gd name="T70" fmla="*/ 94 w 209"/>
                <a:gd name="T71" fmla="*/ 30 h 127"/>
                <a:gd name="T72" fmla="*/ 50 w 209"/>
                <a:gd name="T73" fmla="*/ 90 h 127"/>
                <a:gd name="T74" fmla="*/ 56 w 209"/>
                <a:gd name="T75" fmla="*/ 84 h 127"/>
                <a:gd name="T76" fmla="*/ 71 w 209"/>
                <a:gd name="T77" fmla="*/ 105 h 127"/>
                <a:gd name="T78" fmla="*/ 70 w 209"/>
                <a:gd name="T79" fmla="*/ 94 h 127"/>
                <a:gd name="T80" fmla="*/ 71 w 209"/>
                <a:gd name="T81" fmla="*/ 105 h 127"/>
                <a:gd name="T82" fmla="*/ 80 w 209"/>
                <a:gd name="T83" fmla="*/ 107 h 127"/>
                <a:gd name="T84" fmla="*/ 91 w 209"/>
                <a:gd name="T85" fmla="*/ 10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9" h="127">
                  <a:moveTo>
                    <a:pt x="165" y="79"/>
                  </a:moveTo>
                  <a:cubicBezTo>
                    <a:pt x="167" y="78"/>
                    <a:pt x="167" y="77"/>
                    <a:pt x="168" y="76"/>
                  </a:cubicBezTo>
                  <a:cubicBezTo>
                    <a:pt x="172" y="85"/>
                    <a:pt x="172" y="85"/>
                    <a:pt x="172" y="85"/>
                  </a:cubicBezTo>
                  <a:cubicBezTo>
                    <a:pt x="209" y="68"/>
                    <a:pt x="209" y="68"/>
                    <a:pt x="209" y="68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4" y="22"/>
                    <a:pt x="144" y="22"/>
                    <a:pt x="144" y="22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4" y="19"/>
                    <a:pt x="134" y="19"/>
                    <a:pt x="134" y="19"/>
                  </a:cubicBezTo>
                  <a:cubicBezTo>
                    <a:pt x="133" y="19"/>
                    <a:pt x="132" y="19"/>
                    <a:pt x="131" y="19"/>
                  </a:cubicBezTo>
                  <a:cubicBezTo>
                    <a:pt x="121" y="17"/>
                    <a:pt x="104" y="16"/>
                    <a:pt x="93" y="23"/>
                  </a:cubicBezTo>
                  <a:cubicBezTo>
                    <a:pt x="91" y="24"/>
                    <a:pt x="90" y="25"/>
                    <a:pt x="89" y="26"/>
                  </a:cubicBezTo>
                  <a:cubicBezTo>
                    <a:pt x="86" y="23"/>
                    <a:pt x="82" y="22"/>
                    <a:pt x="79" y="23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41" y="76"/>
                    <a:pt x="41" y="76"/>
                    <a:pt x="41" y="76"/>
                  </a:cubicBezTo>
                  <a:cubicBezTo>
                    <a:pt x="43" y="78"/>
                    <a:pt x="45" y="81"/>
                    <a:pt x="47" y="83"/>
                  </a:cubicBezTo>
                  <a:cubicBezTo>
                    <a:pt x="46" y="85"/>
                    <a:pt x="45" y="88"/>
                    <a:pt x="45" y="91"/>
                  </a:cubicBezTo>
                  <a:cubicBezTo>
                    <a:pt x="46" y="96"/>
                    <a:pt x="51" y="100"/>
                    <a:pt x="56" y="100"/>
                  </a:cubicBezTo>
                  <a:cubicBezTo>
                    <a:pt x="56" y="100"/>
                    <a:pt x="57" y="100"/>
                    <a:pt x="57" y="100"/>
                  </a:cubicBezTo>
                  <a:cubicBezTo>
                    <a:pt x="58" y="100"/>
                    <a:pt x="59" y="99"/>
                    <a:pt x="60" y="99"/>
                  </a:cubicBezTo>
                  <a:cubicBezTo>
                    <a:pt x="60" y="100"/>
                    <a:pt x="60" y="100"/>
                    <a:pt x="60" y="101"/>
                  </a:cubicBezTo>
                  <a:cubicBezTo>
                    <a:pt x="61" y="106"/>
                    <a:pt x="65" y="110"/>
                    <a:pt x="70" y="110"/>
                  </a:cubicBezTo>
                  <a:cubicBezTo>
                    <a:pt x="71" y="110"/>
                    <a:pt x="71" y="110"/>
                    <a:pt x="72" y="110"/>
                  </a:cubicBezTo>
                  <a:cubicBezTo>
                    <a:pt x="73" y="110"/>
                    <a:pt x="74" y="110"/>
                    <a:pt x="74" y="109"/>
                  </a:cubicBezTo>
                  <a:cubicBezTo>
                    <a:pt x="74" y="110"/>
                    <a:pt x="74" y="111"/>
                    <a:pt x="75" y="112"/>
                  </a:cubicBezTo>
                  <a:cubicBezTo>
                    <a:pt x="75" y="117"/>
                    <a:pt x="80" y="121"/>
                    <a:pt x="85" y="121"/>
                  </a:cubicBezTo>
                  <a:cubicBezTo>
                    <a:pt x="85" y="121"/>
                    <a:pt x="86" y="121"/>
                    <a:pt x="86" y="120"/>
                  </a:cubicBezTo>
                  <a:cubicBezTo>
                    <a:pt x="90" y="120"/>
                    <a:pt x="92" y="118"/>
                    <a:pt x="94" y="116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12" y="127"/>
                    <a:pt x="117" y="126"/>
                    <a:pt x="119" y="122"/>
                  </a:cubicBezTo>
                  <a:cubicBezTo>
                    <a:pt x="121" y="118"/>
                    <a:pt x="120" y="114"/>
                    <a:pt x="116" y="112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17" y="111"/>
                    <a:pt x="118" y="111"/>
                    <a:pt x="119" y="110"/>
                  </a:cubicBezTo>
                  <a:cubicBezTo>
                    <a:pt x="126" y="115"/>
                    <a:pt x="126" y="115"/>
                    <a:pt x="126" y="115"/>
                  </a:cubicBezTo>
                  <a:cubicBezTo>
                    <a:pt x="128" y="116"/>
                    <a:pt x="129" y="116"/>
                    <a:pt x="130" y="116"/>
                  </a:cubicBezTo>
                  <a:cubicBezTo>
                    <a:pt x="133" y="116"/>
                    <a:pt x="135" y="115"/>
                    <a:pt x="137" y="112"/>
                  </a:cubicBezTo>
                  <a:cubicBezTo>
                    <a:pt x="138" y="111"/>
                    <a:pt x="138" y="109"/>
                    <a:pt x="138" y="107"/>
                  </a:cubicBezTo>
                  <a:cubicBezTo>
                    <a:pt x="137" y="105"/>
                    <a:pt x="136" y="103"/>
                    <a:pt x="134" y="102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3" y="101"/>
                    <a:pt x="134" y="100"/>
                    <a:pt x="134" y="100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2" y="104"/>
                    <a:pt x="143" y="105"/>
                    <a:pt x="145" y="105"/>
                  </a:cubicBezTo>
                  <a:cubicBezTo>
                    <a:pt x="147" y="105"/>
                    <a:pt x="150" y="103"/>
                    <a:pt x="151" y="101"/>
                  </a:cubicBezTo>
                  <a:cubicBezTo>
                    <a:pt x="153" y="98"/>
                    <a:pt x="152" y="93"/>
                    <a:pt x="149" y="91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4" y="92"/>
                    <a:pt x="154" y="92"/>
                    <a:pt x="154" y="92"/>
                  </a:cubicBezTo>
                  <a:cubicBezTo>
                    <a:pt x="155" y="92"/>
                    <a:pt x="157" y="93"/>
                    <a:pt x="158" y="93"/>
                  </a:cubicBezTo>
                  <a:cubicBezTo>
                    <a:pt x="161" y="93"/>
                    <a:pt x="163" y="91"/>
                    <a:pt x="164" y="89"/>
                  </a:cubicBezTo>
                  <a:cubicBezTo>
                    <a:pt x="166" y="86"/>
                    <a:pt x="166" y="83"/>
                    <a:pt x="164" y="80"/>
                  </a:cubicBezTo>
                  <a:cubicBezTo>
                    <a:pt x="164" y="80"/>
                    <a:pt x="165" y="80"/>
                    <a:pt x="165" y="79"/>
                  </a:cubicBezTo>
                  <a:close/>
                  <a:moveTo>
                    <a:pt x="34" y="76"/>
                  </a:moveTo>
                  <a:cubicBezTo>
                    <a:pt x="9" y="65"/>
                    <a:pt x="9" y="65"/>
                    <a:pt x="9" y="65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59" y="20"/>
                    <a:pt x="59" y="20"/>
                    <a:pt x="59" y="20"/>
                  </a:cubicBezTo>
                  <a:lnTo>
                    <a:pt x="34" y="76"/>
                  </a:lnTo>
                  <a:close/>
                  <a:moveTo>
                    <a:pt x="175" y="9"/>
                  </a:moveTo>
                  <a:cubicBezTo>
                    <a:pt x="200" y="65"/>
                    <a:pt x="200" y="65"/>
                    <a:pt x="200" y="65"/>
                  </a:cubicBezTo>
                  <a:cubicBezTo>
                    <a:pt x="176" y="76"/>
                    <a:pt x="176" y="76"/>
                    <a:pt x="176" y="76"/>
                  </a:cubicBezTo>
                  <a:cubicBezTo>
                    <a:pt x="151" y="20"/>
                    <a:pt x="151" y="20"/>
                    <a:pt x="151" y="20"/>
                  </a:cubicBezTo>
                  <a:lnTo>
                    <a:pt x="175" y="9"/>
                  </a:lnTo>
                  <a:close/>
                  <a:moveTo>
                    <a:pt x="98" y="28"/>
                  </a:moveTo>
                  <a:cubicBezTo>
                    <a:pt x="99" y="27"/>
                    <a:pt x="99" y="27"/>
                    <a:pt x="100" y="27"/>
                  </a:cubicBezTo>
                  <a:cubicBezTo>
                    <a:pt x="101" y="26"/>
                    <a:pt x="102" y="26"/>
                    <a:pt x="103" y="26"/>
                  </a:cubicBezTo>
                  <a:cubicBezTo>
                    <a:pt x="103" y="26"/>
                    <a:pt x="104" y="26"/>
                    <a:pt x="105" y="25"/>
                  </a:cubicBezTo>
                  <a:cubicBezTo>
                    <a:pt x="106" y="25"/>
                    <a:pt x="107" y="25"/>
                    <a:pt x="108" y="25"/>
                  </a:cubicBezTo>
                  <a:cubicBezTo>
                    <a:pt x="108" y="25"/>
                    <a:pt x="109" y="25"/>
                    <a:pt x="110" y="25"/>
                  </a:cubicBezTo>
                  <a:cubicBezTo>
                    <a:pt x="111" y="24"/>
                    <a:pt x="113" y="24"/>
                    <a:pt x="114" y="24"/>
                  </a:cubicBezTo>
                  <a:cubicBezTo>
                    <a:pt x="114" y="24"/>
                    <a:pt x="114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21" y="24"/>
                    <a:pt x="126" y="25"/>
                    <a:pt x="130" y="26"/>
                  </a:cubicBezTo>
                  <a:cubicBezTo>
                    <a:pt x="130" y="26"/>
                    <a:pt x="130" y="26"/>
                    <a:pt x="130" y="26"/>
                  </a:cubicBezTo>
                  <a:cubicBezTo>
                    <a:pt x="133" y="26"/>
                    <a:pt x="135" y="27"/>
                    <a:pt x="136" y="27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65" y="68"/>
                    <a:pt x="165" y="68"/>
                    <a:pt x="165" y="68"/>
                  </a:cubicBezTo>
                  <a:cubicBezTo>
                    <a:pt x="164" y="70"/>
                    <a:pt x="162" y="72"/>
                    <a:pt x="161" y="74"/>
                  </a:cubicBezTo>
                  <a:cubicBezTo>
                    <a:pt x="160" y="75"/>
                    <a:pt x="160" y="75"/>
                    <a:pt x="160" y="75"/>
                  </a:cubicBezTo>
                  <a:cubicBezTo>
                    <a:pt x="160" y="75"/>
                    <a:pt x="159" y="76"/>
                    <a:pt x="158" y="76"/>
                  </a:cubicBezTo>
                  <a:cubicBezTo>
                    <a:pt x="114" y="49"/>
                    <a:pt x="114" y="49"/>
                    <a:pt x="114" y="49"/>
                  </a:cubicBezTo>
                  <a:cubicBezTo>
                    <a:pt x="113" y="49"/>
                    <a:pt x="112" y="48"/>
                    <a:pt x="111" y="48"/>
                  </a:cubicBezTo>
                  <a:cubicBezTo>
                    <a:pt x="110" y="47"/>
                    <a:pt x="109" y="47"/>
                    <a:pt x="108" y="47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08" y="47"/>
                    <a:pt x="108" y="47"/>
                    <a:pt x="107" y="47"/>
                  </a:cubicBezTo>
                  <a:cubicBezTo>
                    <a:pt x="107" y="47"/>
                    <a:pt x="107" y="47"/>
                    <a:pt x="106" y="47"/>
                  </a:cubicBezTo>
                  <a:cubicBezTo>
                    <a:pt x="106" y="46"/>
                    <a:pt x="105" y="46"/>
                    <a:pt x="104" y="46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2" y="46"/>
                    <a:pt x="102" y="46"/>
                    <a:pt x="101" y="46"/>
                  </a:cubicBezTo>
                  <a:cubicBezTo>
                    <a:pt x="101" y="46"/>
                    <a:pt x="100" y="46"/>
                    <a:pt x="100" y="46"/>
                  </a:cubicBezTo>
                  <a:cubicBezTo>
                    <a:pt x="98" y="46"/>
                    <a:pt x="97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4" y="48"/>
                    <a:pt x="94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2" y="48"/>
                    <a:pt x="92" y="49"/>
                    <a:pt x="91" y="49"/>
                  </a:cubicBezTo>
                  <a:cubicBezTo>
                    <a:pt x="90" y="49"/>
                    <a:pt x="90" y="50"/>
                    <a:pt x="89" y="50"/>
                  </a:cubicBezTo>
                  <a:cubicBezTo>
                    <a:pt x="82" y="53"/>
                    <a:pt x="76" y="53"/>
                    <a:pt x="72" y="52"/>
                  </a:cubicBezTo>
                  <a:cubicBezTo>
                    <a:pt x="71" y="52"/>
                    <a:pt x="71" y="51"/>
                    <a:pt x="70" y="51"/>
                  </a:cubicBezTo>
                  <a:cubicBezTo>
                    <a:pt x="70" y="51"/>
                    <a:pt x="70" y="50"/>
                    <a:pt x="70" y="50"/>
                  </a:cubicBezTo>
                  <a:cubicBezTo>
                    <a:pt x="70" y="50"/>
                    <a:pt x="69" y="50"/>
                    <a:pt x="69" y="50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8" y="48"/>
                    <a:pt x="66" y="40"/>
                    <a:pt x="70" y="40"/>
                  </a:cubicBezTo>
                  <a:cubicBezTo>
                    <a:pt x="72" y="39"/>
                    <a:pt x="84" y="36"/>
                    <a:pt x="94" y="30"/>
                  </a:cubicBezTo>
                  <a:cubicBezTo>
                    <a:pt x="95" y="29"/>
                    <a:pt x="96" y="28"/>
                    <a:pt x="98" y="28"/>
                  </a:cubicBezTo>
                  <a:close/>
                  <a:moveTo>
                    <a:pt x="57" y="95"/>
                  </a:moveTo>
                  <a:cubicBezTo>
                    <a:pt x="54" y="95"/>
                    <a:pt x="51" y="93"/>
                    <a:pt x="50" y="90"/>
                  </a:cubicBezTo>
                  <a:cubicBezTo>
                    <a:pt x="50" y="89"/>
                    <a:pt x="50" y="87"/>
                    <a:pt x="51" y="86"/>
                  </a:cubicBezTo>
                  <a:cubicBezTo>
                    <a:pt x="52" y="85"/>
                    <a:pt x="54" y="84"/>
                    <a:pt x="55" y="84"/>
                  </a:cubicBezTo>
                  <a:cubicBezTo>
                    <a:pt x="55" y="84"/>
                    <a:pt x="56" y="84"/>
                    <a:pt x="56" y="84"/>
                  </a:cubicBezTo>
                  <a:cubicBezTo>
                    <a:pt x="59" y="84"/>
                    <a:pt x="61" y="86"/>
                    <a:pt x="61" y="89"/>
                  </a:cubicBezTo>
                  <a:cubicBezTo>
                    <a:pt x="62" y="92"/>
                    <a:pt x="60" y="95"/>
                    <a:pt x="57" y="95"/>
                  </a:cubicBezTo>
                  <a:close/>
                  <a:moveTo>
                    <a:pt x="71" y="105"/>
                  </a:moveTo>
                  <a:cubicBezTo>
                    <a:pt x="68" y="106"/>
                    <a:pt x="65" y="104"/>
                    <a:pt x="65" y="100"/>
                  </a:cubicBezTo>
                  <a:cubicBezTo>
                    <a:pt x="65" y="99"/>
                    <a:pt x="65" y="98"/>
                    <a:pt x="66" y="96"/>
                  </a:cubicBezTo>
                  <a:cubicBezTo>
                    <a:pt x="67" y="95"/>
                    <a:pt x="68" y="94"/>
                    <a:pt x="70" y="94"/>
                  </a:cubicBezTo>
                  <a:cubicBezTo>
                    <a:pt x="70" y="94"/>
                    <a:pt x="70" y="94"/>
                    <a:pt x="70" y="94"/>
                  </a:cubicBezTo>
                  <a:cubicBezTo>
                    <a:pt x="73" y="94"/>
                    <a:pt x="76" y="96"/>
                    <a:pt x="76" y="99"/>
                  </a:cubicBezTo>
                  <a:cubicBezTo>
                    <a:pt x="76" y="102"/>
                    <a:pt x="74" y="105"/>
                    <a:pt x="71" y="105"/>
                  </a:cubicBezTo>
                  <a:close/>
                  <a:moveTo>
                    <a:pt x="86" y="116"/>
                  </a:moveTo>
                  <a:cubicBezTo>
                    <a:pt x="83" y="116"/>
                    <a:pt x="80" y="114"/>
                    <a:pt x="79" y="111"/>
                  </a:cubicBezTo>
                  <a:cubicBezTo>
                    <a:pt x="79" y="109"/>
                    <a:pt x="79" y="108"/>
                    <a:pt x="80" y="107"/>
                  </a:cubicBezTo>
                  <a:cubicBezTo>
                    <a:pt x="81" y="105"/>
                    <a:pt x="83" y="105"/>
                    <a:pt x="84" y="104"/>
                  </a:cubicBezTo>
                  <a:cubicBezTo>
                    <a:pt x="84" y="104"/>
                    <a:pt x="85" y="104"/>
                    <a:pt x="85" y="104"/>
                  </a:cubicBezTo>
                  <a:cubicBezTo>
                    <a:pt x="88" y="104"/>
                    <a:pt x="90" y="106"/>
                    <a:pt x="91" y="109"/>
                  </a:cubicBezTo>
                  <a:cubicBezTo>
                    <a:pt x="91" y="112"/>
                    <a:pt x="89" y="115"/>
                    <a:pt x="86" y="11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8745245" y="1040196"/>
            <a:ext cx="972000" cy="576000"/>
            <a:chOff x="9113743" y="898596"/>
            <a:chExt cx="954088" cy="446088"/>
          </a:xfrm>
        </p:grpSpPr>
        <p:sp>
          <p:nvSpPr>
            <p:cNvPr id="65" name="Rectangle 6"/>
            <p:cNvSpPr>
              <a:spLocks noChangeArrowheads="1"/>
            </p:cNvSpPr>
            <p:nvPr/>
          </p:nvSpPr>
          <p:spPr bwMode="auto">
            <a:xfrm>
              <a:off x="9113743" y="898596"/>
              <a:ext cx="954088" cy="446088"/>
            </a:xfrm>
            <a:prstGeom prst="rect">
              <a:avLst/>
            </a:prstGeom>
            <a:solidFill>
              <a:srgbClr val="EBAC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endParaRPr lang="zh-CN" altLang="zh-CN" sz="1600">
                <a:solidFill>
                  <a:srgbClr val="000000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endParaRPr>
            </a:p>
          </p:txBody>
        </p:sp>
        <p:grpSp>
          <p:nvGrpSpPr>
            <p:cNvPr id="73" name="组合 72"/>
            <p:cNvGrpSpPr/>
            <p:nvPr/>
          </p:nvGrpSpPr>
          <p:grpSpPr>
            <a:xfrm>
              <a:off x="9323358" y="932979"/>
              <a:ext cx="499092" cy="340745"/>
              <a:chOff x="6150920" y="2042498"/>
              <a:chExt cx="251338" cy="236147"/>
            </a:xfrm>
          </p:grpSpPr>
          <p:sp>
            <p:nvSpPr>
              <p:cNvPr id="74" name="Freeform 108"/>
              <p:cNvSpPr>
                <a:spLocks/>
              </p:cNvSpPr>
              <p:nvPr/>
            </p:nvSpPr>
            <p:spPr bwMode="auto">
              <a:xfrm>
                <a:off x="6175778" y="2042498"/>
                <a:ext cx="226480" cy="133955"/>
              </a:xfrm>
              <a:custGeom>
                <a:avLst/>
                <a:gdLst>
                  <a:gd name="T0" fmla="*/ 107 w 164"/>
                  <a:gd name="T1" fmla="*/ 81 h 97"/>
                  <a:gd name="T2" fmla="*/ 129 w 164"/>
                  <a:gd name="T3" fmla="*/ 97 h 97"/>
                  <a:gd name="T4" fmla="*/ 164 w 164"/>
                  <a:gd name="T5" fmla="*/ 50 h 97"/>
                  <a:gd name="T6" fmla="*/ 129 w 164"/>
                  <a:gd name="T7" fmla="*/ 0 h 97"/>
                  <a:gd name="T8" fmla="*/ 107 w 164"/>
                  <a:gd name="T9" fmla="*/ 16 h 97"/>
                  <a:gd name="T10" fmla="*/ 123 w 164"/>
                  <a:gd name="T11" fmla="*/ 36 h 97"/>
                  <a:gd name="T12" fmla="*/ 0 w 164"/>
                  <a:gd name="T13" fmla="*/ 36 h 97"/>
                  <a:gd name="T14" fmla="*/ 0 w 164"/>
                  <a:gd name="T15" fmla="*/ 62 h 97"/>
                  <a:gd name="T16" fmla="*/ 123 w 164"/>
                  <a:gd name="T17" fmla="*/ 62 h 97"/>
                  <a:gd name="T18" fmla="*/ 107 w 164"/>
                  <a:gd name="T19" fmla="*/ 8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4" h="97">
                    <a:moveTo>
                      <a:pt x="107" y="81"/>
                    </a:moveTo>
                    <a:lnTo>
                      <a:pt x="129" y="97"/>
                    </a:lnTo>
                    <a:lnTo>
                      <a:pt x="164" y="50"/>
                    </a:lnTo>
                    <a:lnTo>
                      <a:pt x="129" y="0"/>
                    </a:lnTo>
                    <a:lnTo>
                      <a:pt x="107" y="16"/>
                    </a:lnTo>
                    <a:lnTo>
                      <a:pt x="123" y="36"/>
                    </a:lnTo>
                    <a:lnTo>
                      <a:pt x="0" y="36"/>
                    </a:lnTo>
                    <a:lnTo>
                      <a:pt x="0" y="62"/>
                    </a:lnTo>
                    <a:lnTo>
                      <a:pt x="123" y="62"/>
                    </a:lnTo>
                    <a:lnTo>
                      <a:pt x="107" y="8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方正兰亭超细黑简体" panose="02000000000000000000" pitchFamily="2" charset="-122"/>
                  <a:ea typeface="方正兰亭超细黑简体" panose="02000000000000000000" pitchFamily="2" charset="-122"/>
                </a:endParaRPr>
              </a:p>
            </p:txBody>
          </p:sp>
          <p:sp>
            <p:nvSpPr>
              <p:cNvPr id="75" name="Freeform 109"/>
              <p:cNvSpPr>
                <a:spLocks/>
              </p:cNvSpPr>
              <p:nvPr/>
            </p:nvSpPr>
            <p:spPr bwMode="auto">
              <a:xfrm>
                <a:off x="6150920" y="2143309"/>
                <a:ext cx="229242" cy="135336"/>
              </a:xfrm>
              <a:custGeom>
                <a:avLst/>
                <a:gdLst>
                  <a:gd name="T0" fmla="*/ 57 w 166"/>
                  <a:gd name="T1" fmla="*/ 16 h 98"/>
                  <a:gd name="T2" fmla="*/ 35 w 166"/>
                  <a:gd name="T3" fmla="*/ 0 h 98"/>
                  <a:gd name="T4" fmla="*/ 0 w 166"/>
                  <a:gd name="T5" fmla="*/ 48 h 98"/>
                  <a:gd name="T6" fmla="*/ 35 w 166"/>
                  <a:gd name="T7" fmla="*/ 98 h 98"/>
                  <a:gd name="T8" fmla="*/ 57 w 166"/>
                  <a:gd name="T9" fmla="*/ 82 h 98"/>
                  <a:gd name="T10" fmla="*/ 43 w 166"/>
                  <a:gd name="T11" fmla="*/ 62 h 98"/>
                  <a:gd name="T12" fmla="*/ 166 w 166"/>
                  <a:gd name="T13" fmla="*/ 62 h 98"/>
                  <a:gd name="T14" fmla="*/ 166 w 166"/>
                  <a:gd name="T15" fmla="*/ 36 h 98"/>
                  <a:gd name="T16" fmla="*/ 43 w 166"/>
                  <a:gd name="T17" fmla="*/ 36 h 98"/>
                  <a:gd name="T18" fmla="*/ 57 w 166"/>
                  <a:gd name="T19" fmla="*/ 1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6" h="98">
                    <a:moveTo>
                      <a:pt x="57" y="16"/>
                    </a:moveTo>
                    <a:lnTo>
                      <a:pt x="35" y="0"/>
                    </a:lnTo>
                    <a:lnTo>
                      <a:pt x="0" y="48"/>
                    </a:lnTo>
                    <a:lnTo>
                      <a:pt x="35" y="98"/>
                    </a:lnTo>
                    <a:lnTo>
                      <a:pt x="57" y="82"/>
                    </a:lnTo>
                    <a:lnTo>
                      <a:pt x="43" y="62"/>
                    </a:lnTo>
                    <a:lnTo>
                      <a:pt x="166" y="62"/>
                    </a:lnTo>
                    <a:lnTo>
                      <a:pt x="166" y="36"/>
                    </a:lnTo>
                    <a:lnTo>
                      <a:pt x="43" y="36"/>
                    </a:lnTo>
                    <a:lnTo>
                      <a:pt x="57" y="1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方正兰亭超细黑简体" panose="02000000000000000000" pitchFamily="2" charset="-122"/>
                  <a:ea typeface="方正兰亭超细黑简体" panose="02000000000000000000" pitchFamily="2" charset="-122"/>
                </a:endParaRPr>
              </a:p>
            </p:txBody>
          </p:sp>
        </p:grpSp>
      </p:grpSp>
      <p:sp>
        <p:nvSpPr>
          <p:cNvPr id="76" name="矩形 75"/>
          <p:cNvSpPr/>
          <p:nvPr/>
        </p:nvSpPr>
        <p:spPr>
          <a:xfrm>
            <a:off x="8102837" y="1028643"/>
            <a:ext cx="576000" cy="190528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退出机制</a:t>
            </a:r>
          </a:p>
        </p:txBody>
      </p:sp>
      <p:sp>
        <p:nvSpPr>
          <p:cNvPr id="87" name="矩形 86"/>
          <p:cNvSpPr/>
          <p:nvPr/>
        </p:nvSpPr>
        <p:spPr>
          <a:xfrm>
            <a:off x="2226905" y="1028644"/>
            <a:ext cx="5813709" cy="915281"/>
          </a:xfrm>
          <a:prstGeom prst="rect">
            <a:avLst/>
          </a:prstGeom>
          <a:solidFill>
            <a:srgbClr val="A2B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融资</a:t>
            </a:r>
            <a:r>
              <a:rPr lang="en-US" altLang="zh-CN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3000</a:t>
            </a:r>
            <a:r>
              <a:rPr lang="zh-CN" altLang="en-US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万</a:t>
            </a:r>
          </a:p>
        </p:txBody>
      </p:sp>
      <p:sp>
        <p:nvSpPr>
          <p:cNvPr id="88" name="矩形 87"/>
          <p:cNvSpPr/>
          <p:nvPr/>
        </p:nvSpPr>
        <p:spPr>
          <a:xfrm>
            <a:off x="2234174" y="2018648"/>
            <a:ext cx="5806440" cy="915281"/>
          </a:xfrm>
          <a:prstGeom prst="rect">
            <a:avLst/>
          </a:prstGeom>
          <a:solidFill>
            <a:srgbClr val="4C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出让</a:t>
            </a:r>
            <a:r>
              <a:rPr lang="en-US" altLang="zh-CN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15%</a:t>
            </a:r>
            <a:r>
              <a:rPr lang="zh-CN" altLang="en-US" sz="5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股份</a:t>
            </a:r>
          </a:p>
        </p:txBody>
      </p:sp>
    </p:spTree>
    <p:extLst>
      <p:ext uri="{BB962C8B-B14F-4D97-AF65-F5344CB8AC3E}">
        <p14:creationId xmlns:p14="http://schemas.microsoft.com/office/powerpoint/2010/main" val="25815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2219" y="3677736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2576" y="572208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292" y="572208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3650" y="572208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2934" y="572208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2219" y="572208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2934" y="3677736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2576" y="3677736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292" y="3677736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3650" y="3677736"/>
            <a:ext cx="1417500" cy="2520000"/>
          </a:xfrm>
          <a:prstGeom prst="rect">
            <a:avLst/>
          </a:prstGeom>
          <a:ln>
            <a:solidFill>
              <a:srgbClr val="595959"/>
            </a:solidFill>
          </a:ln>
        </p:spPr>
      </p:pic>
      <p:sp>
        <p:nvSpPr>
          <p:cNvPr id="15" name="文本框 14"/>
          <p:cNvSpPr txBox="1"/>
          <p:nvPr/>
        </p:nvSpPr>
        <p:spPr>
          <a:xfrm>
            <a:off x="2428402" y="31007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平台教辅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4438044" y="31007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课本点读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6447686" y="31007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暑假作业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8428355" y="31007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答题广场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10466971" y="31007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特色课程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2428402" y="625929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子衿密卷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4416404" y="625929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直播课程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6404406" y="6259292"/>
            <a:ext cx="1194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夏</a:t>
            </a:r>
            <a:r>
              <a:rPr lang="en-US" altLang="zh-CN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/</a:t>
            </a:r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冬令营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8478970" y="625929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益智游戏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10466971" y="625929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595959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错题记录</a:t>
            </a:r>
          </a:p>
        </p:txBody>
      </p:sp>
      <p:sp>
        <p:nvSpPr>
          <p:cNvPr id="25" name="同侧圆角矩形 24"/>
          <p:cNvSpPr/>
          <p:nvPr/>
        </p:nvSpPr>
        <p:spPr>
          <a:xfrm rot="16200000">
            <a:off x="-1619509" y="2620286"/>
            <a:ext cx="5688000" cy="1590013"/>
          </a:xfrm>
          <a:prstGeom prst="round2SameRect">
            <a:avLst>
              <a:gd name="adj1" fmla="val 13769"/>
              <a:gd name="adj2" fmla="val 115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6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67465" y="1374541"/>
            <a:ext cx="800219" cy="470898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微信公众号功能截图</a:t>
            </a:r>
          </a:p>
        </p:txBody>
      </p:sp>
    </p:spTree>
    <p:extLst>
      <p:ext uri="{BB962C8B-B14F-4D97-AF65-F5344CB8AC3E}">
        <p14:creationId xmlns:p14="http://schemas.microsoft.com/office/powerpoint/2010/main" val="5681886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1121C74-7E78-4320-A1E1-065F68589E6F}"/>
              </a:ext>
            </a:extLst>
          </p:cNvPr>
          <p:cNvSpPr txBox="1"/>
          <p:nvPr/>
        </p:nvSpPr>
        <p:spPr>
          <a:xfrm>
            <a:off x="3971925" y="2518638"/>
            <a:ext cx="38130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6600" dirty="0">
                <a:solidFill>
                  <a:srgbClr val="585657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谢谢观看</a:t>
            </a:r>
          </a:p>
        </p:txBody>
      </p:sp>
    </p:spTree>
    <p:extLst>
      <p:ext uri="{BB962C8B-B14F-4D97-AF65-F5344CB8AC3E}">
        <p14:creationId xmlns:p14="http://schemas.microsoft.com/office/powerpoint/2010/main" val="138470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4" name="直接连接符 363"/>
          <p:cNvCxnSpPr>
            <a:cxnSpLocks/>
          </p:cNvCxnSpPr>
          <p:nvPr/>
        </p:nvCxnSpPr>
        <p:spPr>
          <a:xfrm flipV="1">
            <a:off x="4827158" y="2535393"/>
            <a:ext cx="5730499" cy="0"/>
          </a:xfrm>
          <a:prstGeom prst="line">
            <a:avLst/>
          </a:prstGeom>
          <a:ln w="19050">
            <a:solidFill>
              <a:srgbClr val="A2B93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直接连接符 232"/>
          <p:cNvCxnSpPr>
            <a:cxnSpLocks/>
          </p:cNvCxnSpPr>
          <p:nvPr/>
        </p:nvCxnSpPr>
        <p:spPr>
          <a:xfrm>
            <a:off x="4299390" y="5305822"/>
            <a:ext cx="6228000" cy="0"/>
          </a:xfrm>
          <a:prstGeom prst="line">
            <a:avLst/>
          </a:prstGeom>
          <a:ln w="19050">
            <a:solidFill>
              <a:srgbClr val="EBAC0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矩形 16"/>
          <p:cNvSpPr/>
          <p:nvPr/>
        </p:nvSpPr>
        <p:spPr>
          <a:xfrm>
            <a:off x="5584574" y="4852031"/>
            <a:ext cx="49231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solidFill>
                  <a:srgbClr val="EBAC07"/>
                </a:solidFill>
                <a:latin typeface="+mj-ea"/>
                <a:ea typeface="+mj-ea"/>
              </a:rPr>
              <a:t>60%              </a:t>
            </a:r>
            <a:r>
              <a:rPr lang="zh-CN" altLang="en-US" sz="2400" dirty="0">
                <a:solidFill>
                  <a:srgbClr val="EBAC07"/>
                </a:solidFill>
                <a:latin typeface="+mj-ea"/>
                <a:ea typeface="+mj-ea"/>
              </a:rPr>
              <a:t>不愿意替老师检查作业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1911654" y="1782398"/>
            <a:ext cx="3940425" cy="3866278"/>
            <a:chOff x="2468947" y="2073172"/>
            <a:chExt cx="3383132" cy="3319472"/>
          </a:xfrm>
        </p:grpSpPr>
        <p:sp>
          <p:nvSpPr>
            <p:cNvPr id="299" name="任意多边形 298"/>
            <p:cNvSpPr/>
            <p:nvPr/>
          </p:nvSpPr>
          <p:spPr>
            <a:xfrm rot="4032112">
              <a:off x="2500777" y="2041342"/>
              <a:ext cx="3319472" cy="3383132"/>
            </a:xfrm>
            <a:custGeom>
              <a:avLst/>
              <a:gdLst>
                <a:gd name="connsiteX0" fmla="*/ 1687560 w 3319472"/>
                <a:gd name="connsiteY0" fmla="*/ 0 h 3383132"/>
                <a:gd name="connsiteX1" fmla="*/ 1694781 w 3319472"/>
                <a:gd name="connsiteY1" fmla="*/ 1689684 h 3383132"/>
                <a:gd name="connsiteX2" fmla="*/ 3319472 w 3319472"/>
                <a:gd name="connsiteY2" fmla="*/ 2147121 h 3383132"/>
                <a:gd name="connsiteX3" fmla="*/ 3307286 w 3319472"/>
                <a:gd name="connsiteY3" fmla="*/ 2194513 h 3383132"/>
                <a:gd name="connsiteX4" fmla="*/ 1691670 w 3319472"/>
                <a:gd name="connsiteY4" fmla="*/ 3383132 h 3383132"/>
                <a:gd name="connsiteX5" fmla="*/ 0 w 3319472"/>
                <a:gd name="connsiteY5" fmla="*/ 1691462 h 3383132"/>
                <a:gd name="connsiteX6" fmla="*/ 1518707 w 3319472"/>
                <a:gd name="connsiteY6" fmla="*/ 8526 h 3383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9472" h="3383132">
                  <a:moveTo>
                    <a:pt x="1687560" y="0"/>
                  </a:moveTo>
                  <a:lnTo>
                    <a:pt x="1694781" y="1689684"/>
                  </a:lnTo>
                  <a:lnTo>
                    <a:pt x="3319472" y="2147121"/>
                  </a:lnTo>
                  <a:lnTo>
                    <a:pt x="3307286" y="2194513"/>
                  </a:lnTo>
                  <a:cubicBezTo>
                    <a:pt x="3093101" y="2883139"/>
                    <a:pt x="2450776" y="3383132"/>
                    <a:pt x="1691670" y="3383132"/>
                  </a:cubicBezTo>
                  <a:cubicBezTo>
                    <a:pt x="757386" y="3383132"/>
                    <a:pt x="0" y="2625746"/>
                    <a:pt x="0" y="1691462"/>
                  </a:cubicBezTo>
                  <a:cubicBezTo>
                    <a:pt x="0" y="815571"/>
                    <a:pt x="665672" y="95156"/>
                    <a:pt x="1518707" y="8526"/>
                  </a:cubicBezTo>
                  <a:close/>
                </a:path>
              </a:pathLst>
            </a:custGeom>
            <a:solidFill>
              <a:srgbClr val="A2B93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1" name="Freeform 18"/>
            <p:cNvSpPr>
              <a:spLocks noChangeArrowheads="1"/>
            </p:cNvSpPr>
            <p:nvPr/>
          </p:nvSpPr>
          <p:spPr bwMode="auto">
            <a:xfrm rot="13375035" flipH="1">
              <a:off x="3453648" y="2665365"/>
              <a:ext cx="2002434" cy="2637658"/>
            </a:xfrm>
            <a:custGeom>
              <a:avLst/>
              <a:gdLst>
                <a:gd name="T0" fmla="*/ 306378880 w 193"/>
                <a:gd name="T1" fmla="*/ 0 h 254"/>
                <a:gd name="T2" fmla="*/ 306378880 w 193"/>
                <a:gd name="T3" fmla="*/ 591433425 h 254"/>
                <a:gd name="T4" fmla="*/ 0 w 193"/>
                <a:gd name="T5" fmla="*/ 1098825338 h 254"/>
                <a:gd name="T6" fmla="*/ 306378880 w 193"/>
                <a:gd name="T7" fmla="*/ 1182678750 h 254"/>
                <a:gd name="T8" fmla="*/ 894720922 w 193"/>
                <a:gd name="T9" fmla="*/ 591433425 h 254"/>
                <a:gd name="T10" fmla="*/ 306378880 w 193"/>
                <a:gd name="T11" fmla="*/ 0 h 2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3"/>
                <a:gd name="T19" fmla="*/ 0 h 254"/>
                <a:gd name="T20" fmla="*/ 193 w 193"/>
                <a:gd name="T21" fmla="*/ 254 h 25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3" h="254">
                  <a:moveTo>
                    <a:pt x="66" y="0"/>
                  </a:moveTo>
                  <a:cubicBezTo>
                    <a:pt x="66" y="127"/>
                    <a:pt x="66" y="127"/>
                    <a:pt x="66" y="12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9" y="247"/>
                    <a:pt x="42" y="254"/>
                    <a:pt x="66" y="254"/>
                  </a:cubicBezTo>
                  <a:cubicBezTo>
                    <a:pt x="136" y="254"/>
                    <a:pt x="193" y="197"/>
                    <a:pt x="193" y="127"/>
                  </a:cubicBezTo>
                  <a:cubicBezTo>
                    <a:pt x="193" y="56"/>
                    <a:pt x="136" y="0"/>
                    <a:pt x="66" y="0"/>
                  </a:cubicBezTo>
                  <a:close/>
                </a:path>
              </a:pathLst>
            </a:custGeom>
            <a:solidFill>
              <a:srgbClr val="EBAC07"/>
            </a:solidFill>
            <a:ln w="3175" cmpd="sng">
              <a:solidFill>
                <a:schemeClr val="bg1"/>
              </a:solidFill>
              <a:bevel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92" name="Oval 19"/>
            <p:cNvSpPr>
              <a:spLocks noChangeArrowheads="1"/>
            </p:cNvSpPr>
            <p:nvPr/>
          </p:nvSpPr>
          <p:spPr bwMode="auto">
            <a:xfrm flipH="1">
              <a:off x="3140217" y="2712098"/>
              <a:ext cx="2086570" cy="2086568"/>
            </a:xfrm>
            <a:prstGeom prst="ellipse">
              <a:avLst/>
            </a:prstGeom>
            <a:solidFill>
              <a:srgbClr val="E6E6E6"/>
            </a:solidFill>
            <a:ln w="3175">
              <a:solidFill>
                <a:schemeClr val="bg1"/>
              </a:solidFill>
              <a:bevel/>
              <a:headEnd/>
              <a:tailEnd/>
            </a:ln>
            <a:extLst/>
          </p:spPr>
          <p:txBody>
            <a:bodyPr/>
            <a:lstStyle>
              <a:lvl1pPr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zh-CN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宋体" panose="02010600030101010101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193" name="TextBox 682"/>
            <p:cNvSpPr>
              <a:spLocks noChangeArrowheads="1"/>
            </p:cNvSpPr>
            <p:nvPr/>
          </p:nvSpPr>
          <p:spPr bwMode="auto">
            <a:xfrm flipH="1">
              <a:off x="3449111" y="2927504"/>
              <a:ext cx="1485294" cy="1664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000" b="1" dirty="0">
                  <a:solidFill>
                    <a:srgbClr val="A2B932"/>
                  </a:solidFill>
                  <a:latin typeface="方正中等线简体" panose="03000509000000000000" pitchFamily="65" charset="-122"/>
                  <a:ea typeface="方正中等线简体" panose="03000509000000000000" pitchFamily="65" charset="-122"/>
                  <a:sym typeface="方正中等线简体" panose="03000509000000000000" pitchFamily="65" charset="-122"/>
                </a:rPr>
                <a:t>70%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000" b="1" dirty="0">
                  <a:solidFill>
                    <a:srgbClr val="EBAC07"/>
                  </a:solidFill>
                  <a:latin typeface="方正中等线简体" panose="03000509000000000000" pitchFamily="65" charset="-122"/>
                  <a:ea typeface="方正中等线简体" panose="03000509000000000000" pitchFamily="65" charset="-122"/>
                  <a:sym typeface="方正中等线简体" panose="03000509000000000000" pitchFamily="65" charset="-122"/>
                </a:rPr>
                <a:t>60%</a:t>
              </a:r>
              <a:endParaRPr lang="zh-CN" altLang="en-US" sz="6000" b="1" dirty="0">
                <a:solidFill>
                  <a:srgbClr val="EBAC07"/>
                </a:solidFill>
                <a:latin typeface="方正中等线简体" panose="03000509000000000000" pitchFamily="65" charset="-122"/>
                <a:ea typeface="方正中等线简体" panose="03000509000000000000" pitchFamily="65" charset="-122"/>
                <a:sym typeface="方正中等线简体" panose="03000509000000000000" pitchFamily="65" charset="-122"/>
              </a:endParaRPr>
            </a:p>
          </p:txBody>
        </p:sp>
        <p:cxnSp>
          <p:nvCxnSpPr>
            <p:cNvPr id="5" name="直接连接符 4"/>
            <p:cNvCxnSpPr>
              <a:stCxn id="192" idx="6"/>
              <a:endCxn id="192" idx="2"/>
            </p:cNvCxnSpPr>
            <p:nvPr/>
          </p:nvCxnSpPr>
          <p:spPr>
            <a:xfrm>
              <a:off x="3140217" y="3755382"/>
              <a:ext cx="2086570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7" name="矩形 296"/>
          <p:cNvSpPr/>
          <p:nvPr/>
        </p:nvSpPr>
        <p:spPr>
          <a:xfrm>
            <a:off x="5600913" y="2019412"/>
            <a:ext cx="49231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solidFill>
                  <a:srgbClr val="A2B932"/>
                </a:solidFill>
                <a:latin typeface="+mj-ea"/>
                <a:ea typeface="+mj-ea"/>
              </a:rPr>
              <a:t>70%              </a:t>
            </a:r>
            <a:r>
              <a:rPr lang="zh-CN" altLang="en-US" sz="2400" dirty="0">
                <a:solidFill>
                  <a:srgbClr val="A2B932"/>
                </a:solidFill>
                <a:latin typeface="+mj-ea"/>
                <a:ea typeface="+mj-ea"/>
              </a:rPr>
              <a:t>认为家长必须检查作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18369" y="2529454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A2B932"/>
                </a:solidFill>
              </a:rPr>
              <a:t>老师</a:t>
            </a:r>
          </a:p>
        </p:txBody>
      </p:sp>
      <p:sp>
        <p:nvSpPr>
          <p:cNvPr id="365" name="文本框 364"/>
          <p:cNvSpPr txBox="1"/>
          <p:nvPr/>
        </p:nvSpPr>
        <p:spPr>
          <a:xfrm>
            <a:off x="6403121" y="5329785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EBAC07"/>
                </a:solidFill>
              </a:rPr>
              <a:t>家长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5AF1969-442D-4E5E-B867-75FFE97143B2}"/>
              </a:ext>
            </a:extLst>
          </p:cNvPr>
          <p:cNvGrpSpPr/>
          <p:nvPr/>
        </p:nvGrpSpPr>
        <p:grpSpPr>
          <a:xfrm>
            <a:off x="6282425" y="4114449"/>
            <a:ext cx="819439" cy="1136684"/>
            <a:chOff x="6360769" y="1734695"/>
            <a:chExt cx="2255395" cy="3128567"/>
          </a:xfrm>
        </p:grpSpPr>
        <p:sp>
          <p:nvSpPr>
            <p:cNvPr id="163" name="Freeform 1541">
              <a:extLst>
                <a:ext uri="{FF2B5EF4-FFF2-40B4-BE49-F238E27FC236}">
                  <a16:creationId xmlns:a16="http://schemas.microsoft.com/office/drawing/2014/main" id="{806B21C7-A283-4B20-8D57-C58E1FF295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05712" y="3608622"/>
              <a:ext cx="1771516" cy="1250704"/>
            </a:xfrm>
            <a:custGeom>
              <a:avLst/>
              <a:gdLst>
                <a:gd name="T0" fmla="*/ 599 w 599"/>
                <a:gd name="T1" fmla="*/ 423 h 423"/>
                <a:gd name="T2" fmla="*/ 438 w 599"/>
                <a:gd name="T3" fmla="*/ 0 h 423"/>
                <a:gd name="T4" fmla="*/ 406 w 599"/>
                <a:gd name="T5" fmla="*/ 0 h 423"/>
                <a:gd name="T6" fmla="*/ 288 w 599"/>
                <a:gd name="T7" fmla="*/ 187 h 423"/>
                <a:gd name="T8" fmla="*/ 170 w 599"/>
                <a:gd name="T9" fmla="*/ 0 h 423"/>
                <a:gd name="T10" fmla="*/ 137 w 599"/>
                <a:gd name="T11" fmla="*/ 0 h 423"/>
                <a:gd name="T12" fmla="*/ 0 w 599"/>
                <a:gd name="T13" fmla="*/ 255 h 423"/>
                <a:gd name="T14" fmla="*/ 100 w 599"/>
                <a:gd name="T15" fmla="*/ 285 h 423"/>
                <a:gd name="T16" fmla="*/ 84 w 599"/>
                <a:gd name="T17" fmla="*/ 423 h 423"/>
                <a:gd name="T18" fmla="*/ 599 w 599"/>
                <a:gd name="T19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423">
                  <a:moveTo>
                    <a:pt x="599" y="423"/>
                  </a:moveTo>
                  <a:cubicBezTo>
                    <a:pt x="546" y="165"/>
                    <a:pt x="438" y="0"/>
                    <a:pt x="438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379" y="74"/>
                    <a:pt x="342" y="139"/>
                    <a:pt x="288" y="187"/>
                  </a:cubicBezTo>
                  <a:cubicBezTo>
                    <a:pt x="233" y="139"/>
                    <a:pt x="197" y="74"/>
                    <a:pt x="170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0"/>
                    <a:pt x="21" y="107"/>
                    <a:pt x="0" y="255"/>
                  </a:cubicBezTo>
                  <a:cubicBezTo>
                    <a:pt x="100" y="285"/>
                    <a:pt x="100" y="285"/>
                    <a:pt x="100" y="285"/>
                  </a:cubicBezTo>
                  <a:cubicBezTo>
                    <a:pt x="100" y="285"/>
                    <a:pt x="91" y="354"/>
                    <a:pt x="84" y="423"/>
                  </a:cubicBezTo>
                  <a:lnTo>
                    <a:pt x="599" y="423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Rectangle 1538">
              <a:extLst>
                <a:ext uri="{FF2B5EF4-FFF2-40B4-BE49-F238E27FC236}">
                  <a16:creationId xmlns:a16="http://schemas.microsoft.com/office/drawing/2014/main" id="{D60581C1-946E-4A15-A971-FC07FD9D65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9672" y="3583835"/>
              <a:ext cx="689829" cy="632239"/>
            </a:xfrm>
            <a:prstGeom prst="rect">
              <a:avLst/>
            </a:prstGeom>
            <a:solidFill>
              <a:srgbClr val="F9F5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Freeform 1539">
              <a:extLst>
                <a:ext uri="{FF2B5EF4-FFF2-40B4-BE49-F238E27FC236}">
                  <a16:creationId xmlns:a16="http://schemas.microsoft.com/office/drawing/2014/main" id="{0C5EF4C3-9DBC-421D-B235-0714BC3ED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215" y="3751595"/>
              <a:ext cx="328013" cy="769949"/>
            </a:xfrm>
            <a:custGeom>
              <a:avLst/>
              <a:gdLst>
                <a:gd name="T0" fmla="*/ 106 w 262"/>
                <a:gd name="T1" fmla="*/ 0 h 615"/>
                <a:gd name="T2" fmla="*/ 0 w 262"/>
                <a:gd name="T3" fmla="*/ 442 h 615"/>
                <a:gd name="T4" fmla="*/ 135 w 262"/>
                <a:gd name="T5" fmla="*/ 615 h 615"/>
                <a:gd name="T6" fmla="*/ 262 w 262"/>
                <a:gd name="T7" fmla="*/ 456 h 615"/>
                <a:gd name="T8" fmla="*/ 156 w 262"/>
                <a:gd name="T9" fmla="*/ 0 h 615"/>
                <a:gd name="T10" fmla="*/ 106 w 262"/>
                <a:gd name="T11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2" h="615">
                  <a:moveTo>
                    <a:pt x="106" y="0"/>
                  </a:moveTo>
                  <a:lnTo>
                    <a:pt x="0" y="442"/>
                  </a:lnTo>
                  <a:lnTo>
                    <a:pt x="135" y="615"/>
                  </a:lnTo>
                  <a:lnTo>
                    <a:pt x="262" y="456"/>
                  </a:lnTo>
                  <a:lnTo>
                    <a:pt x="15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4234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Freeform 1540">
              <a:extLst>
                <a:ext uri="{FF2B5EF4-FFF2-40B4-BE49-F238E27FC236}">
                  <a16:creationId xmlns:a16="http://schemas.microsoft.com/office/drawing/2014/main" id="{3E971E0C-B410-4304-AA03-F4CE670A9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130" y="3681483"/>
              <a:ext cx="123943" cy="100155"/>
            </a:xfrm>
            <a:custGeom>
              <a:avLst/>
              <a:gdLst>
                <a:gd name="T0" fmla="*/ 30 w 42"/>
                <a:gd name="T1" fmla="*/ 34 h 34"/>
                <a:gd name="T2" fmla="*/ 11 w 42"/>
                <a:gd name="T3" fmla="*/ 34 h 34"/>
                <a:gd name="T4" fmla="*/ 0 w 42"/>
                <a:gd name="T5" fmla="*/ 22 h 34"/>
                <a:gd name="T6" fmla="*/ 0 w 42"/>
                <a:gd name="T7" fmla="*/ 12 h 34"/>
                <a:gd name="T8" fmla="*/ 11 w 42"/>
                <a:gd name="T9" fmla="*/ 0 h 34"/>
                <a:gd name="T10" fmla="*/ 30 w 42"/>
                <a:gd name="T11" fmla="*/ 0 h 34"/>
                <a:gd name="T12" fmla="*/ 42 w 42"/>
                <a:gd name="T13" fmla="*/ 12 h 34"/>
                <a:gd name="T14" fmla="*/ 42 w 42"/>
                <a:gd name="T15" fmla="*/ 22 h 34"/>
                <a:gd name="T16" fmla="*/ 30 w 42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4">
                  <a:moveTo>
                    <a:pt x="30" y="34"/>
                  </a:moveTo>
                  <a:cubicBezTo>
                    <a:pt x="11" y="34"/>
                    <a:pt x="11" y="34"/>
                    <a:pt x="11" y="34"/>
                  </a:cubicBezTo>
                  <a:cubicBezTo>
                    <a:pt x="5" y="34"/>
                    <a:pt x="0" y="29"/>
                    <a:pt x="0" y="2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7" y="0"/>
                    <a:pt x="42" y="5"/>
                    <a:pt x="42" y="1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9"/>
                    <a:pt x="37" y="34"/>
                    <a:pt x="30" y="34"/>
                  </a:cubicBezTo>
                  <a:close/>
                </a:path>
              </a:pathLst>
            </a:custGeom>
            <a:solidFill>
              <a:srgbClr val="382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Freeform 1541">
              <a:extLst>
                <a:ext uri="{FF2B5EF4-FFF2-40B4-BE49-F238E27FC236}">
                  <a16:creationId xmlns:a16="http://schemas.microsoft.com/office/drawing/2014/main" id="{B139C0CE-2CB7-46F2-B8E4-8AF602ACB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4648" y="3595152"/>
              <a:ext cx="1771516" cy="1250704"/>
            </a:xfrm>
            <a:custGeom>
              <a:avLst/>
              <a:gdLst>
                <a:gd name="T0" fmla="*/ 599 w 599"/>
                <a:gd name="T1" fmla="*/ 423 h 423"/>
                <a:gd name="T2" fmla="*/ 438 w 599"/>
                <a:gd name="T3" fmla="*/ 0 h 423"/>
                <a:gd name="T4" fmla="*/ 406 w 599"/>
                <a:gd name="T5" fmla="*/ 0 h 423"/>
                <a:gd name="T6" fmla="*/ 288 w 599"/>
                <a:gd name="T7" fmla="*/ 187 h 423"/>
                <a:gd name="T8" fmla="*/ 170 w 599"/>
                <a:gd name="T9" fmla="*/ 0 h 423"/>
                <a:gd name="T10" fmla="*/ 137 w 599"/>
                <a:gd name="T11" fmla="*/ 0 h 423"/>
                <a:gd name="T12" fmla="*/ 0 w 599"/>
                <a:gd name="T13" fmla="*/ 255 h 423"/>
                <a:gd name="T14" fmla="*/ 100 w 599"/>
                <a:gd name="T15" fmla="*/ 285 h 423"/>
                <a:gd name="T16" fmla="*/ 84 w 599"/>
                <a:gd name="T17" fmla="*/ 423 h 423"/>
                <a:gd name="T18" fmla="*/ 599 w 599"/>
                <a:gd name="T19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423">
                  <a:moveTo>
                    <a:pt x="599" y="423"/>
                  </a:moveTo>
                  <a:cubicBezTo>
                    <a:pt x="546" y="165"/>
                    <a:pt x="438" y="0"/>
                    <a:pt x="438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379" y="74"/>
                    <a:pt x="342" y="139"/>
                    <a:pt x="288" y="187"/>
                  </a:cubicBezTo>
                  <a:cubicBezTo>
                    <a:pt x="233" y="139"/>
                    <a:pt x="197" y="74"/>
                    <a:pt x="170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0"/>
                    <a:pt x="21" y="107"/>
                    <a:pt x="0" y="255"/>
                  </a:cubicBezTo>
                  <a:cubicBezTo>
                    <a:pt x="100" y="285"/>
                    <a:pt x="100" y="285"/>
                    <a:pt x="100" y="285"/>
                  </a:cubicBezTo>
                  <a:cubicBezTo>
                    <a:pt x="100" y="285"/>
                    <a:pt x="91" y="354"/>
                    <a:pt x="84" y="423"/>
                  </a:cubicBezTo>
                  <a:lnTo>
                    <a:pt x="599" y="423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Freeform 1542">
              <a:extLst>
                <a:ext uri="{FF2B5EF4-FFF2-40B4-BE49-F238E27FC236}">
                  <a16:creationId xmlns:a16="http://schemas.microsoft.com/office/drawing/2014/main" id="{AB4855CA-82E4-46DD-9D9C-4976CFED5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6420" y="4112159"/>
              <a:ext cx="35053" cy="698592"/>
            </a:xfrm>
            <a:custGeom>
              <a:avLst/>
              <a:gdLst>
                <a:gd name="T0" fmla="*/ 3 w 12"/>
                <a:gd name="T1" fmla="*/ 236 h 236"/>
                <a:gd name="T2" fmla="*/ 12 w 12"/>
                <a:gd name="T3" fmla="*/ 236 h 236"/>
                <a:gd name="T4" fmla="*/ 12 w 12"/>
                <a:gd name="T5" fmla="*/ 0 h 236"/>
                <a:gd name="T6" fmla="*/ 3 w 12"/>
                <a:gd name="T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6">
                  <a:moveTo>
                    <a:pt x="3" y="236"/>
                  </a:moveTo>
                  <a:cubicBezTo>
                    <a:pt x="12" y="236"/>
                    <a:pt x="12" y="236"/>
                    <a:pt x="12" y="23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" y="76"/>
                    <a:pt x="0" y="164"/>
                    <a:pt x="3" y="236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Freeform 1543">
              <a:extLst>
                <a:ext uri="{FF2B5EF4-FFF2-40B4-BE49-F238E27FC236}">
                  <a16:creationId xmlns:a16="http://schemas.microsoft.com/office/drawing/2014/main" id="{545FA50B-5973-4E30-B723-4E9A3B57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2024" y="3645178"/>
              <a:ext cx="449454" cy="466981"/>
            </a:xfrm>
            <a:custGeom>
              <a:avLst/>
              <a:gdLst>
                <a:gd name="T0" fmla="*/ 45 w 152"/>
                <a:gd name="T1" fmla="*/ 0 h 158"/>
                <a:gd name="T2" fmla="*/ 24 w 152"/>
                <a:gd name="T3" fmla="*/ 80 h 158"/>
                <a:gd name="T4" fmla="*/ 70 w 152"/>
                <a:gd name="T5" fmla="*/ 99 h 158"/>
                <a:gd name="T6" fmla="*/ 54 w 152"/>
                <a:gd name="T7" fmla="*/ 130 h 158"/>
                <a:gd name="T8" fmla="*/ 152 w 152"/>
                <a:gd name="T9" fmla="*/ 158 h 158"/>
                <a:gd name="T10" fmla="*/ 45 w 152"/>
                <a:gd name="T11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58">
                  <a:moveTo>
                    <a:pt x="45" y="0"/>
                  </a:moveTo>
                  <a:cubicBezTo>
                    <a:pt x="28" y="21"/>
                    <a:pt x="0" y="62"/>
                    <a:pt x="24" y="80"/>
                  </a:cubicBezTo>
                  <a:cubicBezTo>
                    <a:pt x="37" y="91"/>
                    <a:pt x="70" y="99"/>
                    <a:pt x="70" y="99"/>
                  </a:cubicBezTo>
                  <a:cubicBezTo>
                    <a:pt x="70" y="99"/>
                    <a:pt x="45" y="113"/>
                    <a:pt x="54" y="130"/>
                  </a:cubicBezTo>
                  <a:cubicBezTo>
                    <a:pt x="66" y="157"/>
                    <a:pt x="152" y="158"/>
                    <a:pt x="152" y="158"/>
                  </a:cubicBezTo>
                  <a:cubicBezTo>
                    <a:pt x="105" y="116"/>
                    <a:pt x="71" y="62"/>
                    <a:pt x="45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Freeform 1544">
              <a:extLst>
                <a:ext uri="{FF2B5EF4-FFF2-40B4-BE49-F238E27FC236}">
                  <a16:creationId xmlns:a16="http://schemas.microsoft.com/office/drawing/2014/main" id="{4517EAD6-8F97-4764-8368-4A3BF80A9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1473" y="3645178"/>
              <a:ext cx="450705" cy="466981"/>
            </a:xfrm>
            <a:custGeom>
              <a:avLst/>
              <a:gdLst>
                <a:gd name="T0" fmla="*/ 106 w 152"/>
                <a:gd name="T1" fmla="*/ 0 h 158"/>
                <a:gd name="T2" fmla="*/ 128 w 152"/>
                <a:gd name="T3" fmla="*/ 80 h 158"/>
                <a:gd name="T4" fmla="*/ 82 w 152"/>
                <a:gd name="T5" fmla="*/ 99 h 158"/>
                <a:gd name="T6" fmla="*/ 98 w 152"/>
                <a:gd name="T7" fmla="*/ 130 h 158"/>
                <a:gd name="T8" fmla="*/ 0 w 152"/>
                <a:gd name="T9" fmla="*/ 158 h 158"/>
                <a:gd name="T10" fmla="*/ 106 w 152"/>
                <a:gd name="T11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58">
                  <a:moveTo>
                    <a:pt x="106" y="0"/>
                  </a:moveTo>
                  <a:cubicBezTo>
                    <a:pt x="123" y="21"/>
                    <a:pt x="152" y="62"/>
                    <a:pt x="128" y="80"/>
                  </a:cubicBezTo>
                  <a:cubicBezTo>
                    <a:pt x="114" y="91"/>
                    <a:pt x="82" y="99"/>
                    <a:pt x="82" y="99"/>
                  </a:cubicBezTo>
                  <a:cubicBezTo>
                    <a:pt x="82" y="99"/>
                    <a:pt x="106" y="113"/>
                    <a:pt x="98" y="130"/>
                  </a:cubicBezTo>
                  <a:cubicBezTo>
                    <a:pt x="85" y="157"/>
                    <a:pt x="0" y="158"/>
                    <a:pt x="0" y="158"/>
                  </a:cubicBezTo>
                  <a:cubicBezTo>
                    <a:pt x="47" y="116"/>
                    <a:pt x="80" y="62"/>
                    <a:pt x="106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Freeform 1545">
              <a:extLst>
                <a:ext uri="{FF2B5EF4-FFF2-40B4-BE49-F238E27FC236}">
                  <a16:creationId xmlns:a16="http://schemas.microsoft.com/office/drawing/2014/main" id="{6A76FD3C-8314-42DE-B12A-934D9F30C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8497" y="4074598"/>
              <a:ext cx="157745" cy="736147"/>
            </a:xfrm>
            <a:custGeom>
              <a:avLst/>
              <a:gdLst>
                <a:gd name="T0" fmla="*/ 0 w 53"/>
                <a:gd name="T1" fmla="*/ 0 h 249"/>
                <a:gd name="T2" fmla="*/ 35 w 53"/>
                <a:gd name="T3" fmla="*/ 249 h 249"/>
                <a:gd name="T4" fmla="*/ 53 w 53"/>
                <a:gd name="T5" fmla="*/ 249 h 249"/>
                <a:gd name="T6" fmla="*/ 0 w 53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49">
                  <a:moveTo>
                    <a:pt x="0" y="0"/>
                  </a:moveTo>
                  <a:cubicBezTo>
                    <a:pt x="14" y="69"/>
                    <a:pt x="27" y="180"/>
                    <a:pt x="35" y="249"/>
                  </a:cubicBezTo>
                  <a:cubicBezTo>
                    <a:pt x="53" y="249"/>
                    <a:pt x="53" y="249"/>
                    <a:pt x="53" y="249"/>
                  </a:cubicBezTo>
                  <a:cubicBezTo>
                    <a:pt x="37" y="14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Freeform 1546">
              <a:extLst>
                <a:ext uri="{FF2B5EF4-FFF2-40B4-BE49-F238E27FC236}">
                  <a16:creationId xmlns:a16="http://schemas.microsoft.com/office/drawing/2014/main" id="{9F183BCB-2243-43C9-9C2F-83282688A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3022" y="4000732"/>
              <a:ext cx="97653" cy="401879"/>
            </a:xfrm>
            <a:custGeom>
              <a:avLst/>
              <a:gdLst>
                <a:gd name="T0" fmla="*/ 18 w 33"/>
                <a:gd name="T1" fmla="*/ 136 h 136"/>
                <a:gd name="T2" fmla="*/ 33 w 33"/>
                <a:gd name="T3" fmla="*/ 0 h 136"/>
                <a:gd name="T4" fmla="*/ 0 w 33"/>
                <a:gd name="T5" fmla="*/ 131 h 136"/>
                <a:gd name="T6" fmla="*/ 18 w 33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36">
                  <a:moveTo>
                    <a:pt x="18" y="136"/>
                  </a:moveTo>
                  <a:cubicBezTo>
                    <a:pt x="18" y="136"/>
                    <a:pt x="24" y="48"/>
                    <a:pt x="33" y="0"/>
                  </a:cubicBezTo>
                  <a:cubicBezTo>
                    <a:pt x="33" y="0"/>
                    <a:pt x="6" y="66"/>
                    <a:pt x="0" y="131"/>
                  </a:cubicBezTo>
                  <a:lnTo>
                    <a:pt x="18" y="136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Freeform 1551">
              <a:extLst>
                <a:ext uri="{FF2B5EF4-FFF2-40B4-BE49-F238E27FC236}">
                  <a16:creationId xmlns:a16="http://schemas.microsoft.com/office/drawing/2014/main" id="{20389055-F9C1-4F84-A4B6-39AFEC623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0769" y="1734695"/>
              <a:ext cx="2200936" cy="1233171"/>
            </a:xfrm>
            <a:custGeom>
              <a:avLst/>
              <a:gdLst>
                <a:gd name="T0" fmla="*/ 128 w 744"/>
                <a:gd name="T1" fmla="*/ 417 h 417"/>
                <a:gd name="T2" fmla="*/ 128 w 744"/>
                <a:gd name="T3" fmla="*/ 237 h 417"/>
                <a:gd name="T4" fmla="*/ 60 w 744"/>
                <a:gd name="T5" fmla="*/ 88 h 417"/>
                <a:gd name="T6" fmla="*/ 400 w 744"/>
                <a:gd name="T7" fmla="*/ 0 h 417"/>
                <a:gd name="T8" fmla="*/ 740 w 744"/>
                <a:gd name="T9" fmla="*/ 158 h 417"/>
                <a:gd name="T10" fmla="*/ 719 w 744"/>
                <a:gd name="T11" fmla="*/ 259 h 417"/>
                <a:gd name="T12" fmla="*/ 707 w 744"/>
                <a:gd name="T13" fmla="*/ 417 h 417"/>
                <a:gd name="T14" fmla="*/ 128 w 744"/>
                <a:gd name="T15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4" h="417">
                  <a:moveTo>
                    <a:pt x="128" y="417"/>
                  </a:moveTo>
                  <a:cubicBezTo>
                    <a:pt x="128" y="417"/>
                    <a:pt x="106" y="301"/>
                    <a:pt x="128" y="237"/>
                  </a:cubicBezTo>
                  <a:cubicBezTo>
                    <a:pt x="128" y="237"/>
                    <a:pt x="0" y="189"/>
                    <a:pt x="60" y="88"/>
                  </a:cubicBezTo>
                  <a:cubicBezTo>
                    <a:pt x="110" y="3"/>
                    <a:pt x="315" y="0"/>
                    <a:pt x="400" y="0"/>
                  </a:cubicBezTo>
                  <a:cubicBezTo>
                    <a:pt x="484" y="0"/>
                    <a:pt x="744" y="7"/>
                    <a:pt x="740" y="158"/>
                  </a:cubicBezTo>
                  <a:cubicBezTo>
                    <a:pt x="738" y="233"/>
                    <a:pt x="719" y="259"/>
                    <a:pt x="719" y="259"/>
                  </a:cubicBezTo>
                  <a:cubicBezTo>
                    <a:pt x="719" y="259"/>
                    <a:pt x="740" y="340"/>
                    <a:pt x="707" y="417"/>
                  </a:cubicBezTo>
                  <a:lnTo>
                    <a:pt x="128" y="417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Freeform 1552">
              <a:extLst>
                <a:ext uri="{FF2B5EF4-FFF2-40B4-BE49-F238E27FC236}">
                  <a16:creationId xmlns:a16="http://schemas.microsoft.com/office/drawing/2014/main" id="{B70AD19D-6B1F-42A1-B02E-64DADF35A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8871" y="2512162"/>
              <a:ext cx="145229" cy="53837"/>
            </a:xfrm>
            <a:custGeom>
              <a:avLst/>
              <a:gdLst>
                <a:gd name="T0" fmla="*/ 1 w 49"/>
                <a:gd name="T1" fmla="*/ 18 h 18"/>
                <a:gd name="T2" fmla="*/ 49 w 49"/>
                <a:gd name="T3" fmla="*/ 7 h 18"/>
                <a:gd name="T4" fmla="*/ 48 w 49"/>
                <a:gd name="T5" fmla="*/ 0 h 18"/>
                <a:gd name="T6" fmla="*/ 0 w 49"/>
                <a:gd name="T7" fmla="*/ 10 h 18"/>
                <a:gd name="T8" fmla="*/ 1 w 4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8">
                  <a:moveTo>
                    <a:pt x="1" y="18"/>
                  </a:moveTo>
                  <a:cubicBezTo>
                    <a:pt x="2" y="18"/>
                    <a:pt x="30" y="17"/>
                    <a:pt x="49" y="7"/>
                  </a:cubicBezTo>
                  <a:cubicBezTo>
                    <a:pt x="49" y="4"/>
                    <a:pt x="48" y="2"/>
                    <a:pt x="48" y="0"/>
                  </a:cubicBezTo>
                  <a:cubicBezTo>
                    <a:pt x="31" y="10"/>
                    <a:pt x="1" y="10"/>
                    <a:pt x="0" y="10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Freeform 1553">
              <a:extLst>
                <a:ext uri="{FF2B5EF4-FFF2-40B4-BE49-F238E27FC236}">
                  <a16:creationId xmlns:a16="http://schemas.microsoft.com/office/drawing/2014/main" id="{018AC831-052C-4BDA-8CEA-C05B2F332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6355" y="2592283"/>
              <a:ext cx="169017" cy="50078"/>
            </a:xfrm>
            <a:custGeom>
              <a:avLst/>
              <a:gdLst>
                <a:gd name="T0" fmla="*/ 0 w 57"/>
                <a:gd name="T1" fmla="*/ 17 h 17"/>
                <a:gd name="T2" fmla="*/ 57 w 57"/>
                <a:gd name="T3" fmla="*/ 7 h 17"/>
                <a:gd name="T4" fmla="*/ 56 w 57"/>
                <a:gd name="T5" fmla="*/ 0 h 17"/>
                <a:gd name="T6" fmla="*/ 0 w 57"/>
                <a:gd name="T7" fmla="*/ 9 h 17"/>
                <a:gd name="T8" fmla="*/ 0 w 5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7">
                  <a:moveTo>
                    <a:pt x="0" y="17"/>
                  </a:moveTo>
                  <a:cubicBezTo>
                    <a:pt x="2" y="17"/>
                    <a:pt x="31" y="16"/>
                    <a:pt x="57" y="7"/>
                  </a:cubicBezTo>
                  <a:cubicBezTo>
                    <a:pt x="57" y="5"/>
                    <a:pt x="56" y="2"/>
                    <a:pt x="56" y="0"/>
                  </a:cubicBezTo>
                  <a:cubicBezTo>
                    <a:pt x="31" y="8"/>
                    <a:pt x="0" y="9"/>
                    <a:pt x="0" y="9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Freeform 1554">
              <a:extLst>
                <a:ext uri="{FF2B5EF4-FFF2-40B4-BE49-F238E27FC236}">
                  <a16:creationId xmlns:a16="http://schemas.microsoft.com/office/drawing/2014/main" id="{0B12920F-D85E-4DB4-B409-71D047F3F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7591" y="2674912"/>
              <a:ext cx="180282" cy="41314"/>
            </a:xfrm>
            <a:custGeom>
              <a:avLst/>
              <a:gdLst>
                <a:gd name="T0" fmla="*/ 0 w 61"/>
                <a:gd name="T1" fmla="*/ 14 h 14"/>
                <a:gd name="T2" fmla="*/ 61 w 61"/>
                <a:gd name="T3" fmla="*/ 7 h 14"/>
                <a:gd name="T4" fmla="*/ 61 w 61"/>
                <a:gd name="T5" fmla="*/ 0 h 14"/>
                <a:gd name="T6" fmla="*/ 0 w 61"/>
                <a:gd name="T7" fmla="*/ 6 h 14"/>
                <a:gd name="T8" fmla="*/ 0 w 6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4">
                  <a:moveTo>
                    <a:pt x="0" y="14"/>
                  </a:moveTo>
                  <a:cubicBezTo>
                    <a:pt x="2" y="14"/>
                    <a:pt x="36" y="13"/>
                    <a:pt x="61" y="7"/>
                  </a:cubicBezTo>
                  <a:cubicBezTo>
                    <a:pt x="61" y="5"/>
                    <a:pt x="61" y="2"/>
                    <a:pt x="61" y="0"/>
                  </a:cubicBezTo>
                  <a:cubicBezTo>
                    <a:pt x="36" y="5"/>
                    <a:pt x="0" y="6"/>
                    <a:pt x="0" y="6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Freeform 1555">
              <a:extLst>
                <a:ext uri="{FF2B5EF4-FFF2-40B4-BE49-F238E27FC236}">
                  <a16:creationId xmlns:a16="http://schemas.microsoft.com/office/drawing/2014/main" id="{F94183EA-60D9-4AC3-88D2-DF0BCF4B3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8828" y="2752537"/>
              <a:ext cx="186543" cy="32551"/>
            </a:xfrm>
            <a:custGeom>
              <a:avLst/>
              <a:gdLst>
                <a:gd name="T0" fmla="*/ 0 w 63"/>
                <a:gd name="T1" fmla="*/ 3 h 11"/>
                <a:gd name="T2" fmla="*/ 0 w 63"/>
                <a:gd name="T3" fmla="*/ 11 h 11"/>
                <a:gd name="T4" fmla="*/ 17 w 63"/>
                <a:gd name="T5" fmla="*/ 11 h 11"/>
                <a:gd name="T6" fmla="*/ 62 w 63"/>
                <a:gd name="T7" fmla="*/ 8 h 11"/>
                <a:gd name="T8" fmla="*/ 63 w 63"/>
                <a:gd name="T9" fmla="*/ 0 h 11"/>
                <a:gd name="T10" fmla="*/ 0 w 63"/>
                <a:gd name="T1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1">
                  <a:moveTo>
                    <a:pt x="0" y="3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7" y="11"/>
                    <a:pt x="17" y="11"/>
                  </a:cubicBezTo>
                  <a:cubicBezTo>
                    <a:pt x="30" y="11"/>
                    <a:pt x="48" y="11"/>
                    <a:pt x="62" y="8"/>
                  </a:cubicBezTo>
                  <a:cubicBezTo>
                    <a:pt x="62" y="5"/>
                    <a:pt x="63" y="3"/>
                    <a:pt x="63" y="0"/>
                  </a:cubicBezTo>
                  <a:cubicBezTo>
                    <a:pt x="39" y="5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Freeform 1556">
              <a:extLst>
                <a:ext uri="{FF2B5EF4-FFF2-40B4-BE49-F238E27FC236}">
                  <a16:creationId xmlns:a16="http://schemas.microsoft.com/office/drawing/2014/main" id="{9F01BECE-9CDA-46B9-AE94-3733C06AE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8828" y="2826402"/>
              <a:ext cx="177780" cy="26290"/>
            </a:xfrm>
            <a:custGeom>
              <a:avLst/>
              <a:gdLst>
                <a:gd name="T0" fmla="*/ 0 w 60"/>
                <a:gd name="T1" fmla="*/ 1 h 9"/>
                <a:gd name="T2" fmla="*/ 0 w 60"/>
                <a:gd name="T3" fmla="*/ 8 h 9"/>
                <a:gd name="T4" fmla="*/ 27 w 60"/>
                <a:gd name="T5" fmla="*/ 9 h 9"/>
                <a:gd name="T6" fmla="*/ 58 w 60"/>
                <a:gd name="T7" fmla="*/ 8 h 9"/>
                <a:gd name="T8" fmla="*/ 60 w 60"/>
                <a:gd name="T9" fmla="*/ 0 h 9"/>
                <a:gd name="T10" fmla="*/ 0 w 60"/>
                <a:gd name="T1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9">
                  <a:moveTo>
                    <a:pt x="0" y="1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3" y="9"/>
                    <a:pt x="14" y="9"/>
                    <a:pt x="27" y="9"/>
                  </a:cubicBezTo>
                  <a:cubicBezTo>
                    <a:pt x="37" y="9"/>
                    <a:pt x="48" y="9"/>
                    <a:pt x="58" y="8"/>
                  </a:cubicBezTo>
                  <a:cubicBezTo>
                    <a:pt x="59" y="5"/>
                    <a:pt x="59" y="2"/>
                    <a:pt x="60" y="0"/>
                  </a:cubicBezTo>
                  <a:cubicBezTo>
                    <a:pt x="41" y="3"/>
                    <a:pt x="13" y="2"/>
                    <a:pt x="0" y="1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Freeform 1557">
              <a:extLst>
                <a:ext uri="{FF2B5EF4-FFF2-40B4-BE49-F238E27FC236}">
                  <a16:creationId xmlns:a16="http://schemas.microsoft.com/office/drawing/2014/main" id="{0FA59C03-52C5-45C8-A65D-BF62A750E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8831" y="2500891"/>
              <a:ext cx="162756" cy="65102"/>
            </a:xfrm>
            <a:custGeom>
              <a:avLst/>
              <a:gdLst>
                <a:gd name="T0" fmla="*/ 55 w 55"/>
                <a:gd name="T1" fmla="*/ 14 h 22"/>
                <a:gd name="T2" fmla="*/ 1 w 55"/>
                <a:gd name="T3" fmla="*/ 0 h 22"/>
                <a:gd name="T4" fmla="*/ 0 w 55"/>
                <a:gd name="T5" fmla="*/ 8 h 22"/>
                <a:gd name="T6" fmla="*/ 54 w 55"/>
                <a:gd name="T7" fmla="*/ 22 h 22"/>
                <a:gd name="T8" fmla="*/ 55 w 55"/>
                <a:gd name="T9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2">
                  <a:moveTo>
                    <a:pt x="55" y="14"/>
                  </a:moveTo>
                  <a:cubicBezTo>
                    <a:pt x="54" y="14"/>
                    <a:pt x="20" y="13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  <a:cubicBezTo>
                    <a:pt x="21" y="21"/>
                    <a:pt x="53" y="22"/>
                    <a:pt x="54" y="22"/>
                  </a:cubicBezTo>
                  <a:lnTo>
                    <a:pt x="55" y="14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6" name="Freeform 1558">
              <a:extLst>
                <a:ext uri="{FF2B5EF4-FFF2-40B4-BE49-F238E27FC236}">
                  <a16:creationId xmlns:a16="http://schemas.microsoft.com/office/drawing/2014/main" id="{C4FC4E71-6A74-4DDE-8809-770A55592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570" y="2586028"/>
              <a:ext cx="180282" cy="56339"/>
            </a:xfrm>
            <a:custGeom>
              <a:avLst/>
              <a:gdLst>
                <a:gd name="T0" fmla="*/ 61 w 61"/>
                <a:gd name="T1" fmla="*/ 11 h 19"/>
                <a:gd name="T2" fmla="*/ 0 w 61"/>
                <a:gd name="T3" fmla="*/ 0 h 19"/>
                <a:gd name="T4" fmla="*/ 0 w 61"/>
                <a:gd name="T5" fmla="*/ 8 h 19"/>
                <a:gd name="T6" fmla="*/ 61 w 61"/>
                <a:gd name="T7" fmla="*/ 19 h 19"/>
                <a:gd name="T8" fmla="*/ 61 w 61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9">
                  <a:moveTo>
                    <a:pt x="61" y="11"/>
                  </a:moveTo>
                  <a:cubicBezTo>
                    <a:pt x="61" y="11"/>
                    <a:pt x="26" y="1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6" y="18"/>
                    <a:pt x="59" y="19"/>
                    <a:pt x="61" y="19"/>
                  </a:cubicBezTo>
                  <a:lnTo>
                    <a:pt x="61" y="11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7" name="Freeform 1559">
              <a:extLst>
                <a:ext uri="{FF2B5EF4-FFF2-40B4-BE49-F238E27FC236}">
                  <a16:creationId xmlns:a16="http://schemas.microsoft.com/office/drawing/2014/main" id="{F73378ED-AA08-4295-8BC9-FFD18E536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068" y="2672410"/>
              <a:ext cx="191548" cy="43817"/>
            </a:xfrm>
            <a:custGeom>
              <a:avLst/>
              <a:gdLst>
                <a:gd name="T0" fmla="*/ 65 w 65"/>
                <a:gd name="T1" fmla="*/ 7 h 15"/>
                <a:gd name="T2" fmla="*/ 0 w 65"/>
                <a:gd name="T3" fmla="*/ 0 h 15"/>
                <a:gd name="T4" fmla="*/ 0 w 65"/>
                <a:gd name="T5" fmla="*/ 7 h 15"/>
                <a:gd name="T6" fmla="*/ 65 w 65"/>
                <a:gd name="T7" fmla="*/ 15 h 15"/>
                <a:gd name="T8" fmla="*/ 65 w 65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5">
                  <a:moveTo>
                    <a:pt x="65" y="7"/>
                  </a:moveTo>
                  <a:cubicBezTo>
                    <a:pt x="65" y="7"/>
                    <a:pt x="25" y="6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6" y="13"/>
                    <a:pt x="63" y="15"/>
                    <a:pt x="65" y="15"/>
                  </a:cubicBezTo>
                  <a:lnTo>
                    <a:pt x="65" y="7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8" name="Freeform 1560">
              <a:extLst>
                <a:ext uri="{FF2B5EF4-FFF2-40B4-BE49-F238E27FC236}">
                  <a16:creationId xmlns:a16="http://schemas.microsoft.com/office/drawing/2014/main" id="{DC9BC5DC-552D-4A3F-99E5-2F39E06D9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570" y="2748778"/>
              <a:ext cx="199060" cy="36304"/>
            </a:xfrm>
            <a:custGeom>
              <a:avLst/>
              <a:gdLst>
                <a:gd name="T0" fmla="*/ 67 w 67"/>
                <a:gd name="T1" fmla="*/ 12 h 12"/>
                <a:gd name="T2" fmla="*/ 67 w 67"/>
                <a:gd name="T3" fmla="*/ 4 h 12"/>
                <a:gd name="T4" fmla="*/ 0 w 67"/>
                <a:gd name="T5" fmla="*/ 0 h 12"/>
                <a:gd name="T6" fmla="*/ 1 w 67"/>
                <a:gd name="T7" fmla="*/ 8 h 12"/>
                <a:gd name="T8" fmla="*/ 50 w 67"/>
                <a:gd name="T9" fmla="*/ 12 h 12"/>
                <a:gd name="T10" fmla="*/ 67 w 67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12">
                  <a:moveTo>
                    <a:pt x="67" y="12"/>
                  </a:moveTo>
                  <a:cubicBezTo>
                    <a:pt x="67" y="4"/>
                    <a:pt x="67" y="4"/>
                    <a:pt x="67" y="4"/>
                  </a:cubicBezTo>
                  <a:cubicBezTo>
                    <a:pt x="66" y="4"/>
                    <a:pt x="23" y="6"/>
                    <a:pt x="0" y="0"/>
                  </a:cubicBezTo>
                  <a:cubicBezTo>
                    <a:pt x="0" y="3"/>
                    <a:pt x="1" y="6"/>
                    <a:pt x="1" y="8"/>
                  </a:cubicBezTo>
                  <a:cubicBezTo>
                    <a:pt x="16" y="12"/>
                    <a:pt x="36" y="12"/>
                    <a:pt x="50" y="12"/>
                  </a:cubicBezTo>
                  <a:cubicBezTo>
                    <a:pt x="60" y="12"/>
                    <a:pt x="66" y="12"/>
                    <a:pt x="67" y="12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9" name="Freeform 1561">
              <a:extLst>
                <a:ext uri="{FF2B5EF4-FFF2-40B4-BE49-F238E27FC236}">
                  <a16:creationId xmlns:a16="http://schemas.microsoft.com/office/drawing/2014/main" id="{135B0875-2544-4DAF-8F75-3AD66A0C0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8831" y="2822643"/>
              <a:ext cx="192799" cy="30049"/>
            </a:xfrm>
            <a:custGeom>
              <a:avLst/>
              <a:gdLst>
                <a:gd name="T0" fmla="*/ 65 w 65"/>
                <a:gd name="T1" fmla="*/ 9 h 10"/>
                <a:gd name="T2" fmla="*/ 65 w 65"/>
                <a:gd name="T3" fmla="*/ 2 h 10"/>
                <a:gd name="T4" fmla="*/ 0 w 65"/>
                <a:gd name="T5" fmla="*/ 0 h 10"/>
                <a:gd name="T6" fmla="*/ 1 w 65"/>
                <a:gd name="T7" fmla="*/ 8 h 10"/>
                <a:gd name="T8" fmla="*/ 38 w 65"/>
                <a:gd name="T9" fmla="*/ 10 h 10"/>
                <a:gd name="T10" fmla="*/ 65 w 65"/>
                <a:gd name="T1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0">
                  <a:moveTo>
                    <a:pt x="65" y="9"/>
                  </a:moveTo>
                  <a:cubicBezTo>
                    <a:pt x="65" y="2"/>
                    <a:pt x="65" y="2"/>
                    <a:pt x="65" y="2"/>
                  </a:cubicBezTo>
                  <a:cubicBezTo>
                    <a:pt x="51" y="3"/>
                    <a:pt x="19" y="4"/>
                    <a:pt x="0" y="0"/>
                  </a:cubicBezTo>
                  <a:cubicBezTo>
                    <a:pt x="0" y="3"/>
                    <a:pt x="1" y="5"/>
                    <a:pt x="1" y="8"/>
                  </a:cubicBezTo>
                  <a:cubicBezTo>
                    <a:pt x="12" y="10"/>
                    <a:pt x="26" y="10"/>
                    <a:pt x="38" y="10"/>
                  </a:cubicBezTo>
                  <a:cubicBezTo>
                    <a:pt x="51" y="10"/>
                    <a:pt x="62" y="10"/>
                    <a:pt x="65" y="9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0" name="Freeform 1562">
              <a:extLst>
                <a:ext uri="{FF2B5EF4-FFF2-40B4-BE49-F238E27FC236}">
                  <a16:creationId xmlns:a16="http://schemas.microsoft.com/office/drawing/2014/main" id="{B4C65466-8621-4C08-AF37-E5E918462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856" y="2438297"/>
              <a:ext cx="186543" cy="60092"/>
            </a:xfrm>
            <a:custGeom>
              <a:avLst/>
              <a:gdLst>
                <a:gd name="T0" fmla="*/ 63 w 63"/>
                <a:gd name="T1" fmla="*/ 20 h 20"/>
                <a:gd name="T2" fmla="*/ 63 w 63"/>
                <a:gd name="T3" fmla="*/ 13 h 20"/>
                <a:gd name="T4" fmla="*/ 63 w 63"/>
                <a:gd name="T5" fmla="*/ 13 h 20"/>
                <a:gd name="T6" fmla="*/ 2 w 63"/>
                <a:gd name="T7" fmla="*/ 0 h 20"/>
                <a:gd name="T8" fmla="*/ 0 w 63"/>
                <a:gd name="T9" fmla="*/ 7 h 20"/>
                <a:gd name="T10" fmla="*/ 63 w 63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20">
                  <a:moveTo>
                    <a:pt x="63" y="20"/>
                  </a:moveTo>
                  <a:cubicBezTo>
                    <a:pt x="63" y="13"/>
                    <a:pt x="63" y="13"/>
                    <a:pt x="63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33" y="13"/>
                    <a:pt x="12" y="4"/>
                    <a:pt x="2" y="0"/>
                  </a:cubicBezTo>
                  <a:cubicBezTo>
                    <a:pt x="1" y="2"/>
                    <a:pt x="0" y="4"/>
                    <a:pt x="0" y="7"/>
                  </a:cubicBezTo>
                  <a:cubicBezTo>
                    <a:pt x="11" y="12"/>
                    <a:pt x="33" y="20"/>
                    <a:pt x="63" y="2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1" name="Freeform 1563">
              <a:extLst>
                <a:ext uri="{FF2B5EF4-FFF2-40B4-BE49-F238E27FC236}">
                  <a16:creationId xmlns:a16="http://schemas.microsoft.com/office/drawing/2014/main" id="{3027F2B6-757C-4BD5-A52A-9008F0986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3680" y="2843929"/>
              <a:ext cx="272925" cy="555865"/>
            </a:xfrm>
            <a:custGeom>
              <a:avLst/>
              <a:gdLst>
                <a:gd name="T0" fmla="*/ 92 w 92"/>
                <a:gd name="T1" fmla="*/ 37 h 188"/>
                <a:gd name="T2" fmla="*/ 32 w 92"/>
                <a:gd name="T3" fmla="*/ 19 h 188"/>
                <a:gd name="T4" fmla="*/ 92 w 92"/>
                <a:gd name="T5" fmla="*/ 188 h 188"/>
                <a:gd name="T6" fmla="*/ 92 w 92"/>
                <a:gd name="T7" fmla="*/ 3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88">
                  <a:moveTo>
                    <a:pt x="92" y="37"/>
                  </a:moveTo>
                  <a:cubicBezTo>
                    <a:pt x="92" y="37"/>
                    <a:pt x="67" y="0"/>
                    <a:pt x="32" y="19"/>
                  </a:cubicBezTo>
                  <a:cubicBezTo>
                    <a:pt x="0" y="36"/>
                    <a:pt x="20" y="167"/>
                    <a:pt x="92" y="188"/>
                  </a:cubicBezTo>
                  <a:lnTo>
                    <a:pt x="92" y="37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2" name="Freeform 1564">
              <a:extLst>
                <a:ext uri="{FF2B5EF4-FFF2-40B4-BE49-F238E27FC236}">
                  <a16:creationId xmlns:a16="http://schemas.microsoft.com/office/drawing/2014/main" id="{29B52E6A-9601-4B09-84B9-8F08E4BEB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7591" y="2843929"/>
              <a:ext cx="275428" cy="555865"/>
            </a:xfrm>
            <a:custGeom>
              <a:avLst/>
              <a:gdLst>
                <a:gd name="T0" fmla="*/ 0 w 93"/>
                <a:gd name="T1" fmla="*/ 37 h 188"/>
                <a:gd name="T2" fmla="*/ 61 w 93"/>
                <a:gd name="T3" fmla="*/ 19 h 188"/>
                <a:gd name="T4" fmla="*/ 0 w 93"/>
                <a:gd name="T5" fmla="*/ 188 h 188"/>
                <a:gd name="T6" fmla="*/ 0 w 93"/>
                <a:gd name="T7" fmla="*/ 3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" h="188">
                  <a:moveTo>
                    <a:pt x="0" y="37"/>
                  </a:moveTo>
                  <a:cubicBezTo>
                    <a:pt x="0" y="37"/>
                    <a:pt x="26" y="0"/>
                    <a:pt x="61" y="19"/>
                  </a:cubicBezTo>
                  <a:cubicBezTo>
                    <a:pt x="93" y="36"/>
                    <a:pt x="72" y="167"/>
                    <a:pt x="0" y="188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3" name="Freeform 1565">
              <a:extLst>
                <a:ext uri="{FF2B5EF4-FFF2-40B4-BE49-F238E27FC236}">
                  <a16:creationId xmlns:a16="http://schemas.microsoft.com/office/drawing/2014/main" id="{AE0AEFF5-BF35-4F57-A48F-3D563EED5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291" y="2423272"/>
              <a:ext cx="1511107" cy="1284506"/>
            </a:xfrm>
            <a:custGeom>
              <a:avLst/>
              <a:gdLst>
                <a:gd name="T0" fmla="*/ 511 w 511"/>
                <a:gd name="T1" fmla="*/ 359 h 434"/>
                <a:gd name="T2" fmla="*/ 256 w 511"/>
                <a:gd name="T3" fmla="*/ 434 h 434"/>
                <a:gd name="T4" fmla="*/ 0 w 511"/>
                <a:gd name="T5" fmla="*/ 359 h 434"/>
                <a:gd name="T6" fmla="*/ 0 w 511"/>
                <a:gd name="T7" fmla="*/ 43 h 434"/>
                <a:gd name="T8" fmla="*/ 44 w 511"/>
                <a:gd name="T9" fmla="*/ 0 h 434"/>
                <a:gd name="T10" fmla="*/ 468 w 511"/>
                <a:gd name="T11" fmla="*/ 0 h 434"/>
                <a:gd name="T12" fmla="*/ 511 w 511"/>
                <a:gd name="T13" fmla="*/ 43 h 434"/>
                <a:gd name="T14" fmla="*/ 511 w 511"/>
                <a:gd name="T15" fmla="*/ 359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1" h="434">
                  <a:moveTo>
                    <a:pt x="511" y="359"/>
                  </a:moveTo>
                  <a:cubicBezTo>
                    <a:pt x="511" y="359"/>
                    <a:pt x="455" y="434"/>
                    <a:pt x="256" y="434"/>
                  </a:cubicBezTo>
                  <a:cubicBezTo>
                    <a:pt x="56" y="434"/>
                    <a:pt x="0" y="359"/>
                    <a:pt x="0" y="35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468" y="0"/>
                    <a:pt x="468" y="0"/>
                    <a:pt x="468" y="0"/>
                  </a:cubicBezTo>
                  <a:cubicBezTo>
                    <a:pt x="492" y="0"/>
                    <a:pt x="511" y="19"/>
                    <a:pt x="511" y="43"/>
                  </a:cubicBezTo>
                  <a:lnTo>
                    <a:pt x="511" y="359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4" name="Oval 1566">
              <a:extLst>
                <a:ext uri="{FF2B5EF4-FFF2-40B4-BE49-F238E27FC236}">
                  <a16:creationId xmlns:a16="http://schemas.microsoft.com/office/drawing/2014/main" id="{4B8BBE20-865A-43DE-8640-55A3A5F43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5651" y="2915292"/>
              <a:ext cx="169017" cy="167760"/>
            </a:xfrm>
            <a:prstGeom prst="ellipse">
              <a:avLst/>
            </a:prstGeom>
            <a:solidFill>
              <a:srgbClr val="3A33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5" name="Freeform 1567">
              <a:extLst>
                <a:ext uri="{FF2B5EF4-FFF2-40B4-BE49-F238E27FC236}">
                  <a16:creationId xmlns:a16="http://schemas.microsoft.com/office/drawing/2014/main" id="{9337AFED-96B6-45EC-90F9-09E1F1BF0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202" y="2924056"/>
              <a:ext cx="67604" cy="43817"/>
            </a:xfrm>
            <a:custGeom>
              <a:avLst/>
              <a:gdLst>
                <a:gd name="T0" fmla="*/ 23 w 23"/>
                <a:gd name="T1" fmla="*/ 5 h 15"/>
                <a:gd name="T2" fmla="*/ 13 w 23"/>
                <a:gd name="T3" fmla="*/ 14 h 15"/>
                <a:gd name="T4" fmla="*/ 1 w 23"/>
                <a:gd name="T5" fmla="*/ 10 h 15"/>
                <a:gd name="T6" fmla="*/ 11 w 23"/>
                <a:gd name="T7" fmla="*/ 1 h 15"/>
                <a:gd name="T8" fmla="*/ 23 w 23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5"/>
                  </a:moveTo>
                  <a:cubicBezTo>
                    <a:pt x="23" y="9"/>
                    <a:pt x="19" y="12"/>
                    <a:pt x="13" y="14"/>
                  </a:cubicBezTo>
                  <a:cubicBezTo>
                    <a:pt x="7" y="15"/>
                    <a:pt x="2" y="13"/>
                    <a:pt x="1" y="10"/>
                  </a:cubicBezTo>
                  <a:cubicBezTo>
                    <a:pt x="0" y="6"/>
                    <a:pt x="5" y="2"/>
                    <a:pt x="11" y="1"/>
                  </a:cubicBezTo>
                  <a:cubicBezTo>
                    <a:pt x="17" y="0"/>
                    <a:pt x="22" y="2"/>
                    <a:pt x="23" y="5"/>
                  </a:cubicBezTo>
                  <a:close/>
                </a:path>
              </a:pathLst>
            </a:custGeom>
            <a:solidFill>
              <a:srgbClr val="E8DF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6" name="Freeform 1568">
              <a:extLst>
                <a:ext uri="{FF2B5EF4-FFF2-40B4-BE49-F238E27FC236}">
                  <a16:creationId xmlns:a16="http://schemas.microsoft.com/office/drawing/2014/main" id="{45B7B165-A411-445A-8C9D-DC85FD5A4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5495" y="2687434"/>
              <a:ext cx="301723" cy="174021"/>
            </a:xfrm>
            <a:custGeom>
              <a:avLst/>
              <a:gdLst>
                <a:gd name="T0" fmla="*/ 0 w 241"/>
                <a:gd name="T1" fmla="*/ 0 h 139"/>
                <a:gd name="T2" fmla="*/ 4 w 241"/>
                <a:gd name="T3" fmla="*/ 78 h 139"/>
                <a:gd name="T4" fmla="*/ 241 w 241"/>
                <a:gd name="T5" fmla="*/ 139 h 139"/>
                <a:gd name="T6" fmla="*/ 241 w 241"/>
                <a:gd name="T7" fmla="*/ 66 h 139"/>
                <a:gd name="T8" fmla="*/ 0 w 241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0"/>
                  </a:moveTo>
                  <a:lnTo>
                    <a:pt x="4" y="78"/>
                  </a:lnTo>
                  <a:lnTo>
                    <a:pt x="241" y="139"/>
                  </a:lnTo>
                  <a:lnTo>
                    <a:pt x="241" y="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7" name="Oval 1569">
              <a:extLst>
                <a:ext uri="{FF2B5EF4-FFF2-40B4-BE49-F238E27FC236}">
                  <a16:creationId xmlns:a16="http://schemas.microsoft.com/office/drawing/2014/main" id="{E5A5CEF8-E8FE-4FA7-8508-1A75132ED2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8293" y="2915292"/>
              <a:ext cx="169017" cy="167760"/>
            </a:xfrm>
            <a:prstGeom prst="ellipse">
              <a:avLst/>
            </a:prstGeom>
            <a:solidFill>
              <a:srgbClr val="3A33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8" name="Freeform 1570">
              <a:extLst>
                <a:ext uri="{FF2B5EF4-FFF2-40B4-BE49-F238E27FC236}">
                  <a16:creationId xmlns:a16="http://schemas.microsoft.com/office/drawing/2014/main" id="{6CADDD1C-ECF8-4414-B219-65AA19514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0844" y="2924056"/>
              <a:ext cx="68855" cy="43817"/>
            </a:xfrm>
            <a:custGeom>
              <a:avLst/>
              <a:gdLst>
                <a:gd name="T0" fmla="*/ 22 w 23"/>
                <a:gd name="T1" fmla="*/ 5 h 15"/>
                <a:gd name="T2" fmla="*/ 12 w 23"/>
                <a:gd name="T3" fmla="*/ 14 h 15"/>
                <a:gd name="T4" fmla="*/ 0 w 23"/>
                <a:gd name="T5" fmla="*/ 10 h 15"/>
                <a:gd name="T6" fmla="*/ 10 w 23"/>
                <a:gd name="T7" fmla="*/ 1 h 15"/>
                <a:gd name="T8" fmla="*/ 22 w 23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2" y="5"/>
                  </a:moveTo>
                  <a:cubicBezTo>
                    <a:pt x="23" y="9"/>
                    <a:pt x="18" y="12"/>
                    <a:pt x="12" y="14"/>
                  </a:cubicBezTo>
                  <a:cubicBezTo>
                    <a:pt x="6" y="15"/>
                    <a:pt x="1" y="13"/>
                    <a:pt x="0" y="10"/>
                  </a:cubicBezTo>
                  <a:cubicBezTo>
                    <a:pt x="0" y="6"/>
                    <a:pt x="4" y="2"/>
                    <a:pt x="10" y="1"/>
                  </a:cubicBezTo>
                  <a:cubicBezTo>
                    <a:pt x="16" y="0"/>
                    <a:pt x="21" y="2"/>
                    <a:pt x="22" y="5"/>
                  </a:cubicBezTo>
                  <a:close/>
                </a:path>
              </a:pathLst>
            </a:custGeom>
            <a:solidFill>
              <a:srgbClr val="E8DF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9" name="Freeform 1571">
              <a:extLst>
                <a:ext uri="{FF2B5EF4-FFF2-40B4-BE49-F238E27FC236}">
                  <a16:creationId xmlns:a16="http://schemas.microsoft.com/office/drawing/2014/main" id="{C015576A-2B3A-49DA-AA64-4A6F79B6C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5741" y="2687434"/>
              <a:ext cx="301723" cy="174021"/>
            </a:xfrm>
            <a:custGeom>
              <a:avLst/>
              <a:gdLst>
                <a:gd name="T0" fmla="*/ 241 w 241"/>
                <a:gd name="T1" fmla="*/ 0 h 139"/>
                <a:gd name="T2" fmla="*/ 237 w 241"/>
                <a:gd name="T3" fmla="*/ 78 h 139"/>
                <a:gd name="T4" fmla="*/ 0 w 241"/>
                <a:gd name="T5" fmla="*/ 139 h 139"/>
                <a:gd name="T6" fmla="*/ 0 w 241"/>
                <a:gd name="T7" fmla="*/ 66 h 139"/>
                <a:gd name="T8" fmla="*/ 241 w 241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241" y="0"/>
                  </a:moveTo>
                  <a:lnTo>
                    <a:pt x="237" y="78"/>
                  </a:lnTo>
                  <a:lnTo>
                    <a:pt x="0" y="139"/>
                  </a:lnTo>
                  <a:lnTo>
                    <a:pt x="0" y="66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0" name="Freeform 1572">
              <a:extLst>
                <a:ext uri="{FF2B5EF4-FFF2-40B4-BE49-F238E27FC236}">
                  <a16:creationId xmlns:a16="http://schemas.microsoft.com/office/drawing/2014/main" id="{FFABAE63-28F4-43E1-8CB7-F5D9CCF20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872" y="3295885"/>
              <a:ext cx="555865" cy="331766"/>
            </a:xfrm>
            <a:custGeom>
              <a:avLst/>
              <a:gdLst>
                <a:gd name="T0" fmla="*/ 0 w 188"/>
                <a:gd name="T1" fmla="*/ 46 h 112"/>
                <a:gd name="T2" fmla="*/ 77 w 188"/>
                <a:gd name="T3" fmla="*/ 33 h 112"/>
                <a:gd name="T4" fmla="*/ 172 w 188"/>
                <a:gd name="T5" fmla="*/ 9 h 112"/>
                <a:gd name="T6" fmla="*/ 180 w 188"/>
                <a:gd name="T7" fmla="*/ 58 h 112"/>
                <a:gd name="T8" fmla="*/ 102 w 188"/>
                <a:gd name="T9" fmla="*/ 100 h 112"/>
                <a:gd name="T10" fmla="*/ 20 w 188"/>
                <a:gd name="T11" fmla="*/ 106 h 112"/>
                <a:gd name="T12" fmla="*/ 0 w 188"/>
                <a:gd name="T13" fmla="*/ 4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112">
                  <a:moveTo>
                    <a:pt x="0" y="46"/>
                  </a:moveTo>
                  <a:cubicBezTo>
                    <a:pt x="0" y="46"/>
                    <a:pt x="30" y="46"/>
                    <a:pt x="77" y="33"/>
                  </a:cubicBezTo>
                  <a:cubicBezTo>
                    <a:pt x="124" y="20"/>
                    <a:pt x="161" y="0"/>
                    <a:pt x="172" y="9"/>
                  </a:cubicBezTo>
                  <a:cubicBezTo>
                    <a:pt x="182" y="18"/>
                    <a:pt x="188" y="47"/>
                    <a:pt x="180" y="58"/>
                  </a:cubicBezTo>
                  <a:cubicBezTo>
                    <a:pt x="172" y="71"/>
                    <a:pt x="139" y="92"/>
                    <a:pt x="102" y="100"/>
                  </a:cubicBezTo>
                  <a:cubicBezTo>
                    <a:pt x="65" y="109"/>
                    <a:pt x="26" y="112"/>
                    <a:pt x="20" y="106"/>
                  </a:cubicBezTo>
                  <a:cubicBezTo>
                    <a:pt x="14" y="99"/>
                    <a:pt x="0" y="46"/>
                    <a:pt x="0" y="46"/>
                  </a:cubicBezTo>
                  <a:close/>
                </a:path>
              </a:pathLst>
            </a:custGeom>
            <a:solidFill>
              <a:srgbClr val="4920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1" name="Freeform 1573">
              <a:extLst>
                <a:ext uri="{FF2B5EF4-FFF2-40B4-BE49-F238E27FC236}">
                  <a16:creationId xmlns:a16="http://schemas.microsoft.com/office/drawing/2014/main" id="{3FF58F9E-DC84-4F23-B7AC-DCFF4124B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1283" y="3444867"/>
              <a:ext cx="393115" cy="174021"/>
            </a:xfrm>
            <a:custGeom>
              <a:avLst/>
              <a:gdLst>
                <a:gd name="T0" fmla="*/ 0 w 133"/>
                <a:gd name="T1" fmla="*/ 59 h 59"/>
                <a:gd name="T2" fmla="*/ 66 w 133"/>
                <a:gd name="T3" fmla="*/ 50 h 59"/>
                <a:gd name="T4" fmla="*/ 133 w 133"/>
                <a:gd name="T5" fmla="*/ 20 h 59"/>
                <a:gd name="T6" fmla="*/ 77 w 133"/>
                <a:gd name="T7" fmla="*/ 0 h 59"/>
                <a:gd name="T8" fmla="*/ 0 w 133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59">
                  <a:moveTo>
                    <a:pt x="0" y="59"/>
                  </a:moveTo>
                  <a:cubicBezTo>
                    <a:pt x="16" y="59"/>
                    <a:pt x="42" y="56"/>
                    <a:pt x="66" y="50"/>
                  </a:cubicBezTo>
                  <a:cubicBezTo>
                    <a:pt x="93" y="44"/>
                    <a:pt x="118" y="31"/>
                    <a:pt x="133" y="20"/>
                  </a:cubicBezTo>
                  <a:cubicBezTo>
                    <a:pt x="119" y="7"/>
                    <a:pt x="99" y="0"/>
                    <a:pt x="77" y="0"/>
                  </a:cubicBezTo>
                  <a:cubicBezTo>
                    <a:pt x="37" y="0"/>
                    <a:pt x="4" y="26"/>
                    <a:pt x="0" y="59"/>
                  </a:cubicBez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2" name="Freeform 1574">
              <a:extLst>
                <a:ext uri="{FF2B5EF4-FFF2-40B4-BE49-F238E27FC236}">
                  <a16:creationId xmlns:a16="http://schemas.microsoft.com/office/drawing/2014/main" id="{9AE808F6-0940-4B0A-A864-76FBFD1A7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046" y="3143144"/>
              <a:ext cx="230360" cy="61349"/>
            </a:xfrm>
            <a:custGeom>
              <a:avLst/>
              <a:gdLst>
                <a:gd name="T0" fmla="*/ 38 w 78"/>
                <a:gd name="T1" fmla="*/ 0 h 21"/>
                <a:gd name="T2" fmla="*/ 78 w 78"/>
                <a:gd name="T3" fmla="*/ 21 h 21"/>
                <a:gd name="T4" fmla="*/ 39 w 78"/>
                <a:gd name="T5" fmla="*/ 10 h 21"/>
                <a:gd name="T6" fmla="*/ 0 w 78"/>
                <a:gd name="T7" fmla="*/ 21 h 21"/>
                <a:gd name="T8" fmla="*/ 38 w 7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21">
                  <a:moveTo>
                    <a:pt x="38" y="0"/>
                  </a:moveTo>
                  <a:cubicBezTo>
                    <a:pt x="63" y="0"/>
                    <a:pt x="78" y="21"/>
                    <a:pt x="78" y="21"/>
                  </a:cubicBezTo>
                  <a:cubicBezTo>
                    <a:pt x="78" y="21"/>
                    <a:pt x="60" y="10"/>
                    <a:pt x="39" y="10"/>
                  </a:cubicBezTo>
                  <a:cubicBezTo>
                    <a:pt x="18" y="10"/>
                    <a:pt x="0" y="21"/>
                    <a:pt x="0" y="21"/>
                  </a:cubicBezTo>
                  <a:cubicBezTo>
                    <a:pt x="0" y="21"/>
                    <a:pt x="13" y="0"/>
                    <a:pt x="38" y="0"/>
                  </a:cubicBezTo>
                  <a:close/>
                </a:path>
              </a:pathLst>
            </a:custGeom>
            <a:solidFill>
              <a:srgbClr val="EFC4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4" name="Freeform 1545">
              <a:extLst>
                <a:ext uri="{FF2B5EF4-FFF2-40B4-BE49-F238E27FC236}">
                  <a16:creationId xmlns:a16="http://schemas.microsoft.com/office/drawing/2014/main" id="{3057D493-FF41-4EBA-9B3D-C7B29501001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44861" y="4127115"/>
              <a:ext cx="157745" cy="736147"/>
            </a:xfrm>
            <a:custGeom>
              <a:avLst/>
              <a:gdLst>
                <a:gd name="T0" fmla="*/ 0 w 53"/>
                <a:gd name="T1" fmla="*/ 0 h 249"/>
                <a:gd name="T2" fmla="*/ 35 w 53"/>
                <a:gd name="T3" fmla="*/ 249 h 249"/>
                <a:gd name="T4" fmla="*/ 53 w 53"/>
                <a:gd name="T5" fmla="*/ 249 h 249"/>
                <a:gd name="T6" fmla="*/ 0 w 53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49">
                  <a:moveTo>
                    <a:pt x="0" y="0"/>
                  </a:moveTo>
                  <a:cubicBezTo>
                    <a:pt x="14" y="69"/>
                    <a:pt x="27" y="180"/>
                    <a:pt x="35" y="249"/>
                  </a:cubicBezTo>
                  <a:cubicBezTo>
                    <a:pt x="53" y="249"/>
                    <a:pt x="53" y="249"/>
                    <a:pt x="53" y="249"/>
                  </a:cubicBezTo>
                  <a:cubicBezTo>
                    <a:pt x="37" y="14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266893" y="1330650"/>
            <a:ext cx="894351" cy="1157755"/>
            <a:chOff x="6052893" y="1340023"/>
            <a:chExt cx="894351" cy="1157755"/>
          </a:xfrm>
        </p:grpSpPr>
        <p:sp>
          <p:nvSpPr>
            <p:cNvPr id="176" name="Freeform 735">
              <a:extLst>
                <a:ext uri="{FF2B5EF4-FFF2-40B4-BE49-F238E27FC236}">
                  <a16:creationId xmlns:a16="http://schemas.microsoft.com/office/drawing/2014/main" id="{2F1B70D9-9994-4485-8A52-4036CD8C05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52893" y="1340023"/>
              <a:ext cx="894351" cy="1118645"/>
            </a:xfrm>
            <a:custGeom>
              <a:avLst/>
              <a:gdLst>
                <a:gd name="T0" fmla="*/ 798 w 803"/>
                <a:gd name="T1" fmla="*/ 628 h 1005"/>
                <a:gd name="T2" fmla="*/ 724 w 803"/>
                <a:gd name="T3" fmla="*/ 615 h 1005"/>
                <a:gd name="T4" fmla="*/ 749 w 803"/>
                <a:gd name="T5" fmla="*/ 578 h 1005"/>
                <a:gd name="T6" fmla="*/ 705 w 803"/>
                <a:gd name="T7" fmla="*/ 513 h 1005"/>
                <a:gd name="T8" fmla="*/ 401 w 803"/>
                <a:gd name="T9" fmla="*/ 0 h 1005"/>
                <a:gd name="T10" fmla="*/ 97 w 803"/>
                <a:gd name="T11" fmla="*/ 513 h 1005"/>
                <a:gd name="T12" fmla="*/ 53 w 803"/>
                <a:gd name="T13" fmla="*/ 578 h 1005"/>
                <a:gd name="T14" fmla="*/ 79 w 803"/>
                <a:gd name="T15" fmla="*/ 615 h 1005"/>
                <a:gd name="T16" fmla="*/ 5 w 803"/>
                <a:gd name="T17" fmla="*/ 628 h 1005"/>
                <a:gd name="T18" fmla="*/ 83 w 803"/>
                <a:gd name="T19" fmla="*/ 767 h 1005"/>
                <a:gd name="T20" fmla="*/ 47 w 803"/>
                <a:gd name="T21" fmla="*/ 772 h 1005"/>
                <a:gd name="T22" fmla="*/ 204 w 803"/>
                <a:gd name="T23" fmla="*/ 937 h 1005"/>
                <a:gd name="T24" fmla="*/ 166 w 803"/>
                <a:gd name="T25" fmla="*/ 961 h 1005"/>
                <a:gd name="T26" fmla="*/ 190 w 803"/>
                <a:gd name="T27" fmla="*/ 1005 h 1005"/>
                <a:gd name="T28" fmla="*/ 613 w 803"/>
                <a:gd name="T29" fmla="*/ 1005 h 1005"/>
                <a:gd name="T30" fmla="*/ 637 w 803"/>
                <a:gd name="T31" fmla="*/ 961 h 1005"/>
                <a:gd name="T32" fmla="*/ 598 w 803"/>
                <a:gd name="T33" fmla="*/ 937 h 1005"/>
                <a:gd name="T34" fmla="*/ 755 w 803"/>
                <a:gd name="T35" fmla="*/ 772 h 1005"/>
                <a:gd name="T36" fmla="*/ 719 w 803"/>
                <a:gd name="T37" fmla="*/ 767 h 1005"/>
                <a:gd name="T38" fmla="*/ 798 w 803"/>
                <a:gd name="T39" fmla="*/ 628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3" h="1005">
                  <a:moveTo>
                    <a:pt x="798" y="628"/>
                  </a:moveTo>
                  <a:cubicBezTo>
                    <a:pt x="798" y="628"/>
                    <a:pt x="743" y="641"/>
                    <a:pt x="724" y="615"/>
                  </a:cubicBezTo>
                  <a:cubicBezTo>
                    <a:pt x="724" y="615"/>
                    <a:pt x="750" y="609"/>
                    <a:pt x="749" y="578"/>
                  </a:cubicBezTo>
                  <a:cubicBezTo>
                    <a:pt x="749" y="578"/>
                    <a:pt x="706" y="576"/>
                    <a:pt x="705" y="513"/>
                  </a:cubicBezTo>
                  <a:cubicBezTo>
                    <a:pt x="704" y="449"/>
                    <a:pt x="772" y="0"/>
                    <a:pt x="401" y="0"/>
                  </a:cubicBezTo>
                  <a:cubicBezTo>
                    <a:pt x="30" y="0"/>
                    <a:pt x="98" y="449"/>
                    <a:pt x="97" y="513"/>
                  </a:cubicBezTo>
                  <a:cubicBezTo>
                    <a:pt x="97" y="576"/>
                    <a:pt x="53" y="578"/>
                    <a:pt x="53" y="578"/>
                  </a:cubicBezTo>
                  <a:cubicBezTo>
                    <a:pt x="52" y="609"/>
                    <a:pt x="79" y="615"/>
                    <a:pt x="79" y="615"/>
                  </a:cubicBezTo>
                  <a:cubicBezTo>
                    <a:pt x="60" y="641"/>
                    <a:pt x="5" y="628"/>
                    <a:pt x="5" y="628"/>
                  </a:cubicBezTo>
                  <a:cubicBezTo>
                    <a:pt x="0" y="710"/>
                    <a:pt x="83" y="767"/>
                    <a:pt x="83" y="767"/>
                  </a:cubicBezTo>
                  <a:cubicBezTo>
                    <a:pt x="70" y="779"/>
                    <a:pt x="47" y="772"/>
                    <a:pt x="47" y="772"/>
                  </a:cubicBezTo>
                  <a:cubicBezTo>
                    <a:pt x="50" y="903"/>
                    <a:pt x="204" y="937"/>
                    <a:pt x="204" y="937"/>
                  </a:cubicBezTo>
                  <a:cubicBezTo>
                    <a:pt x="195" y="961"/>
                    <a:pt x="166" y="961"/>
                    <a:pt x="166" y="961"/>
                  </a:cubicBezTo>
                  <a:cubicBezTo>
                    <a:pt x="172" y="978"/>
                    <a:pt x="180" y="993"/>
                    <a:pt x="190" y="1005"/>
                  </a:cubicBezTo>
                  <a:cubicBezTo>
                    <a:pt x="613" y="1005"/>
                    <a:pt x="613" y="1005"/>
                    <a:pt x="613" y="1005"/>
                  </a:cubicBezTo>
                  <a:cubicBezTo>
                    <a:pt x="622" y="993"/>
                    <a:pt x="631" y="978"/>
                    <a:pt x="637" y="961"/>
                  </a:cubicBezTo>
                  <a:cubicBezTo>
                    <a:pt x="637" y="961"/>
                    <a:pt x="608" y="961"/>
                    <a:pt x="598" y="937"/>
                  </a:cubicBezTo>
                  <a:cubicBezTo>
                    <a:pt x="598" y="937"/>
                    <a:pt x="753" y="903"/>
                    <a:pt x="755" y="772"/>
                  </a:cubicBezTo>
                  <a:cubicBezTo>
                    <a:pt x="755" y="772"/>
                    <a:pt x="733" y="779"/>
                    <a:pt x="719" y="767"/>
                  </a:cubicBezTo>
                  <a:cubicBezTo>
                    <a:pt x="719" y="767"/>
                    <a:pt x="803" y="710"/>
                    <a:pt x="798" y="628"/>
                  </a:cubicBez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7" name="Freeform 736">
              <a:extLst>
                <a:ext uri="{FF2B5EF4-FFF2-40B4-BE49-F238E27FC236}">
                  <a16:creationId xmlns:a16="http://schemas.microsoft.com/office/drawing/2014/main" id="{A2715913-E5D5-46D8-B425-59271C2728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55880" y="2458668"/>
              <a:ext cx="292620" cy="39110"/>
            </a:xfrm>
            <a:custGeom>
              <a:avLst/>
              <a:gdLst>
                <a:gd name="T0" fmla="*/ 621 w 621"/>
                <a:gd name="T1" fmla="*/ 83 h 83"/>
                <a:gd name="T2" fmla="*/ 621 w 621"/>
                <a:gd name="T3" fmla="*/ 3 h 83"/>
                <a:gd name="T4" fmla="*/ 4 w 621"/>
                <a:gd name="T5" fmla="*/ 0 h 83"/>
                <a:gd name="T6" fmla="*/ 0 w 621"/>
                <a:gd name="T7" fmla="*/ 83 h 83"/>
                <a:gd name="T8" fmla="*/ 621 w 62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1" h="83">
                  <a:moveTo>
                    <a:pt x="621" y="83"/>
                  </a:moveTo>
                  <a:lnTo>
                    <a:pt x="621" y="3"/>
                  </a:lnTo>
                  <a:lnTo>
                    <a:pt x="4" y="0"/>
                  </a:lnTo>
                  <a:lnTo>
                    <a:pt x="0" y="83"/>
                  </a:lnTo>
                  <a:lnTo>
                    <a:pt x="621" y="83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8" name="Freeform 737">
              <a:extLst>
                <a:ext uri="{FF2B5EF4-FFF2-40B4-BE49-F238E27FC236}">
                  <a16:creationId xmlns:a16="http://schemas.microsoft.com/office/drawing/2014/main" id="{1D412A71-051F-4A19-BB7D-7DA50913A5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00647" y="2060499"/>
              <a:ext cx="205916" cy="409478"/>
            </a:xfrm>
            <a:custGeom>
              <a:avLst/>
              <a:gdLst>
                <a:gd name="T0" fmla="*/ 437 w 437"/>
                <a:gd name="T1" fmla="*/ 869 h 869"/>
                <a:gd name="T2" fmla="*/ 3 w 437"/>
                <a:gd name="T3" fmla="*/ 869 h 869"/>
                <a:gd name="T4" fmla="*/ 0 w 437"/>
                <a:gd name="T5" fmla="*/ 28 h 869"/>
                <a:gd name="T6" fmla="*/ 50 w 437"/>
                <a:gd name="T7" fmla="*/ 0 h 869"/>
                <a:gd name="T8" fmla="*/ 376 w 437"/>
                <a:gd name="T9" fmla="*/ 0 h 869"/>
                <a:gd name="T10" fmla="*/ 435 w 437"/>
                <a:gd name="T11" fmla="*/ 30 h 869"/>
                <a:gd name="T12" fmla="*/ 437 w 437"/>
                <a:gd name="T13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7" h="869">
                  <a:moveTo>
                    <a:pt x="437" y="869"/>
                  </a:moveTo>
                  <a:lnTo>
                    <a:pt x="3" y="869"/>
                  </a:lnTo>
                  <a:lnTo>
                    <a:pt x="0" y="28"/>
                  </a:lnTo>
                  <a:lnTo>
                    <a:pt x="50" y="0"/>
                  </a:lnTo>
                  <a:lnTo>
                    <a:pt x="376" y="0"/>
                  </a:lnTo>
                  <a:lnTo>
                    <a:pt x="435" y="30"/>
                  </a:lnTo>
                  <a:lnTo>
                    <a:pt x="437" y="869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9" name="Freeform 738">
              <a:extLst>
                <a:ext uri="{FF2B5EF4-FFF2-40B4-BE49-F238E27FC236}">
                  <a16:creationId xmlns:a16="http://schemas.microsoft.com/office/drawing/2014/main" id="{126B666C-83F1-4AD6-BFAA-5025F7CBA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75094" y="2071337"/>
              <a:ext cx="56546" cy="36753"/>
            </a:xfrm>
            <a:custGeom>
              <a:avLst/>
              <a:gdLst>
                <a:gd name="T0" fmla="*/ 42 w 51"/>
                <a:gd name="T1" fmla="*/ 33 h 33"/>
                <a:gd name="T2" fmla="*/ 9 w 51"/>
                <a:gd name="T3" fmla="*/ 33 h 33"/>
                <a:gd name="T4" fmla="*/ 0 w 51"/>
                <a:gd name="T5" fmla="*/ 24 h 33"/>
                <a:gd name="T6" fmla="*/ 0 w 51"/>
                <a:gd name="T7" fmla="*/ 9 h 33"/>
                <a:gd name="T8" fmla="*/ 9 w 51"/>
                <a:gd name="T9" fmla="*/ 0 h 33"/>
                <a:gd name="T10" fmla="*/ 42 w 51"/>
                <a:gd name="T11" fmla="*/ 0 h 33"/>
                <a:gd name="T12" fmla="*/ 51 w 51"/>
                <a:gd name="T13" fmla="*/ 9 h 33"/>
                <a:gd name="T14" fmla="*/ 51 w 51"/>
                <a:gd name="T15" fmla="*/ 24 h 33"/>
                <a:gd name="T16" fmla="*/ 42 w 51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3">
                  <a:moveTo>
                    <a:pt x="42" y="33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4" y="33"/>
                    <a:pt x="0" y="29"/>
                    <a:pt x="0" y="2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7" y="0"/>
                    <a:pt x="51" y="4"/>
                    <a:pt x="51" y="9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9"/>
                    <a:pt x="47" y="33"/>
                    <a:pt x="42" y="33"/>
                  </a:cubicBezTo>
                  <a:close/>
                </a:path>
              </a:pathLst>
            </a:custGeom>
            <a:solidFill>
              <a:srgbClr val="BA8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0" name="Freeform 739">
              <a:extLst>
                <a:ext uri="{FF2B5EF4-FFF2-40B4-BE49-F238E27FC236}">
                  <a16:creationId xmlns:a16="http://schemas.microsoft.com/office/drawing/2014/main" id="{14F7BAAC-7E93-4211-B92E-43B72F7C159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38343" y="2090183"/>
              <a:ext cx="130052" cy="404295"/>
            </a:xfrm>
            <a:custGeom>
              <a:avLst/>
              <a:gdLst>
                <a:gd name="T0" fmla="*/ 48 w 117"/>
                <a:gd name="T1" fmla="*/ 0 h 363"/>
                <a:gd name="T2" fmla="*/ 71 w 117"/>
                <a:gd name="T3" fmla="*/ 0 h 363"/>
                <a:gd name="T4" fmla="*/ 117 w 117"/>
                <a:gd name="T5" fmla="*/ 295 h 363"/>
                <a:gd name="T6" fmla="*/ 59 w 117"/>
                <a:gd name="T7" fmla="*/ 363 h 363"/>
                <a:gd name="T8" fmla="*/ 0 w 117"/>
                <a:gd name="T9" fmla="*/ 294 h 363"/>
                <a:gd name="T10" fmla="*/ 48 w 117"/>
                <a:gd name="T1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363">
                  <a:moveTo>
                    <a:pt x="48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117" y="295"/>
                    <a:pt x="117" y="295"/>
                    <a:pt x="117" y="295"/>
                  </a:cubicBezTo>
                  <a:cubicBezTo>
                    <a:pt x="117" y="295"/>
                    <a:pt x="73" y="363"/>
                    <a:pt x="59" y="363"/>
                  </a:cubicBezTo>
                  <a:cubicBezTo>
                    <a:pt x="44" y="363"/>
                    <a:pt x="0" y="294"/>
                    <a:pt x="0" y="294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BA8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1" name="Freeform 740">
              <a:extLst>
                <a:ext uri="{FF2B5EF4-FFF2-40B4-BE49-F238E27FC236}">
                  <a16:creationId xmlns:a16="http://schemas.microsoft.com/office/drawing/2014/main" id="{E5C892F7-2B97-4CE4-9A6B-A6FE547B6C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262581" y="2415317"/>
              <a:ext cx="76807" cy="82461"/>
            </a:xfrm>
            <a:custGeom>
              <a:avLst/>
              <a:gdLst>
                <a:gd name="T0" fmla="*/ 5 w 69"/>
                <a:gd name="T1" fmla="*/ 14 h 74"/>
                <a:gd name="T2" fmla="*/ 0 w 69"/>
                <a:gd name="T3" fmla="*/ 74 h 74"/>
                <a:gd name="T4" fmla="*/ 64 w 69"/>
                <a:gd name="T5" fmla="*/ 74 h 74"/>
                <a:gd name="T6" fmla="*/ 62 w 69"/>
                <a:gd name="T7" fmla="*/ 0 h 74"/>
                <a:gd name="T8" fmla="*/ 5 w 69"/>
                <a:gd name="T9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4">
                  <a:moveTo>
                    <a:pt x="5" y="14"/>
                  </a:moveTo>
                  <a:cubicBezTo>
                    <a:pt x="1" y="31"/>
                    <a:pt x="0" y="55"/>
                    <a:pt x="0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9" y="39"/>
                    <a:pt x="62" y="0"/>
                    <a:pt x="62" y="0"/>
                  </a:cubicBezTo>
                  <a:lnTo>
                    <a:pt x="5" y="14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2" name="Freeform 741">
              <a:extLst>
                <a:ext uri="{FF2B5EF4-FFF2-40B4-BE49-F238E27FC236}">
                  <a16:creationId xmlns:a16="http://schemas.microsoft.com/office/drawing/2014/main" id="{D28F199B-3D11-4FB8-B251-37869AA236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67818" y="2415317"/>
              <a:ext cx="77750" cy="82461"/>
            </a:xfrm>
            <a:custGeom>
              <a:avLst/>
              <a:gdLst>
                <a:gd name="T0" fmla="*/ 7 w 70"/>
                <a:gd name="T1" fmla="*/ 0 h 74"/>
                <a:gd name="T2" fmla="*/ 5 w 70"/>
                <a:gd name="T3" fmla="*/ 74 h 74"/>
                <a:gd name="T4" fmla="*/ 69 w 70"/>
                <a:gd name="T5" fmla="*/ 74 h 74"/>
                <a:gd name="T6" fmla="*/ 65 w 70"/>
                <a:gd name="T7" fmla="*/ 14 h 74"/>
                <a:gd name="T8" fmla="*/ 7 w 70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4">
                  <a:moveTo>
                    <a:pt x="7" y="0"/>
                  </a:moveTo>
                  <a:cubicBezTo>
                    <a:pt x="7" y="0"/>
                    <a:pt x="0" y="39"/>
                    <a:pt x="5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70" y="55"/>
                    <a:pt x="69" y="31"/>
                    <a:pt x="65" y="14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3" name="Freeform 742">
              <a:extLst>
                <a:ext uri="{FF2B5EF4-FFF2-40B4-BE49-F238E27FC236}">
                  <a16:creationId xmlns:a16="http://schemas.microsoft.com/office/drawing/2014/main" id="{7DDE8F73-F8BE-4428-BE21-719805ABBB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15148" y="2060499"/>
              <a:ext cx="224766" cy="437279"/>
            </a:xfrm>
            <a:custGeom>
              <a:avLst/>
              <a:gdLst>
                <a:gd name="T0" fmla="*/ 149 w 202"/>
                <a:gd name="T1" fmla="*/ 0 h 393"/>
                <a:gd name="T2" fmla="*/ 85 w 202"/>
                <a:gd name="T3" fmla="*/ 20 h 393"/>
                <a:gd name="T4" fmla="*/ 0 w 202"/>
                <a:gd name="T5" fmla="*/ 324 h 393"/>
                <a:gd name="T6" fmla="*/ 55 w 202"/>
                <a:gd name="T7" fmla="*/ 341 h 393"/>
                <a:gd name="T8" fmla="*/ 51 w 202"/>
                <a:gd name="T9" fmla="*/ 393 h 393"/>
                <a:gd name="T10" fmla="*/ 112 w 202"/>
                <a:gd name="T11" fmla="*/ 393 h 393"/>
                <a:gd name="T12" fmla="*/ 201 w 202"/>
                <a:gd name="T13" fmla="*/ 221 h 393"/>
                <a:gd name="T14" fmla="*/ 155 w 202"/>
                <a:gd name="T15" fmla="*/ 6 h 393"/>
                <a:gd name="T16" fmla="*/ 149 w 202"/>
                <a:gd name="T17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2" h="393">
                  <a:moveTo>
                    <a:pt x="149" y="0"/>
                  </a:moveTo>
                  <a:cubicBezTo>
                    <a:pt x="125" y="3"/>
                    <a:pt x="97" y="8"/>
                    <a:pt x="85" y="20"/>
                  </a:cubicBezTo>
                  <a:cubicBezTo>
                    <a:pt x="62" y="44"/>
                    <a:pt x="0" y="291"/>
                    <a:pt x="0" y="324"/>
                  </a:cubicBezTo>
                  <a:cubicBezTo>
                    <a:pt x="0" y="324"/>
                    <a:pt x="32" y="342"/>
                    <a:pt x="55" y="341"/>
                  </a:cubicBezTo>
                  <a:cubicBezTo>
                    <a:pt x="51" y="393"/>
                    <a:pt x="51" y="393"/>
                    <a:pt x="51" y="393"/>
                  </a:cubicBezTo>
                  <a:cubicBezTo>
                    <a:pt x="112" y="393"/>
                    <a:pt x="112" y="393"/>
                    <a:pt x="112" y="393"/>
                  </a:cubicBezTo>
                  <a:cubicBezTo>
                    <a:pt x="154" y="366"/>
                    <a:pt x="202" y="314"/>
                    <a:pt x="201" y="221"/>
                  </a:cubicBezTo>
                  <a:cubicBezTo>
                    <a:pt x="199" y="54"/>
                    <a:pt x="155" y="6"/>
                    <a:pt x="155" y="6"/>
                  </a:cubicBezTo>
                  <a:lnTo>
                    <a:pt x="149" y="0"/>
                  </a:lnTo>
                  <a:close/>
                </a:path>
              </a:pathLst>
            </a:custGeom>
            <a:solidFill>
              <a:srgbClr val="C6C2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4" name="Rectangle 743">
              <a:extLst>
                <a:ext uri="{FF2B5EF4-FFF2-40B4-BE49-F238E27FC236}">
                  <a16:creationId xmlns:a16="http://schemas.microsoft.com/office/drawing/2014/main" id="{53449FB0-31A6-4DBA-963B-B6511CD150D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579703" y="2400710"/>
              <a:ext cx="67855" cy="22618"/>
            </a:xfrm>
            <a:prstGeom prst="rect">
              <a:avLst/>
            </a:pr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5" name="Freeform 744">
              <a:extLst>
                <a:ext uri="{FF2B5EF4-FFF2-40B4-BE49-F238E27FC236}">
                  <a16:creationId xmlns:a16="http://schemas.microsoft.com/office/drawing/2014/main" id="{6BAF3053-F27E-471E-8848-ED3B3CAFC1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44260" y="2171704"/>
              <a:ext cx="48063" cy="268116"/>
            </a:xfrm>
            <a:custGeom>
              <a:avLst/>
              <a:gdLst>
                <a:gd name="T0" fmla="*/ 12 w 43"/>
                <a:gd name="T1" fmla="*/ 241 h 241"/>
                <a:gd name="T2" fmla="*/ 43 w 43"/>
                <a:gd name="T3" fmla="*/ 0 h 241"/>
                <a:gd name="T4" fmla="*/ 0 w 43"/>
                <a:gd name="T5" fmla="*/ 240 h 241"/>
                <a:gd name="T6" fmla="*/ 12 w 43"/>
                <a:gd name="T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241">
                  <a:moveTo>
                    <a:pt x="12" y="241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4" y="241"/>
                    <a:pt x="9" y="241"/>
                    <a:pt x="12" y="241"/>
                  </a:cubicBez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6" name="Freeform 745">
              <a:extLst>
                <a:ext uri="{FF2B5EF4-FFF2-40B4-BE49-F238E27FC236}">
                  <a16:creationId xmlns:a16="http://schemas.microsoft.com/office/drawing/2014/main" id="{0F517AD9-1C46-4EBF-859B-44FCC2AB8A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21745" y="2068037"/>
              <a:ext cx="83404" cy="146073"/>
            </a:xfrm>
            <a:custGeom>
              <a:avLst/>
              <a:gdLst>
                <a:gd name="T0" fmla="*/ 75 w 75"/>
                <a:gd name="T1" fmla="*/ 131 h 131"/>
                <a:gd name="T2" fmla="*/ 34 w 75"/>
                <a:gd name="T3" fmla="*/ 0 h 131"/>
                <a:gd name="T4" fmla="*/ 0 w 75"/>
                <a:gd name="T5" fmla="*/ 57 h 131"/>
                <a:gd name="T6" fmla="*/ 36 w 75"/>
                <a:gd name="T7" fmla="*/ 67 h 131"/>
                <a:gd name="T8" fmla="*/ 19 w 75"/>
                <a:gd name="T9" fmla="*/ 93 h 131"/>
                <a:gd name="T10" fmla="*/ 75 w 75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31">
                  <a:moveTo>
                    <a:pt x="75" y="131"/>
                  </a:moveTo>
                  <a:cubicBezTo>
                    <a:pt x="64" y="41"/>
                    <a:pt x="39" y="6"/>
                    <a:pt x="34" y="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19" y="93"/>
                    <a:pt x="19" y="93"/>
                    <a:pt x="19" y="93"/>
                  </a:cubicBezTo>
                  <a:lnTo>
                    <a:pt x="75" y="131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7" name="Freeform 746">
              <a:extLst>
                <a:ext uri="{FF2B5EF4-FFF2-40B4-BE49-F238E27FC236}">
                  <a16:creationId xmlns:a16="http://schemas.microsoft.com/office/drawing/2014/main" id="{CE214FE0-8150-4D96-8EA8-665494EB4E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266823" y="2060499"/>
              <a:ext cx="223823" cy="437279"/>
            </a:xfrm>
            <a:custGeom>
              <a:avLst/>
              <a:gdLst>
                <a:gd name="T0" fmla="*/ 201 w 201"/>
                <a:gd name="T1" fmla="*/ 324 h 393"/>
                <a:gd name="T2" fmla="*/ 116 w 201"/>
                <a:gd name="T3" fmla="*/ 20 h 393"/>
                <a:gd name="T4" fmla="*/ 52 w 201"/>
                <a:gd name="T5" fmla="*/ 0 h 393"/>
                <a:gd name="T6" fmla="*/ 47 w 201"/>
                <a:gd name="T7" fmla="*/ 6 h 393"/>
                <a:gd name="T8" fmla="*/ 1 w 201"/>
                <a:gd name="T9" fmla="*/ 221 h 393"/>
                <a:gd name="T10" fmla="*/ 89 w 201"/>
                <a:gd name="T11" fmla="*/ 393 h 393"/>
                <a:gd name="T12" fmla="*/ 151 w 201"/>
                <a:gd name="T13" fmla="*/ 393 h 393"/>
                <a:gd name="T14" fmla="*/ 146 w 201"/>
                <a:gd name="T15" fmla="*/ 341 h 393"/>
                <a:gd name="T16" fmla="*/ 201 w 201"/>
                <a:gd name="T17" fmla="*/ 324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393">
                  <a:moveTo>
                    <a:pt x="201" y="324"/>
                  </a:moveTo>
                  <a:cubicBezTo>
                    <a:pt x="201" y="291"/>
                    <a:pt x="140" y="44"/>
                    <a:pt x="116" y="20"/>
                  </a:cubicBezTo>
                  <a:cubicBezTo>
                    <a:pt x="104" y="8"/>
                    <a:pt x="76" y="3"/>
                    <a:pt x="52" y="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2" y="54"/>
                    <a:pt x="1" y="221"/>
                  </a:cubicBezTo>
                  <a:cubicBezTo>
                    <a:pt x="0" y="314"/>
                    <a:pt x="47" y="366"/>
                    <a:pt x="89" y="393"/>
                  </a:cubicBezTo>
                  <a:cubicBezTo>
                    <a:pt x="151" y="393"/>
                    <a:pt x="151" y="393"/>
                    <a:pt x="151" y="393"/>
                  </a:cubicBezTo>
                  <a:cubicBezTo>
                    <a:pt x="146" y="341"/>
                    <a:pt x="146" y="341"/>
                    <a:pt x="146" y="341"/>
                  </a:cubicBezTo>
                  <a:cubicBezTo>
                    <a:pt x="170" y="342"/>
                    <a:pt x="201" y="324"/>
                    <a:pt x="201" y="324"/>
                  </a:cubicBezTo>
                  <a:close/>
                </a:path>
              </a:pathLst>
            </a:custGeom>
            <a:solidFill>
              <a:srgbClr val="C6C2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8" name="Rectangle 747">
              <a:extLst>
                <a:ext uri="{FF2B5EF4-FFF2-40B4-BE49-F238E27FC236}">
                  <a16:creationId xmlns:a16="http://schemas.microsoft.com/office/drawing/2014/main" id="{3A510489-C2C1-418A-8C61-1ACF74070BCB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358237" y="2400710"/>
              <a:ext cx="68795" cy="22618"/>
            </a:xfrm>
            <a:prstGeom prst="rect">
              <a:avLst/>
            </a:pr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9" name="Freeform 748">
              <a:extLst>
                <a:ext uri="{FF2B5EF4-FFF2-40B4-BE49-F238E27FC236}">
                  <a16:creationId xmlns:a16="http://schemas.microsoft.com/office/drawing/2014/main" id="{208D4628-7C22-4CC5-9835-D37307A84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14886" y="2171704"/>
              <a:ext cx="46648" cy="268116"/>
            </a:xfrm>
            <a:custGeom>
              <a:avLst/>
              <a:gdLst>
                <a:gd name="T0" fmla="*/ 30 w 42"/>
                <a:gd name="T1" fmla="*/ 241 h 241"/>
                <a:gd name="T2" fmla="*/ 0 w 42"/>
                <a:gd name="T3" fmla="*/ 0 h 241"/>
                <a:gd name="T4" fmla="*/ 42 w 42"/>
                <a:gd name="T5" fmla="*/ 240 h 241"/>
                <a:gd name="T6" fmla="*/ 30 w 42"/>
                <a:gd name="T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241">
                  <a:moveTo>
                    <a:pt x="30" y="24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2" y="240"/>
                    <a:pt x="42" y="240"/>
                    <a:pt x="42" y="240"/>
                  </a:cubicBezTo>
                  <a:cubicBezTo>
                    <a:pt x="38" y="241"/>
                    <a:pt x="34" y="241"/>
                    <a:pt x="30" y="241"/>
                  </a:cubicBez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0" name="Freeform 749">
              <a:extLst>
                <a:ext uri="{FF2B5EF4-FFF2-40B4-BE49-F238E27FC236}">
                  <a16:creationId xmlns:a16="http://schemas.microsoft.com/office/drawing/2014/main" id="{3F78908F-920B-4415-8130-8AA62C47BA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00645" y="2068037"/>
              <a:ext cx="83404" cy="146073"/>
            </a:xfrm>
            <a:custGeom>
              <a:avLst/>
              <a:gdLst>
                <a:gd name="T0" fmla="*/ 0 w 75"/>
                <a:gd name="T1" fmla="*/ 131 h 131"/>
                <a:gd name="T2" fmla="*/ 40 w 75"/>
                <a:gd name="T3" fmla="*/ 0 h 131"/>
                <a:gd name="T4" fmla="*/ 75 w 75"/>
                <a:gd name="T5" fmla="*/ 57 h 131"/>
                <a:gd name="T6" fmla="*/ 39 w 75"/>
                <a:gd name="T7" fmla="*/ 67 h 131"/>
                <a:gd name="T8" fmla="*/ 55 w 75"/>
                <a:gd name="T9" fmla="*/ 93 h 131"/>
                <a:gd name="T10" fmla="*/ 0 w 75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31">
                  <a:moveTo>
                    <a:pt x="0" y="131"/>
                  </a:moveTo>
                  <a:cubicBezTo>
                    <a:pt x="10" y="41"/>
                    <a:pt x="35" y="6"/>
                    <a:pt x="40" y="0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55" y="93"/>
                    <a:pt x="55" y="93"/>
                    <a:pt x="55" y="93"/>
                  </a:cubicBezTo>
                  <a:lnTo>
                    <a:pt x="0" y="131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4" name="Freeform 750">
              <a:extLst>
                <a:ext uri="{FF2B5EF4-FFF2-40B4-BE49-F238E27FC236}">
                  <a16:creationId xmlns:a16="http://schemas.microsoft.com/office/drawing/2014/main" id="{766AFC68-1EE0-4A21-A07B-72277B1FBF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69704" y="1787671"/>
              <a:ext cx="141362" cy="190367"/>
            </a:xfrm>
            <a:custGeom>
              <a:avLst/>
              <a:gdLst>
                <a:gd name="T0" fmla="*/ 77 w 127"/>
                <a:gd name="T1" fmla="*/ 24 h 171"/>
                <a:gd name="T2" fmla="*/ 21 w 127"/>
                <a:gd name="T3" fmla="*/ 25 h 171"/>
                <a:gd name="T4" fmla="*/ 127 w 127"/>
                <a:gd name="T5" fmla="*/ 167 h 171"/>
                <a:gd name="T6" fmla="*/ 77 w 127"/>
                <a:gd name="T7" fmla="*/ 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71">
                  <a:moveTo>
                    <a:pt x="77" y="24"/>
                  </a:moveTo>
                  <a:cubicBezTo>
                    <a:pt x="77" y="24"/>
                    <a:pt x="46" y="0"/>
                    <a:pt x="21" y="25"/>
                  </a:cubicBezTo>
                  <a:cubicBezTo>
                    <a:pt x="0" y="46"/>
                    <a:pt x="15" y="171"/>
                    <a:pt x="127" y="167"/>
                  </a:cubicBezTo>
                  <a:lnTo>
                    <a:pt x="77" y="24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5" name="Freeform 751">
              <a:extLst>
                <a:ext uri="{FF2B5EF4-FFF2-40B4-BE49-F238E27FC236}">
                  <a16:creationId xmlns:a16="http://schemas.microsoft.com/office/drawing/2014/main" id="{53B7A8D0-88A7-4B5F-AEE5-5A99E0C0AD4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0017" y="1787671"/>
              <a:ext cx="141362" cy="190367"/>
            </a:xfrm>
            <a:custGeom>
              <a:avLst/>
              <a:gdLst>
                <a:gd name="T0" fmla="*/ 50 w 127"/>
                <a:gd name="T1" fmla="*/ 24 h 171"/>
                <a:gd name="T2" fmla="*/ 106 w 127"/>
                <a:gd name="T3" fmla="*/ 25 h 171"/>
                <a:gd name="T4" fmla="*/ 0 w 127"/>
                <a:gd name="T5" fmla="*/ 167 h 171"/>
                <a:gd name="T6" fmla="*/ 50 w 127"/>
                <a:gd name="T7" fmla="*/ 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71">
                  <a:moveTo>
                    <a:pt x="50" y="24"/>
                  </a:moveTo>
                  <a:cubicBezTo>
                    <a:pt x="50" y="24"/>
                    <a:pt x="81" y="0"/>
                    <a:pt x="106" y="25"/>
                  </a:cubicBezTo>
                  <a:cubicBezTo>
                    <a:pt x="127" y="46"/>
                    <a:pt x="112" y="171"/>
                    <a:pt x="0" y="167"/>
                  </a:cubicBezTo>
                  <a:lnTo>
                    <a:pt x="50" y="24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6" name="Freeform 752">
              <a:extLst>
                <a:ext uri="{FF2B5EF4-FFF2-40B4-BE49-F238E27FC236}">
                  <a16:creationId xmlns:a16="http://schemas.microsoft.com/office/drawing/2014/main" id="{5B01C1E0-E62C-472F-BAF1-AF2271C080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238079" y="1520495"/>
              <a:ext cx="523981" cy="562148"/>
            </a:xfrm>
            <a:custGeom>
              <a:avLst/>
              <a:gdLst>
                <a:gd name="T0" fmla="*/ 471 w 471"/>
                <a:gd name="T1" fmla="*/ 180 h 505"/>
                <a:gd name="T2" fmla="*/ 235 w 471"/>
                <a:gd name="T3" fmla="*/ 505 h 505"/>
                <a:gd name="T4" fmla="*/ 0 w 471"/>
                <a:gd name="T5" fmla="*/ 180 h 505"/>
                <a:gd name="T6" fmla="*/ 471 w 471"/>
                <a:gd name="T7" fmla="*/ 18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1" h="505">
                  <a:moveTo>
                    <a:pt x="471" y="180"/>
                  </a:moveTo>
                  <a:cubicBezTo>
                    <a:pt x="471" y="360"/>
                    <a:pt x="365" y="505"/>
                    <a:pt x="235" y="505"/>
                  </a:cubicBezTo>
                  <a:cubicBezTo>
                    <a:pt x="105" y="505"/>
                    <a:pt x="0" y="360"/>
                    <a:pt x="0" y="180"/>
                  </a:cubicBezTo>
                  <a:cubicBezTo>
                    <a:pt x="0" y="0"/>
                    <a:pt x="471" y="0"/>
                    <a:pt x="471" y="180"/>
                  </a:cubicBez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2836E751-ED39-4ECF-B5DD-AB25A9D0620E}"/>
                </a:ext>
              </a:extLst>
            </p:cNvPr>
            <p:cNvGrpSpPr/>
            <p:nvPr/>
          </p:nvGrpSpPr>
          <p:grpSpPr>
            <a:xfrm flipV="1">
              <a:off x="6269178" y="1807461"/>
              <a:ext cx="460840" cy="51362"/>
              <a:chOff x="5427929" y="1944620"/>
              <a:chExt cx="460840" cy="51362"/>
            </a:xfrm>
          </p:grpSpPr>
          <p:sp>
            <p:nvSpPr>
              <p:cNvPr id="197" name="Freeform 753">
                <a:extLst>
                  <a:ext uri="{FF2B5EF4-FFF2-40B4-BE49-F238E27FC236}">
                    <a16:creationId xmlns:a16="http://schemas.microsoft.com/office/drawing/2014/main" id="{776706D1-A085-4966-9FD1-41F79AC02EE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765314" y="1944620"/>
                <a:ext cx="87644" cy="51362"/>
              </a:xfrm>
              <a:custGeom>
                <a:avLst/>
                <a:gdLst>
                  <a:gd name="T0" fmla="*/ 5 w 79"/>
                  <a:gd name="T1" fmla="*/ 46 h 46"/>
                  <a:gd name="T2" fmla="*/ 0 w 79"/>
                  <a:gd name="T3" fmla="*/ 41 h 46"/>
                  <a:gd name="T4" fmla="*/ 35 w 79"/>
                  <a:gd name="T5" fmla="*/ 1 h 46"/>
                  <a:gd name="T6" fmla="*/ 78 w 79"/>
                  <a:gd name="T7" fmla="*/ 32 h 46"/>
                  <a:gd name="T8" fmla="*/ 74 w 79"/>
                  <a:gd name="T9" fmla="*/ 38 h 46"/>
                  <a:gd name="T10" fmla="*/ 68 w 79"/>
                  <a:gd name="T11" fmla="*/ 34 h 46"/>
                  <a:gd name="T12" fmla="*/ 37 w 79"/>
                  <a:gd name="T13" fmla="*/ 11 h 46"/>
                  <a:gd name="T14" fmla="*/ 36 w 79"/>
                  <a:gd name="T15" fmla="*/ 11 h 46"/>
                  <a:gd name="T16" fmla="*/ 11 w 79"/>
                  <a:gd name="T17" fmla="*/ 41 h 46"/>
                  <a:gd name="T18" fmla="*/ 5 w 79"/>
                  <a:gd name="T1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6">
                    <a:moveTo>
                      <a:pt x="5" y="46"/>
                    </a:moveTo>
                    <a:cubicBezTo>
                      <a:pt x="2" y="46"/>
                      <a:pt x="0" y="43"/>
                      <a:pt x="0" y="41"/>
                    </a:cubicBezTo>
                    <a:cubicBezTo>
                      <a:pt x="0" y="27"/>
                      <a:pt x="7" y="2"/>
                      <a:pt x="35" y="1"/>
                    </a:cubicBezTo>
                    <a:cubicBezTo>
                      <a:pt x="63" y="0"/>
                      <a:pt x="75" y="21"/>
                      <a:pt x="78" y="32"/>
                    </a:cubicBezTo>
                    <a:cubicBezTo>
                      <a:pt x="79" y="35"/>
                      <a:pt x="77" y="37"/>
                      <a:pt x="74" y="38"/>
                    </a:cubicBezTo>
                    <a:cubicBezTo>
                      <a:pt x="71" y="39"/>
                      <a:pt x="68" y="37"/>
                      <a:pt x="68" y="34"/>
                    </a:cubicBezTo>
                    <a:cubicBezTo>
                      <a:pt x="67" y="33"/>
                      <a:pt x="61" y="11"/>
                      <a:pt x="37" y="11"/>
                    </a:cubicBezTo>
                    <a:cubicBezTo>
                      <a:pt x="37" y="11"/>
                      <a:pt x="36" y="11"/>
                      <a:pt x="36" y="11"/>
                    </a:cubicBezTo>
                    <a:cubicBezTo>
                      <a:pt x="11" y="12"/>
                      <a:pt x="11" y="39"/>
                      <a:pt x="11" y="41"/>
                    </a:cubicBezTo>
                    <a:cubicBezTo>
                      <a:pt x="11" y="43"/>
                      <a:pt x="8" y="46"/>
                      <a:pt x="5" y="46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1" name="Freeform 754">
                <a:extLst>
                  <a:ext uri="{FF2B5EF4-FFF2-40B4-BE49-F238E27FC236}">
                    <a16:creationId xmlns:a16="http://schemas.microsoft.com/office/drawing/2014/main" id="{1FF0DD1E-99BF-4321-80E0-22C682BF879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39764" y="1979490"/>
                <a:ext cx="49005" cy="15549"/>
              </a:xfrm>
              <a:custGeom>
                <a:avLst/>
                <a:gdLst>
                  <a:gd name="T0" fmla="*/ 28 w 44"/>
                  <a:gd name="T1" fmla="*/ 14 h 14"/>
                  <a:gd name="T2" fmla="*/ 5 w 44"/>
                  <a:gd name="T3" fmla="*/ 10 h 14"/>
                  <a:gd name="T4" fmla="*/ 1 w 44"/>
                  <a:gd name="T5" fmla="*/ 4 h 14"/>
                  <a:gd name="T6" fmla="*/ 8 w 44"/>
                  <a:gd name="T7" fmla="*/ 1 h 14"/>
                  <a:gd name="T8" fmla="*/ 36 w 44"/>
                  <a:gd name="T9" fmla="*/ 4 h 14"/>
                  <a:gd name="T10" fmla="*/ 43 w 44"/>
                  <a:gd name="T11" fmla="*/ 7 h 14"/>
                  <a:gd name="T12" fmla="*/ 39 w 44"/>
                  <a:gd name="T13" fmla="*/ 13 h 14"/>
                  <a:gd name="T14" fmla="*/ 28 w 4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4">
                    <a:moveTo>
                      <a:pt x="28" y="14"/>
                    </a:moveTo>
                    <a:cubicBezTo>
                      <a:pt x="22" y="14"/>
                      <a:pt x="14" y="13"/>
                      <a:pt x="5" y="10"/>
                    </a:cubicBezTo>
                    <a:cubicBezTo>
                      <a:pt x="2" y="10"/>
                      <a:pt x="0" y="7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25" y="6"/>
                      <a:pt x="36" y="4"/>
                      <a:pt x="36" y="4"/>
                    </a:cubicBezTo>
                    <a:cubicBezTo>
                      <a:pt x="39" y="3"/>
                      <a:pt x="42" y="4"/>
                      <a:pt x="43" y="7"/>
                    </a:cubicBezTo>
                    <a:cubicBezTo>
                      <a:pt x="44" y="10"/>
                      <a:pt x="42" y="12"/>
                      <a:pt x="39" y="13"/>
                    </a:cubicBezTo>
                    <a:cubicBezTo>
                      <a:pt x="39" y="13"/>
                      <a:pt x="35" y="14"/>
                      <a:pt x="28" y="1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4" name="Freeform 755">
                <a:extLst>
                  <a:ext uri="{FF2B5EF4-FFF2-40B4-BE49-F238E27FC236}">
                    <a16:creationId xmlns:a16="http://schemas.microsoft.com/office/drawing/2014/main" id="{963EC737-4206-4CCB-BF4C-3713104BA17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39764" y="1956871"/>
                <a:ext cx="49005" cy="26859"/>
              </a:xfrm>
              <a:custGeom>
                <a:avLst/>
                <a:gdLst>
                  <a:gd name="T0" fmla="*/ 38 w 44"/>
                  <a:gd name="T1" fmla="*/ 24 h 24"/>
                  <a:gd name="T2" fmla="*/ 3 w 44"/>
                  <a:gd name="T3" fmla="*/ 9 h 24"/>
                  <a:gd name="T4" fmla="*/ 2 w 44"/>
                  <a:gd name="T5" fmla="*/ 2 h 24"/>
                  <a:gd name="T6" fmla="*/ 10 w 44"/>
                  <a:gd name="T7" fmla="*/ 2 h 24"/>
                  <a:gd name="T8" fmla="*/ 38 w 44"/>
                  <a:gd name="T9" fmla="*/ 14 h 24"/>
                  <a:gd name="T10" fmla="*/ 38 w 44"/>
                  <a:gd name="T11" fmla="*/ 14 h 24"/>
                  <a:gd name="T12" fmla="*/ 44 w 44"/>
                  <a:gd name="T13" fmla="*/ 19 h 24"/>
                  <a:gd name="T14" fmla="*/ 39 w 44"/>
                  <a:gd name="T15" fmla="*/ 24 h 24"/>
                  <a:gd name="T16" fmla="*/ 38 w 44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24">
                    <a:moveTo>
                      <a:pt x="38" y="24"/>
                    </a:moveTo>
                    <a:cubicBezTo>
                      <a:pt x="22" y="24"/>
                      <a:pt x="4" y="10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4" y="0"/>
                      <a:pt x="8" y="0"/>
                      <a:pt x="10" y="2"/>
                    </a:cubicBezTo>
                    <a:cubicBezTo>
                      <a:pt x="14" y="5"/>
                      <a:pt x="28" y="14"/>
                      <a:pt x="38" y="14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41" y="14"/>
                      <a:pt x="44" y="16"/>
                      <a:pt x="44" y="19"/>
                    </a:cubicBezTo>
                    <a:cubicBezTo>
                      <a:pt x="44" y="22"/>
                      <a:pt x="42" y="24"/>
                      <a:pt x="39" y="24"/>
                    </a:cubicBezTo>
                    <a:lnTo>
                      <a:pt x="38" y="24"/>
                    </a:ln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8" name="Freeform 756">
                <a:extLst>
                  <a:ext uri="{FF2B5EF4-FFF2-40B4-BE49-F238E27FC236}">
                    <a16:creationId xmlns:a16="http://schemas.microsoft.com/office/drawing/2014/main" id="{DB542F03-EE02-41D5-9B33-6AAE18A9E87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63271" y="1944620"/>
                <a:ext cx="88116" cy="51362"/>
              </a:xfrm>
              <a:custGeom>
                <a:avLst/>
                <a:gdLst>
                  <a:gd name="T0" fmla="*/ 74 w 79"/>
                  <a:gd name="T1" fmla="*/ 46 h 46"/>
                  <a:gd name="T2" fmla="*/ 74 w 79"/>
                  <a:gd name="T3" fmla="*/ 46 h 46"/>
                  <a:gd name="T4" fmla="*/ 68 w 79"/>
                  <a:gd name="T5" fmla="*/ 41 h 46"/>
                  <a:gd name="T6" fmla="*/ 44 w 79"/>
                  <a:gd name="T7" fmla="*/ 11 h 46"/>
                  <a:gd name="T8" fmla="*/ 12 w 79"/>
                  <a:gd name="T9" fmla="*/ 34 h 46"/>
                  <a:gd name="T10" fmla="*/ 5 w 79"/>
                  <a:gd name="T11" fmla="*/ 38 h 46"/>
                  <a:gd name="T12" fmla="*/ 1 w 79"/>
                  <a:gd name="T13" fmla="*/ 32 h 46"/>
                  <a:gd name="T14" fmla="*/ 44 w 79"/>
                  <a:gd name="T15" fmla="*/ 1 h 46"/>
                  <a:gd name="T16" fmla="*/ 79 w 79"/>
                  <a:gd name="T17" fmla="*/ 41 h 46"/>
                  <a:gd name="T18" fmla="*/ 74 w 79"/>
                  <a:gd name="T1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6">
                    <a:moveTo>
                      <a:pt x="74" y="46"/>
                    </a:moveTo>
                    <a:cubicBezTo>
                      <a:pt x="74" y="46"/>
                      <a:pt x="74" y="46"/>
                      <a:pt x="74" y="46"/>
                    </a:cubicBezTo>
                    <a:cubicBezTo>
                      <a:pt x="71" y="46"/>
                      <a:pt x="68" y="43"/>
                      <a:pt x="68" y="41"/>
                    </a:cubicBezTo>
                    <a:cubicBezTo>
                      <a:pt x="68" y="39"/>
                      <a:pt x="68" y="12"/>
                      <a:pt x="44" y="11"/>
                    </a:cubicBezTo>
                    <a:cubicBezTo>
                      <a:pt x="18" y="10"/>
                      <a:pt x="12" y="33"/>
                      <a:pt x="12" y="34"/>
                    </a:cubicBezTo>
                    <a:cubicBezTo>
                      <a:pt x="11" y="37"/>
                      <a:pt x="8" y="39"/>
                      <a:pt x="5" y="38"/>
                    </a:cubicBezTo>
                    <a:cubicBezTo>
                      <a:pt x="2" y="37"/>
                      <a:pt x="0" y="35"/>
                      <a:pt x="1" y="32"/>
                    </a:cubicBezTo>
                    <a:cubicBezTo>
                      <a:pt x="4" y="21"/>
                      <a:pt x="16" y="0"/>
                      <a:pt x="44" y="1"/>
                    </a:cubicBezTo>
                    <a:cubicBezTo>
                      <a:pt x="72" y="2"/>
                      <a:pt x="79" y="27"/>
                      <a:pt x="79" y="41"/>
                    </a:cubicBezTo>
                    <a:cubicBezTo>
                      <a:pt x="79" y="43"/>
                      <a:pt x="77" y="46"/>
                      <a:pt x="74" y="46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9" name="Freeform 757">
                <a:extLst>
                  <a:ext uri="{FF2B5EF4-FFF2-40B4-BE49-F238E27FC236}">
                    <a16:creationId xmlns:a16="http://schemas.microsoft.com/office/drawing/2014/main" id="{84F08AE5-8B05-4DF0-A7EF-79D313EF4B5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27931" y="1979490"/>
                <a:ext cx="47591" cy="15549"/>
              </a:xfrm>
              <a:custGeom>
                <a:avLst/>
                <a:gdLst>
                  <a:gd name="T0" fmla="*/ 15 w 43"/>
                  <a:gd name="T1" fmla="*/ 14 h 14"/>
                  <a:gd name="T2" fmla="*/ 4 w 43"/>
                  <a:gd name="T3" fmla="*/ 13 h 14"/>
                  <a:gd name="T4" fmla="*/ 1 w 43"/>
                  <a:gd name="T5" fmla="*/ 7 h 14"/>
                  <a:gd name="T6" fmla="*/ 7 w 43"/>
                  <a:gd name="T7" fmla="*/ 4 h 14"/>
                  <a:gd name="T8" fmla="*/ 35 w 43"/>
                  <a:gd name="T9" fmla="*/ 1 h 14"/>
                  <a:gd name="T10" fmla="*/ 42 w 43"/>
                  <a:gd name="T11" fmla="*/ 4 h 14"/>
                  <a:gd name="T12" fmla="*/ 39 w 43"/>
                  <a:gd name="T13" fmla="*/ 10 h 14"/>
                  <a:gd name="T14" fmla="*/ 15 w 43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4">
                    <a:moveTo>
                      <a:pt x="15" y="14"/>
                    </a:moveTo>
                    <a:cubicBezTo>
                      <a:pt x="9" y="14"/>
                      <a:pt x="5" y="13"/>
                      <a:pt x="4" y="13"/>
                    </a:cubicBezTo>
                    <a:cubicBezTo>
                      <a:pt x="1" y="12"/>
                      <a:pt x="0" y="10"/>
                      <a:pt x="1" y="7"/>
                    </a:cubicBezTo>
                    <a:cubicBezTo>
                      <a:pt x="1" y="4"/>
                      <a:pt x="4" y="3"/>
                      <a:pt x="7" y="4"/>
                    </a:cubicBezTo>
                    <a:cubicBezTo>
                      <a:pt x="8" y="4"/>
                      <a:pt x="19" y="6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7"/>
                      <a:pt x="41" y="10"/>
                      <a:pt x="39" y="10"/>
                    </a:cubicBezTo>
                    <a:cubicBezTo>
                      <a:pt x="29" y="13"/>
                      <a:pt x="21" y="14"/>
                      <a:pt x="15" y="1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0" name="Freeform 758">
                <a:extLst>
                  <a:ext uri="{FF2B5EF4-FFF2-40B4-BE49-F238E27FC236}">
                    <a16:creationId xmlns:a16="http://schemas.microsoft.com/office/drawing/2014/main" id="{CF83DAF5-6B8E-4110-A8A2-098D4F4AC4E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27929" y="1956871"/>
                <a:ext cx="49005" cy="26859"/>
              </a:xfrm>
              <a:custGeom>
                <a:avLst/>
                <a:gdLst>
                  <a:gd name="T0" fmla="*/ 6 w 44"/>
                  <a:gd name="T1" fmla="*/ 24 h 24"/>
                  <a:gd name="T2" fmla="*/ 6 w 44"/>
                  <a:gd name="T3" fmla="*/ 24 h 24"/>
                  <a:gd name="T4" fmla="*/ 0 w 44"/>
                  <a:gd name="T5" fmla="*/ 19 h 24"/>
                  <a:gd name="T6" fmla="*/ 6 w 44"/>
                  <a:gd name="T7" fmla="*/ 14 h 24"/>
                  <a:gd name="T8" fmla="*/ 6 w 44"/>
                  <a:gd name="T9" fmla="*/ 14 h 24"/>
                  <a:gd name="T10" fmla="*/ 34 w 44"/>
                  <a:gd name="T11" fmla="*/ 2 h 24"/>
                  <a:gd name="T12" fmla="*/ 42 w 44"/>
                  <a:gd name="T13" fmla="*/ 2 h 24"/>
                  <a:gd name="T14" fmla="*/ 41 w 44"/>
                  <a:gd name="T15" fmla="*/ 9 h 24"/>
                  <a:gd name="T16" fmla="*/ 6 w 44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24">
                    <a:moveTo>
                      <a:pt x="6" y="24"/>
                    </a:moveTo>
                    <a:cubicBezTo>
                      <a:pt x="6" y="24"/>
                      <a:pt x="6" y="24"/>
                      <a:pt x="6" y="24"/>
                    </a:cubicBezTo>
                    <a:cubicBezTo>
                      <a:pt x="3" y="24"/>
                      <a:pt x="0" y="22"/>
                      <a:pt x="0" y="19"/>
                    </a:cubicBezTo>
                    <a:cubicBezTo>
                      <a:pt x="0" y="16"/>
                      <a:pt x="3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16" y="14"/>
                      <a:pt x="30" y="5"/>
                      <a:pt x="34" y="2"/>
                    </a:cubicBezTo>
                    <a:cubicBezTo>
                      <a:pt x="37" y="0"/>
                      <a:pt x="40" y="0"/>
                      <a:pt x="42" y="2"/>
                    </a:cubicBezTo>
                    <a:cubicBezTo>
                      <a:pt x="44" y="5"/>
                      <a:pt x="44" y="8"/>
                      <a:pt x="41" y="9"/>
                    </a:cubicBezTo>
                    <a:cubicBezTo>
                      <a:pt x="41" y="10"/>
                      <a:pt x="22" y="24"/>
                      <a:pt x="6" y="2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281" name="Freeform 759">
              <a:extLst>
                <a:ext uri="{FF2B5EF4-FFF2-40B4-BE49-F238E27FC236}">
                  <a16:creationId xmlns:a16="http://schemas.microsoft.com/office/drawing/2014/main" id="{6E1B94E4-8100-4608-8A11-365AB332F1F5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6445881" y="1954477"/>
              <a:ext cx="110263" cy="57017"/>
            </a:xfrm>
            <a:custGeom>
              <a:avLst/>
              <a:gdLst>
                <a:gd name="T0" fmla="*/ 0 w 99"/>
                <a:gd name="T1" fmla="*/ 17 h 51"/>
                <a:gd name="T2" fmla="*/ 27 w 99"/>
                <a:gd name="T3" fmla="*/ 0 h 51"/>
                <a:gd name="T4" fmla="*/ 49 w 99"/>
                <a:gd name="T5" fmla="*/ 14 h 51"/>
                <a:gd name="T6" fmla="*/ 78 w 99"/>
                <a:gd name="T7" fmla="*/ 1 h 51"/>
                <a:gd name="T8" fmla="*/ 99 w 99"/>
                <a:gd name="T9" fmla="*/ 18 h 51"/>
                <a:gd name="T10" fmla="*/ 48 w 99"/>
                <a:gd name="T11" fmla="*/ 51 h 51"/>
                <a:gd name="T12" fmla="*/ 0 w 99"/>
                <a:gd name="T13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51">
                  <a:moveTo>
                    <a:pt x="0" y="17"/>
                  </a:moveTo>
                  <a:cubicBezTo>
                    <a:pt x="0" y="17"/>
                    <a:pt x="13" y="0"/>
                    <a:pt x="27" y="0"/>
                  </a:cubicBezTo>
                  <a:cubicBezTo>
                    <a:pt x="42" y="1"/>
                    <a:pt x="49" y="14"/>
                    <a:pt x="49" y="14"/>
                  </a:cubicBezTo>
                  <a:cubicBezTo>
                    <a:pt x="49" y="14"/>
                    <a:pt x="62" y="1"/>
                    <a:pt x="78" y="1"/>
                  </a:cubicBezTo>
                  <a:cubicBezTo>
                    <a:pt x="93" y="1"/>
                    <a:pt x="99" y="18"/>
                    <a:pt x="99" y="18"/>
                  </a:cubicBezTo>
                  <a:cubicBezTo>
                    <a:pt x="99" y="18"/>
                    <a:pt x="84" y="51"/>
                    <a:pt x="48" y="51"/>
                  </a:cubicBezTo>
                  <a:cubicBezTo>
                    <a:pt x="12" y="51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2" name="Freeform 760">
              <a:extLst>
                <a:ext uri="{FF2B5EF4-FFF2-40B4-BE49-F238E27FC236}">
                  <a16:creationId xmlns:a16="http://schemas.microsoft.com/office/drawing/2014/main" id="{BF5CA53A-BD87-40BE-AB8F-33F05A4062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72740" y="1887565"/>
              <a:ext cx="55603" cy="23561"/>
            </a:xfrm>
            <a:custGeom>
              <a:avLst/>
              <a:gdLst>
                <a:gd name="T0" fmla="*/ 0 w 50"/>
                <a:gd name="T1" fmla="*/ 21 h 21"/>
                <a:gd name="T2" fmla="*/ 24 w 50"/>
                <a:gd name="T3" fmla="*/ 1 h 21"/>
                <a:gd name="T4" fmla="*/ 50 w 50"/>
                <a:gd name="T5" fmla="*/ 21 h 21"/>
                <a:gd name="T6" fmla="*/ 24 w 50"/>
                <a:gd name="T7" fmla="*/ 9 h 21"/>
                <a:gd name="T8" fmla="*/ 0 w 5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1">
                  <a:moveTo>
                    <a:pt x="0" y="21"/>
                  </a:moveTo>
                  <a:cubicBezTo>
                    <a:pt x="0" y="21"/>
                    <a:pt x="2" y="1"/>
                    <a:pt x="24" y="1"/>
                  </a:cubicBezTo>
                  <a:cubicBezTo>
                    <a:pt x="45" y="0"/>
                    <a:pt x="50" y="21"/>
                    <a:pt x="50" y="21"/>
                  </a:cubicBezTo>
                  <a:cubicBezTo>
                    <a:pt x="50" y="21"/>
                    <a:pt x="38" y="9"/>
                    <a:pt x="24" y="9"/>
                  </a:cubicBezTo>
                  <a:cubicBezTo>
                    <a:pt x="11" y="9"/>
                    <a:pt x="0" y="21"/>
                    <a:pt x="0" y="21"/>
                  </a:cubicBezTo>
                  <a:close/>
                </a:path>
              </a:pathLst>
            </a:custGeom>
            <a:solidFill>
              <a:srgbClr val="EFC4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4" name="Freeform 761">
              <a:extLst>
                <a:ext uri="{FF2B5EF4-FFF2-40B4-BE49-F238E27FC236}">
                  <a16:creationId xmlns:a16="http://schemas.microsoft.com/office/drawing/2014/main" id="{928DF843-537B-4847-A98C-16ED79CCB1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248917" y="1764110"/>
              <a:ext cx="142776" cy="37696"/>
            </a:xfrm>
            <a:custGeom>
              <a:avLst/>
              <a:gdLst>
                <a:gd name="T0" fmla="*/ 0 w 128"/>
                <a:gd name="T1" fmla="*/ 22 h 34"/>
                <a:gd name="T2" fmla="*/ 1 w 128"/>
                <a:gd name="T3" fmla="*/ 10 h 34"/>
                <a:gd name="T4" fmla="*/ 3 w 128"/>
                <a:gd name="T5" fmla="*/ 7 h 34"/>
                <a:gd name="T6" fmla="*/ 126 w 128"/>
                <a:gd name="T7" fmla="*/ 19 h 34"/>
                <a:gd name="T8" fmla="*/ 127 w 128"/>
                <a:gd name="T9" fmla="*/ 23 h 34"/>
                <a:gd name="T10" fmla="*/ 120 w 128"/>
                <a:gd name="T11" fmla="*/ 33 h 34"/>
                <a:gd name="T12" fmla="*/ 116 w 128"/>
                <a:gd name="T13" fmla="*/ 34 h 34"/>
                <a:gd name="T14" fmla="*/ 3 w 128"/>
                <a:gd name="T15" fmla="*/ 24 h 34"/>
                <a:gd name="T16" fmla="*/ 0 w 128"/>
                <a:gd name="T17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4">
                  <a:moveTo>
                    <a:pt x="0" y="22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2" y="7"/>
                    <a:pt x="3" y="7"/>
                  </a:cubicBezTo>
                  <a:cubicBezTo>
                    <a:pt x="18" y="6"/>
                    <a:pt x="91" y="0"/>
                    <a:pt x="126" y="19"/>
                  </a:cubicBezTo>
                  <a:cubicBezTo>
                    <a:pt x="127" y="20"/>
                    <a:pt x="128" y="22"/>
                    <a:pt x="127" y="2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19" y="34"/>
                    <a:pt x="118" y="34"/>
                    <a:pt x="116" y="34"/>
                  </a:cubicBezTo>
                  <a:cubicBezTo>
                    <a:pt x="106" y="30"/>
                    <a:pt x="64" y="18"/>
                    <a:pt x="3" y="24"/>
                  </a:cubicBezTo>
                  <a:cubicBezTo>
                    <a:pt x="2" y="25"/>
                    <a:pt x="0" y="23"/>
                    <a:pt x="0" y="22"/>
                  </a:cubicBezTo>
                  <a:close/>
                </a:path>
              </a:pathLst>
            </a:custGeom>
            <a:solidFill>
              <a:srgbClr val="AD3E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6" name="Freeform 762">
              <a:extLst>
                <a:ext uri="{FF2B5EF4-FFF2-40B4-BE49-F238E27FC236}">
                  <a16:creationId xmlns:a16="http://schemas.microsoft.com/office/drawing/2014/main" id="{02215F57-2C31-4E30-89A1-683BBD59F6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09861" y="1764110"/>
              <a:ext cx="142304" cy="37696"/>
            </a:xfrm>
            <a:custGeom>
              <a:avLst/>
              <a:gdLst>
                <a:gd name="T0" fmla="*/ 128 w 128"/>
                <a:gd name="T1" fmla="*/ 20 h 34"/>
                <a:gd name="T2" fmla="*/ 127 w 128"/>
                <a:gd name="T3" fmla="*/ 8 h 34"/>
                <a:gd name="T4" fmla="*/ 125 w 128"/>
                <a:gd name="T5" fmla="*/ 6 h 34"/>
                <a:gd name="T6" fmla="*/ 2 w 128"/>
                <a:gd name="T7" fmla="*/ 19 h 34"/>
                <a:gd name="T8" fmla="*/ 1 w 128"/>
                <a:gd name="T9" fmla="*/ 23 h 34"/>
                <a:gd name="T10" fmla="*/ 9 w 128"/>
                <a:gd name="T11" fmla="*/ 33 h 34"/>
                <a:gd name="T12" fmla="*/ 12 w 128"/>
                <a:gd name="T13" fmla="*/ 34 h 34"/>
                <a:gd name="T14" fmla="*/ 125 w 128"/>
                <a:gd name="T15" fmla="*/ 23 h 34"/>
                <a:gd name="T16" fmla="*/ 128 w 128"/>
                <a:gd name="T17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4">
                  <a:moveTo>
                    <a:pt x="128" y="20"/>
                  </a:moveTo>
                  <a:cubicBezTo>
                    <a:pt x="127" y="8"/>
                    <a:pt x="127" y="8"/>
                    <a:pt x="127" y="8"/>
                  </a:cubicBezTo>
                  <a:cubicBezTo>
                    <a:pt x="127" y="7"/>
                    <a:pt x="126" y="6"/>
                    <a:pt x="125" y="6"/>
                  </a:cubicBezTo>
                  <a:cubicBezTo>
                    <a:pt x="110" y="4"/>
                    <a:pt x="37" y="0"/>
                    <a:pt x="2" y="19"/>
                  </a:cubicBezTo>
                  <a:cubicBezTo>
                    <a:pt x="1" y="20"/>
                    <a:pt x="0" y="22"/>
                    <a:pt x="1" y="2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1" y="34"/>
                    <a:pt x="12" y="34"/>
                  </a:cubicBezTo>
                  <a:cubicBezTo>
                    <a:pt x="22" y="30"/>
                    <a:pt x="64" y="17"/>
                    <a:pt x="125" y="23"/>
                  </a:cubicBezTo>
                  <a:cubicBezTo>
                    <a:pt x="127" y="23"/>
                    <a:pt x="128" y="22"/>
                    <a:pt x="128" y="20"/>
                  </a:cubicBezTo>
                  <a:close/>
                </a:path>
              </a:pathLst>
            </a:custGeom>
            <a:solidFill>
              <a:srgbClr val="AD3E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7" name="Freeform 763">
              <a:extLst>
                <a:ext uri="{FF2B5EF4-FFF2-40B4-BE49-F238E27FC236}">
                  <a16:creationId xmlns:a16="http://schemas.microsoft.com/office/drawing/2014/main" id="{5F6C32D5-DDD6-45FE-A3E4-2CC50D2CEC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226770" y="1527092"/>
              <a:ext cx="570160" cy="276128"/>
            </a:xfrm>
            <a:custGeom>
              <a:avLst/>
              <a:gdLst>
                <a:gd name="T0" fmla="*/ 37 w 512"/>
                <a:gd name="T1" fmla="*/ 248 h 248"/>
                <a:gd name="T2" fmla="*/ 368 w 512"/>
                <a:gd name="T3" fmla="*/ 134 h 248"/>
                <a:gd name="T4" fmla="*/ 512 w 512"/>
                <a:gd name="T5" fmla="*/ 204 h 248"/>
                <a:gd name="T6" fmla="*/ 512 w 512"/>
                <a:gd name="T7" fmla="*/ 0 h 248"/>
                <a:gd name="T8" fmla="*/ 0 w 512"/>
                <a:gd name="T9" fmla="*/ 36 h 248"/>
                <a:gd name="T10" fmla="*/ 0 w 512"/>
                <a:gd name="T11" fmla="*/ 161 h 248"/>
                <a:gd name="T12" fmla="*/ 37 w 512"/>
                <a:gd name="T13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2" h="248">
                  <a:moveTo>
                    <a:pt x="37" y="248"/>
                  </a:moveTo>
                  <a:cubicBezTo>
                    <a:pt x="37" y="248"/>
                    <a:pt x="309" y="203"/>
                    <a:pt x="368" y="134"/>
                  </a:cubicBezTo>
                  <a:cubicBezTo>
                    <a:pt x="368" y="134"/>
                    <a:pt x="424" y="210"/>
                    <a:pt x="512" y="204"/>
                  </a:cubicBezTo>
                  <a:cubicBezTo>
                    <a:pt x="512" y="0"/>
                    <a:pt x="512" y="0"/>
                    <a:pt x="512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37" y="248"/>
                  </a:ln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pic>
        <p:nvPicPr>
          <p:cNvPr id="19" name="图片 18">
            <a:extLst>
              <a:ext uri="{FF2B5EF4-FFF2-40B4-BE49-F238E27FC236}">
                <a16:creationId xmlns:a16="http://schemas.microsoft.com/office/drawing/2014/main" id="{8E25752F-1D57-443A-8749-DAFF77A598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47"/>
          <a:stretch/>
        </p:blipFill>
        <p:spPr>
          <a:xfrm>
            <a:off x="1316512" y="268454"/>
            <a:ext cx="3723738" cy="742267"/>
          </a:xfrm>
          <a:prstGeom prst="rect">
            <a:avLst/>
          </a:prstGeom>
        </p:spPr>
      </p:pic>
      <p:grpSp>
        <p:nvGrpSpPr>
          <p:cNvPr id="11" name="组合 10"/>
          <p:cNvGrpSpPr/>
          <p:nvPr/>
        </p:nvGrpSpPr>
        <p:grpSpPr>
          <a:xfrm>
            <a:off x="8794180" y="3007579"/>
            <a:ext cx="2052397" cy="937075"/>
            <a:chOff x="8199820" y="2901041"/>
            <a:chExt cx="2052397" cy="937075"/>
          </a:xfrm>
        </p:grpSpPr>
        <p:grpSp>
          <p:nvGrpSpPr>
            <p:cNvPr id="10" name="组合 9"/>
            <p:cNvGrpSpPr/>
            <p:nvPr/>
          </p:nvGrpSpPr>
          <p:grpSpPr>
            <a:xfrm>
              <a:off x="8199820" y="2901041"/>
              <a:ext cx="702984" cy="937075"/>
              <a:chOff x="8199820" y="2901041"/>
              <a:chExt cx="702984" cy="937075"/>
            </a:xfrm>
          </p:grpSpPr>
          <p:sp>
            <p:nvSpPr>
              <p:cNvPr id="291" name="Freeform 442">
                <a:extLst>
                  <a:ext uri="{FF2B5EF4-FFF2-40B4-BE49-F238E27FC236}">
                    <a16:creationId xmlns:a16="http://schemas.microsoft.com/office/drawing/2014/main" id="{9F5A8AD3-11ED-44AA-9141-182C296CF6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6054" y="3657739"/>
                <a:ext cx="86750" cy="156527"/>
              </a:xfrm>
              <a:custGeom>
                <a:avLst/>
                <a:gdLst>
                  <a:gd name="T0" fmla="*/ 0 w 108"/>
                  <a:gd name="T1" fmla="*/ 20 h 181"/>
                  <a:gd name="T2" fmla="*/ 55 w 108"/>
                  <a:gd name="T3" fmla="*/ 20 h 181"/>
                  <a:gd name="T4" fmla="*/ 7 w 108"/>
                  <a:gd name="T5" fmla="*/ 172 h 181"/>
                  <a:gd name="T6" fmla="*/ 0 w 108"/>
                  <a:gd name="T7" fmla="*/ 2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8" h="181">
                    <a:moveTo>
                      <a:pt x="0" y="20"/>
                    </a:moveTo>
                    <a:cubicBezTo>
                      <a:pt x="0" y="20"/>
                      <a:pt x="33" y="0"/>
                      <a:pt x="55" y="20"/>
                    </a:cubicBezTo>
                    <a:cubicBezTo>
                      <a:pt x="77" y="40"/>
                      <a:pt x="108" y="181"/>
                      <a:pt x="7" y="172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6B46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2" name="Freeform 444">
                <a:extLst>
                  <a:ext uri="{FF2B5EF4-FFF2-40B4-BE49-F238E27FC236}">
                    <a16:creationId xmlns:a16="http://schemas.microsoft.com/office/drawing/2014/main" id="{1BE56EDC-C291-4BD9-96EB-058B4376A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0877" y="3420085"/>
                <a:ext cx="351083" cy="403385"/>
              </a:xfrm>
              <a:custGeom>
                <a:avLst/>
                <a:gdLst>
                  <a:gd name="T0" fmla="*/ 207 w 437"/>
                  <a:gd name="T1" fmla="*/ 0 h 467"/>
                  <a:gd name="T2" fmla="*/ 0 w 437"/>
                  <a:gd name="T3" fmla="*/ 264 h 467"/>
                  <a:gd name="T4" fmla="*/ 149 w 437"/>
                  <a:gd name="T5" fmla="*/ 467 h 467"/>
                  <a:gd name="T6" fmla="*/ 398 w 437"/>
                  <a:gd name="T7" fmla="*/ 467 h 467"/>
                  <a:gd name="T8" fmla="*/ 422 w 437"/>
                  <a:gd name="T9" fmla="*/ 257 h 467"/>
                  <a:gd name="T10" fmla="*/ 207 w 437"/>
                  <a:gd name="T11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7" h="467">
                    <a:moveTo>
                      <a:pt x="207" y="0"/>
                    </a:moveTo>
                    <a:cubicBezTo>
                      <a:pt x="93" y="0"/>
                      <a:pt x="0" y="118"/>
                      <a:pt x="0" y="264"/>
                    </a:cubicBezTo>
                    <a:cubicBezTo>
                      <a:pt x="0" y="352"/>
                      <a:pt x="69" y="424"/>
                      <a:pt x="149" y="467"/>
                    </a:cubicBezTo>
                    <a:cubicBezTo>
                      <a:pt x="398" y="467"/>
                      <a:pt x="398" y="467"/>
                      <a:pt x="398" y="467"/>
                    </a:cubicBezTo>
                    <a:cubicBezTo>
                      <a:pt x="432" y="421"/>
                      <a:pt x="437" y="344"/>
                      <a:pt x="422" y="257"/>
                    </a:cubicBezTo>
                    <a:cubicBezTo>
                      <a:pt x="398" y="113"/>
                      <a:pt x="321" y="0"/>
                      <a:pt x="207" y="0"/>
                    </a:cubicBezTo>
                    <a:close/>
                  </a:path>
                </a:pathLst>
              </a:custGeom>
              <a:solidFill>
                <a:srgbClr val="7F57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3" name="Freeform 445">
                <a:extLst>
                  <a:ext uri="{FF2B5EF4-FFF2-40B4-BE49-F238E27FC236}">
                    <a16:creationId xmlns:a16="http://schemas.microsoft.com/office/drawing/2014/main" id="{890519F9-E081-4E2E-A8B6-3EE0B1D3B0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1191" y="3411925"/>
                <a:ext cx="96617" cy="100938"/>
              </a:xfrm>
              <a:custGeom>
                <a:avLst/>
                <a:gdLst>
                  <a:gd name="T0" fmla="*/ 117 w 120"/>
                  <a:gd name="T1" fmla="*/ 117 h 117"/>
                  <a:gd name="T2" fmla="*/ 90 w 120"/>
                  <a:gd name="T3" fmla="*/ 115 h 117"/>
                  <a:gd name="T4" fmla="*/ 73 w 120"/>
                  <a:gd name="T5" fmla="*/ 52 h 117"/>
                  <a:gd name="T6" fmla="*/ 3 w 120"/>
                  <a:gd name="T7" fmla="*/ 31 h 117"/>
                  <a:gd name="T8" fmla="*/ 0 w 120"/>
                  <a:gd name="T9" fmla="*/ 5 h 117"/>
                  <a:gd name="T10" fmla="*/ 91 w 120"/>
                  <a:gd name="T11" fmla="*/ 34 h 117"/>
                  <a:gd name="T12" fmla="*/ 117 w 120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17">
                    <a:moveTo>
                      <a:pt x="117" y="117"/>
                    </a:moveTo>
                    <a:cubicBezTo>
                      <a:pt x="90" y="115"/>
                      <a:pt x="90" y="115"/>
                      <a:pt x="90" y="115"/>
                    </a:cubicBezTo>
                    <a:cubicBezTo>
                      <a:pt x="93" y="87"/>
                      <a:pt x="87" y="66"/>
                      <a:pt x="73" y="52"/>
                    </a:cubicBezTo>
                    <a:cubicBezTo>
                      <a:pt x="47" y="27"/>
                      <a:pt x="3" y="31"/>
                      <a:pt x="3" y="3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57" y="0"/>
                      <a:pt x="91" y="34"/>
                    </a:cubicBezTo>
                    <a:cubicBezTo>
                      <a:pt x="111" y="53"/>
                      <a:pt x="120" y="81"/>
                      <a:pt x="117" y="117"/>
                    </a:cubicBezTo>
                    <a:close/>
                  </a:path>
                </a:pathLst>
              </a:custGeom>
              <a:solidFill>
                <a:srgbClr val="4C36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6" name="Freeform 1207">
                <a:extLst>
                  <a:ext uri="{FF2B5EF4-FFF2-40B4-BE49-F238E27FC236}">
                    <a16:creationId xmlns:a16="http://schemas.microsoft.com/office/drawing/2014/main" id="{95A2C8AB-C653-4854-AC5E-7A95F7D4C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615" y="3802811"/>
                <a:ext cx="103763" cy="22911"/>
              </a:xfrm>
              <a:custGeom>
                <a:avLst/>
                <a:gdLst>
                  <a:gd name="T0" fmla="*/ 0 w 126"/>
                  <a:gd name="T1" fmla="*/ 26 h 26"/>
                  <a:gd name="T2" fmla="*/ 124 w 126"/>
                  <a:gd name="T3" fmla="*/ 26 h 26"/>
                  <a:gd name="T4" fmla="*/ 126 w 126"/>
                  <a:gd name="T5" fmla="*/ 9 h 26"/>
                  <a:gd name="T6" fmla="*/ 4 w 126"/>
                  <a:gd name="T7" fmla="*/ 0 h 26"/>
                  <a:gd name="T8" fmla="*/ 0 w 126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26">
                    <a:moveTo>
                      <a:pt x="0" y="26"/>
                    </a:moveTo>
                    <a:cubicBezTo>
                      <a:pt x="124" y="26"/>
                      <a:pt x="124" y="26"/>
                      <a:pt x="124" y="26"/>
                    </a:cubicBezTo>
                    <a:cubicBezTo>
                      <a:pt x="126" y="14"/>
                      <a:pt x="126" y="9"/>
                      <a:pt x="126" y="9"/>
                    </a:cubicBezTo>
                    <a:cubicBezTo>
                      <a:pt x="126" y="9"/>
                      <a:pt x="70" y="8"/>
                      <a:pt x="4" y="0"/>
                    </a:cubicBez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D88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8" name="Freeform 1208">
                <a:extLst>
                  <a:ext uri="{FF2B5EF4-FFF2-40B4-BE49-F238E27FC236}">
                    <a16:creationId xmlns:a16="http://schemas.microsoft.com/office/drawing/2014/main" id="{EFA5D169-7EA2-484D-8CEA-B14124869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1869" y="3443380"/>
                <a:ext cx="170145" cy="377084"/>
              </a:xfrm>
              <a:custGeom>
                <a:avLst/>
                <a:gdLst>
                  <a:gd name="T0" fmla="*/ 168 w 206"/>
                  <a:gd name="T1" fmla="*/ 23 h 425"/>
                  <a:gd name="T2" fmla="*/ 0 w 206"/>
                  <a:gd name="T3" fmla="*/ 411 h 425"/>
                  <a:gd name="T4" fmla="*/ 142 w 206"/>
                  <a:gd name="T5" fmla="*/ 425 h 425"/>
                  <a:gd name="T6" fmla="*/ 206 w 206"/>
                  <a:gd name="T7" fmla="*/ 36 h 425"/>
                  <a:gd name="T8" fmla="*/ 168 w 206"/>
                  <a:gd name="T9" fmla="*/ 23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425">
                    <a:moveTo>
                      <a:pt x="168" y="23"/>
                    </a:moveTo>
                    <a:cubicBezTo>
                      <a:pt x="168" y="23"/>
                      <a:pt x="36" y="153"/>
                      <a:pt x="0" y="411"/>
                    </a:cubicBezTo>
                    <a:cubicBezTo>
                      <a:pt x="142" y="425"/>
                      <a:pt x="142" y="425"/>
                      <a:pt x="142" y="425"/>
                    </a:cubicBezTo>
                    <a:cubicBezTo>
                      <a:pt x="142" y="425"/>
                      <a:pt x="206" y="113"/>
                      <a:pt x="206" y="36"/>
                    </a:cubicBezTo>
                    <a:cubicBezTo>
                      <a:pt x="206" y="36"/>
                      <a:pt x="196" y="0"/>
                      <a:pt x="168" y="23"/>
                    </a:cubicBez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0" name="Freeform 1209">
                <a:extLst>
                  <a:ext uri="{FF2B5EF4-FFF2-40B4-BE49-F238E27FC236}">
                    <a16:creationId xmlns:a16="http://schemas.microsoft.com/office/drawing/2014/main" id="{3EEFBABF-925F-48C2-BA2E-EE927DD0B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6977" y="3493711"/>
                <a:ext cx="150929" cy="323000"/>
              </a:xfrm>
              <a:custGeom>
                <a:avLst/>
                <a:gdLst>
                  <a:gd name="T0" fmla="*/ 183 w 183"/>
                  <a:gd name="T1" fmla="*/ 1 h 364"/>
                  <a:gd name="T2" fmla="*/ 104 w 183"/>
                  <a:gd name="T3" fmla="*/ 87 h 364"/>
                  <a:gd name="T4" fmla="*/ 63 w 183"/>
                  <a:gd name="T5" fmla="*/ 341 h 364"/>
                  <a:gd name="T6" fmla="*/ 135 w 183"/>
                  <a:gd name="T7" fmla="*/ 272 h 364"/>
                  <a:gd name="T8" fmla="*/ 183 w 183"/>
                  <a:gd name="T9" fmla="*/ 1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364">
                    <a:moveTo>
                      <a:pt x="183" y="1"/>
                    </a:moveTo>
                    <a:cubicBezTo>
                      <a:pt x="183" y="1"/>
                      <a:pt x="146" y="0"/>
                      <a:pt x="104" y="87"/>
                    </a:cubicBezTo>
                    <a:cubicBezTo>
                      <a:pt x="73" y="151"/>
                      <a:pt x="0" y="319"/>
                      <a:pt x="63" y="341"/>
                    </a:cubicBezTo>
                    <a:cubicBezTo>
                      <a:pt x="125" y="364"/>
                      <a:pt x="129" y="312"/>
                      <a:pt x="135" y="272"/>
                    </a:cubicBezTo>
                    <a:cubicBezTo>
                      <a:pt x="141" y="231"/>
                      <a:pt x="183" y="1"/>
                      <a:pt x="183" y="1"/>
                    </a:cubicBezTo>
                    <a:close/>
                  </a:path>
                </a:pathLst>
              </a:custGeom>
              <a:solidFill>
                <a:srgbClr val="F4A5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9" name="Freeform 1211">
                <a:extLst>
                  <a:ext uri="{FF2B5EF4-FFF2-40B4-BE49-F238E27FC236}">
                    <a16:creationId xmlns:a16="http://schemas.microsoft.com/office/drawing/2014/main" id="{D8C2DA46-4681-4F9F-9D42-C3658EBB5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0419" y="3802811"/>
                <a:ext cx="104812" cy="22911"/>
              </a:xfrm>
              <a:custGeom>
                <a:avLst/>
                <a:gdLst>
                  <a:gd name="T0" fmla="*/ 123 w 127"/>
                  <a:gd name="T1" fmla="*/ 0 h 26"/>
                  <a:gd name="T2" fmla="*/ 0 w 127"/>
                  <a:gd name="T3" fmla="*/ 9 h 26"/>
                  <a:gd name="T4" fmla="*/ 3 w 127"/>
                  <a:gd name="T5" fmla="*/ 26 h 26"/>
                  <a:gd name="T6" fmla="*/ 127 w 127"/>
                  <a:gd name="T7" fmla="*/ 26 h 26"/>
                  <a:gd name="T8" fmla="*/ 123 w 127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26">
                    <a:moveTo>
                      <a:pt x="123" y="0"/>
                    </a:moveTo>
                    <a:cubicBezTo>
                      <a:pt x="57" y="8"/>
                      <a:pt x="0" y="9"/>
                      <a:pt x="0" y="9"/>
                    </a:cubicBezTo>
                    <a:cubicBezTo>
                      <a:pt x="0" y="9"/>
                      <a:pt x="1" y="14"/>
                      <a:pt x="3" y="26"/>
                    </a:cubicBezTo>
                    <a:cubicBezTo>
                      <a:pt x="127" y="26"/>
                      <a:pt x="127" y="26"/>
                      <a:pt x="127" y="26"/>
                    </a:cubicBez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D88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0" name="Freeform 1212">
                <a:extLst>
                  <a:ext uri="{FF2B5EF4-FFF2-40B4-BE49-F238E27FC236}">
                    <a16:creationId xmlns:a16="http://schemas.microsoft.com/office/drawing/2014/main" id="{2BBCE613-EBAC-48D7-AA33-9BD762EF2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6133" y="3443380"/>
                <a:ext cx="170844" cy="377084"/>
              </a:xfrm>
              <a:custGeom>
                <a:avLst/>
                <a:gdLst>
                  <a:gd name="T0" fmla="*/ 38 w 207"/>
                  <a:gd name="T1" fmla="*/ 23 h 425"/>
                  <a:gd name="T2" fmla="*/ 207 w 207"/>
                  <a:gd name="T3" fmla="*/ 411 h 425"/>
                  <a:gd name="T4" fmla="*/ 65 w 207"/>
                  <a:gd name="T5" fmla="*/ 425 h 425"/>
                  <a:gd name="T6" fmla="*/ 0 w 207"/>
                  <a:gd name="T7" fmla="*/ 36 h 425"/>
                  <a:gd name="T8" fmla="*/ 38 w 207"/>
                  <a:gd name="T9" fmla="*/ 23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425">
                    <a:moveTo>
                      <a:pt x="38" y="23"/>
                    </a:moveTo>
                    <a:cubicBezTo>
                      <a:pt x="38" y="23"/>
                      <a:pt x="171" y="153"/>
                      <a:pt x="207" y="411"/>
                    </a:cubicBezTo>
                    <a:cubicBezTo>
                      <a:pt x="65" y="425"/>
                      <a:pt x="65" y="425"/>
                      <a:pt x="65" y="425"/>
                    </a:cubicBezTo>
                    <a:cubicBezTo>
                      <a:pt x="65" y="425"/>
                      <a:pt x="0" y="113"/>
                      <a:pt x="0" y="36"/>
                    </a:cubicBezTo>
                    <a:cubicBezTo>
                      <a:pt x="0" y="36"/>
                      <a:pt x="11" y="0"/>
                      <a:pt x="38" y="23"/>
                    </a:cubicBez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1" name="Freeform 1213">
                <a:extLst>
                  <a:ext uri="{FF2B5EF4-FFF2-40B4-BE49-F238E27FC236}">
                    <a16:creationId xmlns:a16="http://schemas.microsoft.com/office/drawing/2014/main" id="{0C79A5E8-C5B0-4A46-A3AD-D40DC8E10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1638" y="3487699"/>
                <a:ext cx="149183" cy="329010"/>
              </a:xfrm>
              <a:custGeom>
                <a:avLst/>
                <a:gdLst>
                  <a:gd name="T0" fmla="*/ 0 w 181"/>
                  <a:gd name="T1" fmla="*/ 0 h 371"/>
                  <a:gd name="T2" fmla="*/ 78 w 181"/>
                  <a:gd name="T3" fmla="*/ 94 h 371"/>
                  <a:gd name="T4" fmla="*/ 119 w 181"/>
                  <a:gd name="T5" fmla="*/ 348 h 371"/>
                  <a:gd name="T6" fmla="*/ 47 w 181"/>
                  <a:gd name="T7" fmla="*/ 279 h 371"/>
                  <a:gd name="T8" fmla="*/ 0 w 181"/>
                  <a:gd name="T9" fmla="*/ 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1" h="371">
                    <a:moveTo>
                      <a:pt x="0" y="0"/>
                    </a:moveTo>
                    <a:cubicBezTo>
                      <a:pt x="0" y="0"/>
                      <a:pt x="34" y="5"/>
                      <a:pt x="78" y="94"/>
                    </a:cubicBezTo>
                    <a:cubicBezTo>
                      <a:pt x="109" y="158"/>
                      <a:pt x="181" y="326"/>
                      <a:pt x="119" y="348"/>
                    </a:cubicBezTo>
                    <a:cubicBezTo>
                      <a:pt x="57" y="371"/>
                      <a:pt x="53" y="319"/>
                      <a:pt x="47" y="279"/>
                    </a:cubicBezTo>
                    <a:cubicBezTo>
                      <a:pt x="40" y="238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4A5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2" name="Freeform 1214">
                <a:extLst>
                  <a:ext uri="{FF2B5EF4-FFF2-40B4-BE49-F238E27FC236}">
                    <a16:creationId xmlns:a16="http://schemas.microsoft.com/office/drawing/2014/main" id="{18773946-2520-4E84-BEE1-388B28109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4935" y="3455774"/>
                <a:ext cx="315484" cy="369948"/>
              </a:xfrm>
              <a:custGeom>
                <a:avLst/>
                <a:gdLst>
                  <a:gd name="T0" fmla="*/ 382 w 382"/>
                  <a:gd name="T1" fmla="*/ 417 h 417"/>
                  <a:gd name="T2" fmla="*/ 308 w 382"/>
                  <a:gd name="T3" fmla="*/ 0 h 417"/>
                  <a:gd name="T4" fmla="*/ 63 w 382"/>
                  <a:gd name="T5" fmla="*/ 1 h 417"/>
                  <a:gd name="T6" fmla="*/ 0 w 382"/>
                  <a:gd name="T7" fmla="*/ 417 h 417"/>
                  <a:gd name="T8" fmla="*/ 382 w 382"/>
                  <a:gd name="T9" fmla="*/ 417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417">
                    <a:moveTo>
                      <a:pt x="382" y="417"/>
                    </a:moveTo>
                    <a:cubicBezTo>
                      <a:pt x="373" y="333"/>
                      <a:pt x="345" y="93"/>
                      <a:pt x="308" y="0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3" y="1"/>
                      <a:pt x="6" y="246"/>
                      <a:pt x="0" y="417"/>
                    </a:cubicBezTo>
                    <a:lnTo>
                      <a:pt x="382" y="417"/>
                    </a:lnTo>
                    <a:close/>
                  </a:path>
                </a:pathLst>
              </a:custGeom>
              <a:solidFill>
                <a:srgbClr val="F4A5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" name="Freeform 1215">
                <a:extLst>
                  <a:ext uri="{FF2B5EF4-FFF2-40B4-BE49-F238E27FC236}">
                    <a16:creationId xmlns:a16="http://schemas.microsoft.com/office/drawing/2014/main" id="{F69E2560-5C33-4A14-895D-F882C7C21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4935" y="3456525"/>
                <a:ext cx="60441" cy="369197"/>
              </a:xfrm>
              <a:custGeom>
                <a:avLst/>
                <a:gdLst>
                  <a:gd name="T0" fmla="*/ 73 w 73"/>
                  <a:gd name="T1" fmla="*/ 0 h 416"/>
                  <a:gd name="T2" fmla="*/ 63 w 73"/>
                  <a:gd name="T3" fmla="*/ 0 h 416"/>
                  <a:gd name="T4" fmla="*/ 0 w 73"/>
                  <a:gd name="T5" fmla="*/ 416 h 416"/>
                  <a:gd name="T6" fmla="*/ 61 w 73"/>
                  <a:gd name="T7" fmla="*/ 416 h 416"/>
                  <a:gd name="T8" fmla="*/ 24 w 73"/>
                  <a:gd name="T9" fmla="*/ 336 h 416"/>
                  <a:gd name="T10" fmla="*/ 59 w 73"/>
                  <a:gd name="T11" fmla="*/ 68 h 416"/>
                  <a:gd name="T12" fmla="*/ 73 w 73"/>
                  <a:gd name="T13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416">
                    <a:moveTo>
                      <a:pt x="73" y="0"/>
                    </a:moveTo>
                    <a:cubicBezTo>
                      <a:pt x="63" y="0"/>
                      <a:pt x="63" y="0"/>
                      <a:pt x="63" y="0"/>
                    </a:cubicBezTo>
                    <a:cubicBezTo>
                      <a:pt x="63" y="0"/>
                      <a:pt x="6" y="245"/>
                      <a:pt x="0" y="416"/>
                    </a:cubicBezTo>
                    <a:cubicBezTo>
                      <a:pt x="61" y="416"/>
                      <a:pt x="61" y="416"/>
                      <a:pt x="61" y="416"/>
                    </a:cubicBezTo>
                    <a:cubicBezTo>
                      <a:pt x="39" y="403"/>
                      <a:pt x="24" y="379"/>
                      <a:pt x="24" y="336"/>
                    </a:cubicBezTo>
                    <a:cubicBezTo>
                      <a:pt x="23" y="254"/>
                      <a:pt x="59" y="68"/>
                      <a:pt x="59" y="68"/>
                    </a:cubicBez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" name="Freeform 1216">
                <a:extLst>
                  <a:ext uri="{FF2B5EF4-FFF2-40B4-BE49-F238E27FC236}">
                    <a16:creationId xmlns:a16="http://schemas.microsoft.com/office/drawing/2014/main" id="{8CDBC0B8-7B4B-4D71-B404-7A8E5E481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0109" y="3657087"/>
                <a:ext cx="50310" cy="168635"/>
              </a:xfrm>
              <a:custGeom>
                <a:avLst/>
                <a:gdLst>
                  <a:gd name="T0" fmla="*/ 0 w 61"/>
                  <a:gd name="T1" fmla="*/ 190 h 190"/>
                  <a:gd name="T2" fmla="*/ 61 w 61"/>
                  <a:gd name="T3" fmla="*/ 190 h 190"/>
                  <a:gd name="T4" fmla="*/ 37 w 61"/>
                  <a:gd name="T5" fmla="*/ 0 h 190"/>
                  <a:gd name="T6" fmla="*/ 38 w 61"/>
                  <a:gd name="T7" fmla="*/ 128 h 190"/>
                  <a:gd name="T8" fmla="*/ 0 w 61"/>
                  <a:gd name="T9" fmla="*/ 19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90">
                    <a:moveTo>
                      <a:pt x="0" y="190"/>
                    </a:moveTo>
                    <a:cubicBezTo>
                      <a:pt x="61" y="190"/>
                      <a:pt x="61" y="190"/>
                      <a:pt x="61" y="190"/>
                    </a:cubicBezTo>
                    <a:cubicBezTo>
                      <a:pt x="57" y="150"/>
                      <a:pt x="48" y="77"/>
                      <a:pt x="37" y="0"/>
                    </a:cubicBezTo>
                    <a:cubicBezTo>
                      <a:pt x="37" y="0"/>
                      <a:pt x="41" y="67"/>
                      <a:pt x="38" y="128"/>
                    </a:cubicBezTo>
                    <a:cubicBezTo>
                      <a:pt x="36" y="160"/>
                      <a:pt x="21" y="179"/>
                      <a:pt x="0" y="190"/>
                    </a:cubicBez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" name="Freeform 1217">
                <a:extLst>
                  <a:ext uri="{FF2B5EF4-FFF2-40B4-BE49-F238E27FC236}">
                    <a16:creationId xmlns:a16="http://schemas.microsoft.com/office/drawing/2014/main" id="{A496460A-DBAE-405D-9597-2F83570EA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1797" y="3442254"/>
                <a:ext cx="175035" cy="126945"/>
              </a:xfrm>
              <a:custGeom>
                <a:avLst/>
                <a:gdLst>
                  <a:gd name="T0" fmla="*/ 106 w 212"/>
                  <a:gd name="T1" fmla="*/ 143 h 143"/>
                  <a:gd name="T2" fmla="*/ 30 w 212"/>
                  <a:gd name="T3" fmla="*/ 112 h 143"/>
                  <a:gd name="T4" fmla="*/ 8 w 212"/>
                  <a:gd name="T5" fmla="*/ 24 h 143"/>
                  <a:gd name="T6" fmla="*/ 12 w 212"/>
                  <a:gd name="T7" fmla="*/ 0 h 143"/>
                  <a:gd name="T8" fmla="*/ 200 w 212"/>
                  <a:gd name="T9" fmla="*/ 0 h 143"/>
                  <a:gd name="T10" fmla="*/ 204 w 212"/>
                  <a:gd name="T11" fmla="*/ 24 h 143"/>
                  <a:gd name="T12" fmla="*/ 182 w 212"/>
                  <a:gd name="T13" fmla="*/ 112 h 143"/>
                  <a:gd name="T14" fmla="*/ 106 w 212"/>
                  <a:gd name="T15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2" h="143">
                    <a:moveTo>
                      <a:pt x="106" y="143"/>
                    </a:moveTo>
                    <a:cubicBezTo>
                      <a:pt x="65" y="143"/>
                      <a:pt x="42" y="126"/>
                      <a:pt x="30" y="112"/>
                    </a:cubicBezTo>
                    <a:cubicBezTo>
                      <a:pt x="0" y="77"/>
                      <a:pt x="7" y="29"/>
                      <a:pt x="8" y="2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4" y="24"/>
                      <a:pt x="204" y="24"/>
                      <a:pt x="204" y="24"/>
                    </a:cubicBezTo>
                    <a:cubicBezTo>
                      <a:pt x="205" y="29"/>
                      <a:pt x="212" y="77"/>
                      <a:pt x="182" y="112"/>
                    </a:cubicBezTo>
                    <a:cubicBezTo>
                      <a:pt x="170" y="126"/>
                      <a:pt x="147" y="143"/>
                      <a:pt x="106" y="143"/>
                    </a:cubicBezTo>
                    <a:close/>
                  </a:path>
                </a:pathLst>
              </a:custGeom>
              <a:solidFill>
                <a:srgbClr val="D88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6" name="Freeform 1218">
                <a:extLst>
                  <a:ext uri="{FF2B5EF4-FFF2-40B4-BE49-F238E27FC236}">
                    <a16:creationId xmlns:a16="http://schemas.microsoft.com/office/drawing/2014/main" id="{58CF491A-E4E1-42FB-85E3-E76B3F176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9964" y="3467419"/>
                <a:ext cx="138701" cy="76994"/>
              </a:xfrm>
              <a:custGeom>
                <a:avLst/>
                <a:gdLst>
                  <a:gd name="T0" fmla="*/ 14 w 168"/>
                  <a:gd name="T1" fmla="*/ 0 h 87"/>
                  <a:gd name="T2" fmla="*/ 84 w 168"/>
                  <a:gd name="T3" fmla="*/ 87 h 87"/>
                  <a:gd name="T4" fmla="*/ 154 w 168"/>
                  <a:gd name="T5" fmla="*/ 0 h 87"/>
                  <a:gd name="T6" fmla="*/ 14 w 168"/>
                  <a:gd name="T7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8" h="87">
                    <a:moveTo>
                      <a:pt x="14" y="0"/>
                    </a:moveTo>
                    <a:cubicBezTo>
                      <a:pt x="14" y="0"/>
                      <a:pt x="0" y="87"/>
                      <a:pt x="84" y="87"/>
                    </a:cubicBezTo>
                    <a:cubicBezTo>
                      <a:pt x="168" y="87"/>
                      <a:pt x="154" y="0"/>
                      <a:pt x="154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7" name="Freeform 1219">
                <a:extLst>
                  <a:ext uri="{FF2B5EF4-FFF2-40B4-BE49-F238E27FC236}">
                    <a16:creationId xmlns:a16="http://schemas.microsoft.com/office/drawing/2014/main" id="{D4D79AC7-38F6-497E-B430-327C1DD82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8290" y="3068928"/>
                <a:ext cx="487025" cy="426660"/>
              </a:xfrm>
              <a:custGeom>
                <a:avLst/>
                <a:gdLst>
                  <a:gd name="T0" fmla="*/ 478 w 590"/>
                  <a:gd name="T1" fmla="*/ 27 h 481"/>
                  <a:gd name="T2" fmla="*/ 306 w 590"/>
                  <a:gd name="T3" fmla="*/ 28 h 481"/>
                  <a:gd name="T4" fmla="*/ 306 w 590"/>
                  <a:gd name="T5" fmla="*/ 28 h 481"/>
                  <a:gd name="T6" fmla="*/ 149 w 590"/>
                  <a:gd name="T7" fmla="*/ 28 h 481"/>
                  <a:gd name="T8" fmla="*/ 25 w 590"/>
                  <a:gd name="T9" fmla="*/ 252 h 481"/>
                  <a:gd name="T10" fmla="*/ 303 w 590"/>
                  <a:gd name="T11" fmla="*/ 480 h 481"/>
                  <a:gd name="T12" fmla="*/ 584 w 590"/>
                  <a:gd name="T13" fmla="*/ 256 h 481"/>
                  <a:gd name="T14" fmla="*/ 478 w 590"/>
                  <a:gd name="T15" fmla="*/ 27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0" h="481">
                    <a:moveTo>
                      <a:pt x="478" y="27"/>
                    </a:moveTo>
                    <a:cubicBezTo>
                      <a:pt x="411" y="0"/>
                      <a:pt x="375" y="30"/>
                      <a:pt x="306" y="28"/>
                    </a:cubicBezTo>
                    <a:cubicBezTo>
                      <a:pt x="306" y="28"/>
                      <a:pt x="306" y="28"/>
                      <a:pt x="306" y="28"/>
                    </a:cubicBezTo>
                    <a:cubicBezTo>
                      <a:pt x="270" y="28"/>
                      <a:pt x="181" y="18"/>
                      <a:pt x="149" y="28"/>
                    </a:cubicBezTo>
                    <a:cubicBezTo>
                      <a:pt x="0" y="69"/>
                      <a:pt x="27" y="215"/>
                      <a:pt x="25" y="252"/>
                    </a:cubicBezTo>
                    <a:cubicBezTo>
                      <a:pt x="17" y="377"/>
                      <a:pt x="148" y="479"/>
                      <a:pt x="303" y="480"/>
                    </a:cubicBezTo>
                    <a:cubicBezTo>
                      <a:pt x="457" y="481"/>
                      <a:pt x="583" y="381"/>
                      <a:pt x="584" y="256"/>
                    </a:cubicBezTo>
                    <a:cubicBezTo>
                      <a:pt x="584" y="256"/>
                      <a:pt x="590" y="79"/>
                      <a:pt x="478" y="27"/>
                    </a:cubicBezTo>
                    <a:close/>
                  </a:path>
                </a:pathLst>
              </a:custGeom>
              <a:solidFill>
                <a:srgbClr val="F9DA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8" name="Freeform 1220">
                <a:extLst>
                  <a:ext uri="{FF2B5EF4-FFF2-40B4-BE49-F238E27FC236}">
                    <a16:creationId xmlns:a16="http://schemas.microsoft.com/office/drawing/2014/main" id="{4DB3E022-55DC-475F-BE55-F02BADEEA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6917" y="3180475"/>
                <a:ext cx="98175" cy="47323"/>
              </a:xfrm>
              <a:custGeom>
                <a:avLst/>
                <a:gdLst>
                  <a:gd name="T0" fmla="*/ 15 w 119"/>
                  <a:gd name="T1" fmla="*/ 45 h 53"/>
                  <a:gd name="T2" fmla="*/ 63 w 119"/>
                  <a:gd name="T3" fmla="*/ 39 h 53"/>
                  <a:gd name="T4" fmla="*/ 117 w 119"/>
                  <a:gd name="T5" fmla="*/ 47 h 53"/>
                  <a:gd name="T6" fmla="*/ 80 w 119"/>
                  <a:gd name="T7" fmla="*/ 8 h 53"/>
                  <a:gd name="T8" fmla="*/ 22 w 119"/>
                  <a:gd name="T9" fmla="*/ 18 h 53"/>
                  <a:gd name="T10" fmla="*/ 15 w 119"/>
                  <a:gd name="T11" fmla="*/ 4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53">
                    <a:moveTo>
                      <a:pt x="15" y="45"/>
                    </a:moveTo>
                    <a:cubicBezTo>
                      <a:pt x="15" y="45"/>
                      <a:pt x="33" y="37"/>
                      <a:pt x="63" y="39"/>
                    </a:cubicBezTo>
                    <a:cubicBezTo>
                      <a:pt x="91" y="40"/>
                      <a:pt x="115" y="53"/>
                      <a:pt x="117" y="47"/>
                    </a:cubicBezTo>
                    <a:cubicBezTo>
                      <a:pt x="119" y="36"/>
                      <a:pt x="104" y="17"/>
                      <a:pt x="80" y="8"/>
                    </a:cubicBezTo>
                    <a:cubicBezTo>
                      <a:pt x="57" y="0"/>
                      <a:pt x="37" y="7"/>
                      <a:pt x="22" y="18"/>
                    </a:cubicBezTo>
                    <a:cubicBezTo>
                      <a:pt x="7" y="29"/>
                      <a:pt x="0" y="49"/>
                      <a:pt x="15" y="45"/>
                    </a:cubicBezTo>
                    <a:close/>
                  </a:path>
                </a:pathLst>
              </a:custGeom>
              <a:solidFill>
                <a:srgbClr val="6B46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9" name="Freeform 1221">
                <a:extLst>
                  <a:ext uri="{FF2B5EF4-FFF2-40B4-BE49-F238E27FC236}">
                    <a16:creationId xmlns:a16="http://schemas.microsoft.com/office/drawing/2014/main" id="{A5301A03-1489-4A59-B5AC-2A228F4D1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5982" y="3180475"/>
                <a:ext cx="98175" cy="47323"/>
              </a:xfrm>
              <a:custGeom>
                <a:avLst/>
                <a:gdLst>
                  <a:gd name="T0" fmla="*/ 104 w 119"/>
                  <a:gd name="T1" fmla="*/ 45 h 53"/>
                  <a:gd name="T2" fmla="*/ 57 w 119"/>
                  <a:gd name="T3" fmla="*/ 39 h 53"/>
                  <a:gd name="T4" fmla="*/ 2 w 119"/>
                  <a:gd name="T5" fmla="*/ 47 h 53"/>
                  <a:gd name="T6" fmla="*/ 39 w 119"/>
                  <a:gd name="T7" fmla="*/ 8 h 53"/>
                  <a:gd name="T8" fmla="*/ 97 w 119"/>
                  <a:gd name="T9" fmla="*/ 18 h 53"/>
                  <a:gd name="T10" fmla="*/ 104 w 119"/>
                  <a:gd name="T11" fmla="*/ 4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53">
                    <a:moveTo>
                      <a:pt x="104" y="45"/>
                    </a:moveTo>
                    <a:cubicBezTo>
                      <a:pt x="104" y="45"/>
                      <a:pt x="86" y="37"/>
                      <a:pt x="57" y="39"/>
                    </a:cubicBezTo>
                    <a:cubicBezTo>
                      <a:pt x="28" y="40"/>
                      <a:pt x="4" y="53"/>
                      <a:pt x="2" y="47"/>
                    </a:cubicBezTo>
                    <a:cubicBezTo>
                      <a:pt x="0" y="36"/>
                      <a:pt x="16" y="17"/>
                      <a:pt x="39" y="8"/>
                    </a:cubicBezTo>
                    <a:cubicBezTo>
                      <a:pt x="62" y="0"/>
                      <a:pt x="82" y="7"/>
                      <a:pt x="97" y="18"/>
                    </a:cubicBezTo>
                    <a:cubicBezTo>
                      <a:pt x="113" y="29"/>
                      <a:pt x="119" y="49"/>
                      <a:pt x="104" y="45"/>
                    </a:cubicBezTo>
                    <a:close/>
                  </a:path>
                </a:pathLst>
              </a:custGeom>
              <a:solidFill>
                <a:srgbClr val="6B46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0" name="Freeform 1222">
                <a:extLst>
                  <a:ext uri="{FF2B5EF4-FFF2-40B4-BE49-F238E27FC236}">
                    <a16:creationId xmlns:a16="http://schemas.microsoft.com/office/drawing/2014/main" id="{5E0DB76C-9259-43F5-AE3C-CFA236D1F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6001" y="3236437"/>
                <a:ext cx="85248" cy="91642"/>
              </a:xfrm>
              <a:custGeom>
                <a:avLst/>
                <a:gdLst>
                  <a:gd name="T0" fmla="*/ 89 w 103"/>
                  <a:gd name="T1" fmla="*/ 27 h 103"/>
                  <a:gd name="T2" fmla="*/ 77 w 103"/>
                  <a:gd name="T3" fmla="*/ 89 h 103"/>
                  <a:gd name="T4" fmla="*/ 14 w 103"/>
                  <a:gd name="T5" fmla="*/ 77 h 103"/>
                  <a:gd name="T6" fmla="*/ 27 w 103"/>
                  <a:gd name="T7" fmla="*/ 14 h 103"/>
                  <a:gd name="T8" fmla="*/ 89 w 103"/>
                  <a:gd name="T9" fmla="*/ 2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103">
                    <a:moveTo>
                      <a:pt x="89" y="27"/>
                    </a:moveTo>
                    <a:cubicBezTo>
                      <a:pt x="103" y="48"/>
                      <a:pt x="97" y="76"/>
                      <a:pt x="77" y="89"/>
                    </a:cubicBezTo>
                    <a:cubicBezTo>
                      <a:pt x="56" y="103"/>
                      <a:pt x="28" y="98"/>
                      <a:pt x="14" y="77"/>
                    </a:cubicBezTo>
                    <a:cubicBezTo>
                      <a:pt x="0" y="56"/>
                      <a:pt x="6" y="28"/>
                      <a:pt x="27" y="14"/>
                    </a:cubicBezTo>
                    <a:cubicBezTo>
                      <a:pt x="47" y="0"/>
                      <a:pt x="75" y="6"/>
                      <a:pt x="89" y="27"/>
                    </a:cubicBezTo>
                    <a:close/>
                  </a:path>
                </a:pathLst>
              </a:custGeom>
              <a:solidFill>
                <a:srgbClr val="472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1" name="Freeform 1223">
                <a:extLst>
                  <a:ext uri="{FF2B5EF4-FFF2-40B4-BE49-F238E27FC236}">
                    <a16:creationId xmlns:a16="http://schemas.microsoft.com/office/drawing/2014/main" id="{EE343DF6-D947-4D05-88F7-85E12DC9C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6133" y="3245450"/>
                <a:ext cx="41924" cy="36431"/>
              </a:xfrm>
              <a:custGeom>
                <a:avLst/>
                <a:gdLst>
                  <a:gd name="T0" fmla="*/ 47 w 51"/>
                  <a:gd name="T1" fmla="*/ 6 h 41"/>
                  <a:gd name="T2" fmla="*/ 33 w 51"/>
                  <a:gd name="T3" fmla="*/ 33 h 41"/>
                  <a:gd name="T4" fmla="*/ 4 w 51"/>
                  <a:gd name="T5" fmla="*/ 34 h 41"/>
                  <a:gd name="T6" fmla="*/ 17 w 51"/>
                  <a:gd name="T7" fmla="*/ 8 h 41"/>
                  <a:gd name="T8" fmla="*/ 47 w 51"/>
                  <a:gd name="T9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1">
                    <a:moveTo>
                      <a:pt x="47" y="6"/>
                    </a:moveTo>
                    <a:cubicBezTo>
                      <a:pt x="51" y="13"/>
                      <a:pt x="45" y="25"/>
                      <a:pt x="33" y="33"/>
                    </a:cubicBezTo>
                    <a:cubicBezTo>
                      <a:pt x="22" y="40"/>
                      <a:pt x="9" y="41"/>
                      <a:pt x="4" y="34"/>
                    </a:cubicBezTo>
                    <a:cubicBezTo>
                      <a:pt x="0" y="28"/>
                      <a:pt x="5" y="16"/>
                      <a:pt x="17" y="8"/>
                    </a:cubicBezTo>
                    <a:cubicBezTo>
                      <a:pt x="29" y="0"/>
                      <a:pt x="42" y="0"/>
                      <a:pt x="47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2" name="Freeform 1224">
                <a:extLst>
                  <a:ext uri="{FF2B5EF4-FFF2-40B4-BE49-F238E27FC236}">
                    <a16:creationId xmlns:a16="http://schemas.microsoft.com/office/drawing/2014/main" id="{4B98E3E5-6307-47A9-A5EF-A5AF558B3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0874" y="3236437"/>
                <a:ext cx="84897" cy="91642"/>
              </a:xfrm>
              <a:custGeom>
                <a:avLst/>
                <a:gdLst>
                  <a:gd name="T0" fmla="*/ 89 w 103"/>
                  <a:gd name="T1" fmla="*/ 27 h 103"/>
                  <a:gd name="T2" fmla="*/ 76 w 103"/>
                  <a:gd name="T3" fmla="*/ 89 h 103"/>
                  <a:gd name="T4" fmla="*/ 14 w 103"/>
                  <a:gd name="T5" fmla="*/ 77 h 103"/>
                  <a:gd name="T6" fmla="*/ 26 w 103"/>
                  <a:gd name="T7" fmla="*/ 14 h 103"/>
                  <a:gd name="T8" fmla="*/ 89 w 103"/>
                  <a:gd name="T9" fmla="*/ 2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103">
                    <a:moveTo>
                      <a:pt x="89" y="27"/>
                    </a:moveTo>
                    <a:cubicBezTo>
                      <a:pt x="103" y="48"/>
                      <a:pt x="97" y="76"/>
                      <a:pt x="76" y="89"/>
                    </a:cubicBezTo>
                    <a:cubicBezTo>
                      <a:pt x="55" y="103"/>
                      <a:pt x="27" y="98"/>
                      <a:pt x="14" y="77"/>
                    </a:cubicBezTo>
                    <a:cubicBezTo>
                      <a:pt x="0" y="56"/>
                      <a:pt x="5" y="28"/>
                      <a:pt x="26" y="14"/>
                    </a:cubicBezTo>
                    <a:cubicBezTo>
                      <a:pt x="47" y="0"/>
                      <a:pt x="75" y="6"/>
                      <a:pt x="89" y="27"/>
                    </a:cubicBezTo>
                    <a:close/>
                  </a:path>
                </a:pathLst>
              </a:custGeom>
              <a:solidFill>
                <a:srgbClr val="472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3" name="Freeform 1225">
                <a:extLst>
                  <a:ext uri="{FF2B5EF4-FFF2-40B4-BE49-F238E27FC236}">
                    <a16:creationId xmlns:a16="http://schemas.microsoft.com/office/drawing/2014/main" id="{18E2F6A7-D37D-4E7D-B3C2-34E6B8D7A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9958" y="3245450"/>
                <a:ext cx="42973" cy="36431"/>
              </a:xfrm>
              <a:custGeom>
                <a:avLst/>
                <a:gdLst>
                  <a:gd name="T0" fmla="*/ 47 w 52"/>
                  <a:gd name="T1" fmla="*/ 6 h 41"/>
                  <a:gd name="T2" fmla="*/ 34 w 52"/>
                  <a:gd name="T3" fmla="*/ 33 h 41"/>
                  <a:gd name="T4" fmla="*/ 5 w 52"/>
                  <a:gd name="T5" fmla="*/ 34 h 41"/>
                  <a:gd name="T6" fmla="*/ 18 w 52"/>
                  <a:gd name="T7" fmla="*/ 8 h 41"/>
                  <a:gd name="T8" fmla="*/ 47 w 52"/>
                  <a:gd name="T9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1">
                    <a:moveTo>
                      <a:pt x="47" y="6"/>
                    </a:moveTo>
                    <a:cubicBezTo>
                      <a:pt x="52" y="13"/>
                      <a:pt x="46" y="25"/>
                      <a:pt x="34" y="33"/>
                    </a:cubicBezTo>
                    <a:cubicBezTo>
                      <a:pt x="22" y="40"/>
                      <a:pt x="9" y="41"/>
                      <a:pt x="5" y="34"/>
                    </a:cubicBezTo>
                    <a:cubicBezTo>
                      <a:pt x="0" y="28"/>
                      <a:pt x="6" y="16"/>
                      <a:pt x="18" y="8"/>
                    </a:cubicBezTo>
                    <a:cubicBezTo>
                      <a:pt x="29" y="0"/>
                      <a:pt x="43" y="0"/>
                      <a:pt x="47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4" name="Freeform 1226">
                <a:extLst>
                  <a:ext uri="{FF2B5EF4-FFF2-40B4-BE49-F238E27FC236}">
                    <a16:creationId xmlns:a16="http://schemas.microsoft.com/office/drawing/2014/main" id="{9778CEC5-2102-4066-BD4E-A069EB6B6B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1189" y="3330708"/>
                <a:ext cx="57996" cy="31924"/>
              </a:xfrm>
              <a:custGeom>
                <a:avLst/>
                <a:gdLst>
                  <a:gd name="T0" fmla="*/ 7 w 70"/>
                  <a:gd name="T1" fmla="*/ 32 h 36"/>
                  <a:gd name="T2" fmla="*/ 7 w 70"/>
                  <a:gd name="T3" fmla="*/ 32 h 36"/>
                  <a:gd name="T4" fmla="*/ 16 w 70"/>
                  <a:gd name="T5" fmla="*/ 21 h 36"/>
                  <a:gd name="T6" fmla="*/ 23 w 70"/>
                  <a:gd name="T7" fmla="*/ 13 h 36"/>
                  <a:gd name="T8" fmla="*/ 31 w 70"/>
                  <a:gd name="T9" fmla="*/ 8 h 36"/>
                  <a:gd name="T10" fmla="*/ 34 w 70"/>
                  <a:gd name="T11" fmla="*/ 8 h 36"/>
                  <a:gd name="T12" fmla="*/ 41 w 70"/>
                  <a:gd name="T13" fmla="*/ 10 h 36"/>
                  <a:gd name="T14" fmla="*/ 53 w 70"/>
                  <a:gd name="T15" fmla="*/ 20 h 36"/>
                  <a:gd name="T16" fmla="*/ 62 w 70"/>
                  <a:gd name="T17" fmla="*/ 33 h 36"/>
                  <a:gd name="T18" fmla="*/ 67 w 70"/>
                  <a:gd name="T19" fmla="*/ 35 h 36"/>
                  <a:gd name="T20" fmla="*/ 69 w 70"/>
                  <a:gd name="T21" fmla="*/ 30 h 36"/>
                  <a:gd name="T22" fmla="*/ 55 w 70"/>
                  <a:gd name="T23" fmla="*/ 11 h 36"/>
                  <a:gd name="T24" fmla="*/ 45 w 70"/>
                  <a:gd name="T25" fmla="*/ 3 h 36"/>
                  <a:gd name="T26" fmla="*/ 34 w 70"/>
                  <a:gd name="T27" fmla="*/ 0 h 36"/>
                  <a:gd name="T28" fmla="*/ 29 w 70"/>
                  <a:gd name="T29" fmla="*/ 1 h 36"/>
                  <a:gd name="T30" fmla="*/ 18 w 70"/>
                  <a:gd name="T31" fmla="*/ 8 h 36"/>
                  <a:gd name="T32" fmla="*/ 6 w 70"/>
                  <a:gd name="T33" fmla="*/ 21 h 36"/>
                  <a:gd name="T34" fmla="*/ 1 w 70"/>
                  <a:gd name="T35" fmla="*/ 28 h 36"/>
                  <a:gd name="T36" fmla="*/ 2 w 70"/>
                  <a:gd name="T37" fmla="*/ 33 h 36"/>
                  <a:gd name="T38" fmla="*/ 7 w 70"/>
                  <a:gd name="T39" fmla="*/ 3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36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8" y="32"/>
                      <a:pt x="11" y="27"/>
                      <a:pt x="16" y="21"/>
                    </a:cubicBezTo>
                    <a:cubicBezTo>
                      <a:pt x="18" y="19"/>
                      <a:pt x="21" y="16"/>
                      <a:pt x="23" y="13"/>
                    </a:cubicBezTo>
                    <a:cubicBezTo>
                      <a:pt x="26" y="11"/>
                      <a:pt x="29" y="9"/>
                      <a:pt x="31" y="8"/>
                    </a:cubicBezTo>
                    <a:cubicBezTo>
                      <a:pt x="32" y="8"/>
                      <a:pt x="33" y="8"/>
                      <a:pt x="34" y="8"/>
                    </a:cubicBezTo>
                    <a:cubicBezTo>
                      <a:pt x="36" y="8"/>
                      <a:pt x="39" y="9"/>
                      <a:pt x="41" y="10"/>
                    </a:cubicBezTo>
                    <a:cubicBezTo>
                      <a:pt x="45" y="12"/>
                      <a:pt x="50" y="16"/>
                      <a:pt x="53" y="20"/>
                    </a:cubicBezTo>
                    <a:cubicBezTo>
                      <a:pt x="57" y="25"/>
                      <a:pt x="60" y="29"/>
                      <a:pt x="62" y="33"/>
                    </a:cubicBezTo>
                    <a:cubicBezTo>
                      <a:pt x="63" y="35"/>
                      <a:pt x="65" y="36"/>
                      <a:pt x="67" y="35"/>
                    </a:cubicBezTo>
                    <a:cubicBezTo>
                      <a:pt x="69" y="34"/>
                      <a:pt x="70" y="32"/>
                      <a:pt x="69" y="30"/>
                    </a:cubicBezTo>
                    <a:cubicBezTo>
                      <a:pt x="66" y="24"/>
                      <a:pt x="61" y="17"/>
                      <a:pt x="55" y="11"/>
                    </a:cubicBezTo>
                    <a:cubicBezTo>
                      <a:pt x="52" y="8"/>
                      <a:pt x="49" y="5"/>
                      <a:pt x="45" y="3"/>
                    </a:cubicBezTo>
                    <a:cubicBezTo>
                      <a:pt x="42" y="1"/>
                      <a:pt x="38" y="0"/>
                      <a:pt x="34" y="0"/>
                    </a:cubicBezTo>
                    <a:cubicBezTo>
                      <a:pt x="32" y="0"/>
                      <a:pt x="31" y="0"/>
                      <a:pt x="29" y="1"/>
                    </a:cubicBezTo>
                    <a:cubicBezTo>
                      <a:pt x="25" y="3"/>
                      <a:pt x="21" y="5"/>
                      <a:pt x="18" y="8"/>
                    </a:cubicBezTo>
                    <a:cubicBezTo>
                      <a:pt x="13" y="12"/>
                      <a:pt x="9" y="17"/>
                      <a:pt x="6" y="21"/>
                    </a:cubicBezTo>
                    <a:cubicBezTo>
                      <a:pt x="3" y="25"/>
                      <a:pt x="1" y="28"/>
                      <a:pt x="1" y="28"/>
                    </a:cubicBezTo>
                    <a:cubicBezTo>
                      <a:pt x="0" y="30"/>
                      <a:pt x="0" y="32"/>
                      <a:pt x="2" y="33"/>
                    </a:cubicBezTo>
                    <a:cubicBezTo>
                      <a:pt x="4" y="35"/>
                      <a:pt x="6" y="34"/>
                      <a:pt x="7" y="32"/>
                    </a:cubicBez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5" name="Freeform 1227">
                <a:extLst>
                  <a:ext uri="{FF2B5EF4-FFF2-40B4-BE49-F238E27FC236}">
                    <a16:creationId xmlns:a16="http://schemas.microsoft.com/office/drawing/2014/main" id="{30BF2405-C135-41D2-93AA-C61F02C62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4236" y="3355496"/>
                <a:ext cx="22360" cy="9766"/>
              </a:xfrm>
              <a:custGeom>
                <a:avLst/>
                <a:gdLst>
                  <a:gd name="T0" fmla="*/ 27 w 27"/>
                  <a:gd name="T1" fmla="*/ 6 h 11"/>
                  <a:gd name="T2" fmla="*/ 22 w 27"/>
                  <a:gd name="T3" fmla="*/ 11 h 11"/>
                  <a:gd name="T4" fmla="*/ 5 w 27"/>
                  <a:gd name="T5" fmla="*/ 10 h 11"/>
                  <a:gd name="T6" fmla="*/ 0 w 27"/>
                  <a:gd name="T7" fmla="*/ 5 h 11"/>
                  <a:gd name="T8" fmla="*/ 0 w 27"/>
                  <a:gd name="T9" fmla="*/ 5 h 11"/>
                  <a:gd name="T10" fmla="*/ 5 w 27"/>
                  <a:gd name="T11" fmla="*/ 0 h 11"/>
                  <a:gd name="T12" fmla="*/ 22 w 27"/>
                  <a:gd name="T13" fmla="*/ 0 h 11"/>
                  <a:gd name="T14" fmla="*/ 27 w 27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">
                    <a:moveTo>
                      <a:pt x="27" y="6"/>
                    </a:moveTo>
                    <a:cubicBezTo>
                      <a:pt x="27" y="8"/>
                      <a:pt x="25" y="11"/>
                      <a:pt x="22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7" y="3"/>
                      <a:pt x="27" y="6"/>
                    </a:cubicBezTo>
                    <a:close/>
                  </a:path>
                </a:pathLst>
              </a:custGeom>
              <a:solidFill>
                <a:srgbClr val="F9F7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6" name="Freeform 1228">
                <a:extLst>
                  <a:ext uri="{FF2B5EF4-FFF2-40B4-BE49-F238E27FC236}">
                    <a16:creationId xmlns:a16="http://schemas.microsoft.com/office/drawing/2014/main" id="{BC2AA54F-3BFF-4B10-B2B2-FF088362F7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7142" y="3357373"/>
                <a:ext cx="22360" cy="9766"/>
              </a:xfrm>
              <a:custGeom>
                <a:avLst/>
                <a:gdLst>
                  <a:gd name="T0" fmla="*/ 27 w 27"/>
                  <a:gd name="T1" fmla="*/ 6 h 11"/>
                  <a:gd name="T2" fmla="*/ 22 w 27"/>
                  <a:gd name="T3" fmla="*/ 11 h 11"/>
                  <a:gd name="T4" fmla="*/ 5 w 27"/>
                  <a:gd name="T5" fmla="*/ 10 h 11"/>
                  <a:gd name="T6" fmla="*/ 0 w 27"/>
                  <a:gd name="T7" fmla="*/ 5 h 11"/>
                  <a:gd name="T8" fmla="*/ 0 w 27"/>
                  <a:gd name="T9" fmla="*/ 5 h 11"/>
                  <a:gd name="T10" fmla="*/ 5 w 27"/>
                  <a:gd name="T11" fmla="*/ 0 h 11"/>
                  <a:gd name="T12" fmla="*/ 22 w 27"/>
                  <a:gd name="T13" fmla="*/ 1 h 11"/>
                  <a:gd name="T14" fmla="*/ 27 w 27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">
                    <a:moveTo>
                      <a:pt x="27" y="6"/>
                    </a:moveTo>
                    <a:cubicBezTo>
                      <a:pt x="27" y="9"/>
                      <a:pt x="25" y="11"/>
                      <a:pt x="22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5" y="1"/>
                      <a:pt x="27" y="3"/>
                      <a:pt x="27" y="6"/>
                    </a:cubicBezTo>
                    <a:close/>
                  </a:path>
                </a:pathLst>
              </a:custGeom>
              <a:solidFill>
                <a:srgbClr val="F9F7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7" name="Freeform 1229">
                <a:extLst>
                  <a:ext uri="{FF2B5EF4-FFF2-40B4-BE49-F238E27FC236}">
                    <a16:creationId xmlns:a16="http://schemas.microsoft.com/office/drawing/2014/main" id="{3A7A7C99-CE94-488C-9B83-AACD73A241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0735" y="3240943"/>
                <a:ext cx="114594" cy="143095"/>
              </a:xfrm>
              <a:custGeom>
                <a:avLst/>
                <a:gdLst>
                  <a:gd name="T0" fmla="*/ 0 w 139"/>
                  <a:gd name="T1" fmla="*/ 142 h 161"/>
                  <a:gd name="T2" fmla="*/ 78 w 139"/>
                  <a:gd name="T3" fmla="*/ 141 h 161"/>
                  <a:gd name="T4" fmla="*/ 86 w 139"/>
                  <a:gd name="T5" fmla="*/ 19 h 161"/>
                  <a:gd name="T6" fmla="*/ 17 w 139"/>
                  <a:gd name="T7" fmla="*/ 61 h 161"/>
                  <a:gd name="T8" fmla="*/ 0 w 139"/>
                  <a:gd name="T9" fmla="*/ 142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61">
                    <a:moveTo>
                      <a:pt x="0" y="142"/>
                    </a:moveTo>
                    <a:cubicBezTo>
                      <a:pt x="0" y="142"/>
                      <a:pt x="37" y="161"/>
                      <a:pt x="78" y="141"/>
                    </a:cubicBezTo>
                    <a:cubicBezTo>
                      <a:pt x="119" y="121"/>
                      <a:pt x="139" y="39"/>
                      <a:pt x="86" y="19"/>
                    </a:cubicBezTo>
                    <a:cubicBezTo>
                      <a:pt x="33" y="0"/>
                      <a:pt x="17" y="61"/>
                      <a:pt x="17" y="61"/>
                    </a:cubicBezTo>
                    <a:lnTo>
                      <a:pt x="0" y="142"/>
                    </a:lnTo>
                    <a:close/>
                  </a:path>
                </a:pathLst>
              </a:custGeom>
              <a:solidFill>
                <a:srgbClr val="F9DA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8" name="Freeform 1230">
                <a:extLst>
                  <a:ext uri="{FF2B5EF4-FFF2-40B4-BE49-F238E27FC236}">
                    <a16:creationId xmlns:a16="http://schemas.microsoft.com/office/drawing/2014/main" id="{0BF7BE28-3705-40D1-8FE7-1D94E641B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1347" y="3264981"/>
                <a:ext cx="66032" cy="85256"/>
              </a:xfrm>
              <a:custGeom>
                <a:avLst/>
                <a:gdLst>
                  <a:gd name="T0" fmla="*/ 0 w 80"/>
                  <a:gd name="T1" fmla="*/ 90 h 96"/>
                  <a:gd name="T2" fmla="*/ 56 w 80"/>
                  <a:gd name="T3" fmla="*/ 31 h 96"/>
                  <a:gd name="T4" fmla="*/ 43 w 80"/>
                  <a:gd name="T5" fmla="*/ 88 h 96"/>
                  <a:gd name="T6" fmla="*/ 0 w 80"/>
                  <a:gd name="T7" fmla="*/ 9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96">
                    <a:moveTo>
                      <a:pt x="0" y="90"/>
                    </a:moveTo>
                    <a:cubicBezTo>
                      <a:pt x="0" y="90"/>
                      <a:pt x="17" y="0"/>
                      <a:pt x="56" y="31"/>
                    </a:cubicBezTo>
                    <a:cubicBezTo>
                      <a:pt x="80" y="50"/>
                      <a:pt x="66" y="77"/>
                      <a:pt x="43" y="88"/>
                    </a:cubicBezTo>
                    <a:cubicBezTo>
                      <a:pt x="29" y="95"/>
                      <a:pt x="11" y="96"/>
                      <a:pt x="0" y="90"/>
                    </a:cubicBez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9" name="Freeform 1231">
                <a:extLst>
                  <a:ext uri="{FF2B5EF4-FFF2-40B4-BE49-F238E27FC236}">
                    <a16:creationId xmlns:a16="http://schemas.microsoft.com/office/drawing/2014/main" id="{E2CEE12F-2206-488F-B355-7AB95C5F5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1354" y="3304792"/>
                <a:ext cx="66731" cy="53332"/>
              </a:xfrm>
              <a:custGeom>
                <a:avLst/>
                <a:gdLst>
                  <a:gd name="T0" fmla="*/ 0 w 81"/>
                  <a:gd name="T1" fmla="*/ 44 h 60"/>
                  <a:gd name="T2" fmla="*/ 6 w 81"/>
                  <a:gd name="T3" fmla="*/ 22 h 60"/>
                  <a:gd name="T4" fmla="*/ 60 w 81"/>
                  <a:gd name="T5" fmla="*/ 30 h 60"/>
                  <a:gd name="T6" fmla="*/ 0 w 81"/>
                  <a:gd name="T7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" h="60">
                    <a:moveTo>
                      <a:pt x="0" y="44"/>
                    </a:moveTo>
                    <a:cubicBezTo>
                      <a:pt x="6" y="22"/>
                      <a:pt x="6" y="22"/>
                      <a:pt x="6" y="22"/>
                    </a:cubicBezTo>
                    <a:cubicBezTo>
                      <a:pt x="6" y="22"/>
                      <a:pt x="81" y="0"/>
                      <a:pt x="60" y="30"/>
                    </a:cubicBezTo>
                    <a:cubicBezTo>
                      <a:pt x="39" y="60"/>
                      <a:pt x="0" y="44"/>
                      <a:pt x="0" y="44"/>
                    </a:cubicBezTo>
                    <a:close/>
                  </a:path>
                </a:pathLst>
              </a:custGeom>
              <a:solidFill>
                <a:srgbClr val="E5B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0" name="Freeform 1232">
                <a:extLst>
                  <a:ext uri="{FF2B5EF4-FFF2-40B4-BE49-F238E27FC236}">
                    <a16:creationId xmlns:a16="http://schemas.microsoft.com/office/drawing/2014/main" id="{AE4DDF51-C8C5-4B0F-BB39-6133E769BE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9820" y="3240193"/>
                <a:ext cx="113895" cy="143849"/>
              </a:xfrm>
              <a:custGeom>
                <a:avLst/>
                <a:gdLst>
                  <a:gd name="T0" fmla="*/ 138 w 138"/>
                  <a:gd name="T1" fmla="*/ 143 h 162"/>
                  <a:gd name="T2" fmla="*/ 60 w 138"/>
                  <a:gd name="T3" fmla="*/ 141 h 162"/>
                  <a:gd name="T4" fmla="*/ 53 w 138"/>
                  <a:gd name="T5" fmla="*/ 19 h 162"/>
                  <a:gd name="T6" fmla="*/ 122 w 138"/>
                  <a:gd name="T7" fmla="*/ 61 h 162"/>
                  <a:gd name="T8" fmla="*/ 138 w 138"/>
                  <a:gd name="T9" fmla="*/ 14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62">
                    <a:moveTo>
                      <a:pt x="138" y="143"/>
                    </a:moveTo>
                    <a:cubicBezTo>
                      <a:pt x="138" y="143"/>
                      <a:pt x="101" y="162"/>
                      <a:pt x="60" y="141"/>
                    </a:cubicBezTo>
                    <a:cubicBezTo>
                      <a:pt x="19" y="121"/>
                      <a:pt x="0" y="38"/>
                      <a:pt x="53" y="19"/>
                    </a:cubicBezTo>
                    <a:cubicBezTo>
                      <a:pt x="107" y="0"/>
                      <a:pt x="122" y="61"/>
                      <a:pt x="122" y="61"/>
                    </a:cubicBezTo>
                    <a:lnTo>
                      <a:pt x="138" y="143"/>
                    </a:lnTo>
                    <a:close/>
                  </a:path>
                </a:pathLst>
              </a:custGeom>
              <a:solidFill>
                <a:srgbClr val="F9DA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1" name="Freeform 1233">
                <a:extLst>
                  <a:ext uri="{FF2B5EF4-FFF2-40B4-BE49-F238E27FC236}">
                    <a16:creationId xmlns:a16="http://schemas.microsoft.com/office/drawing/2014/main" id="{5EE93D37-AA36-403F-BC30-3F7DB1B41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8119" y="3264981"/>
                <a:ext cx="64983" cy="84130"/>
              </a:xfrm>
              <a:custGeom>
                <a:avLst/>
                <a:gdLst>
                  <a:gd name="T0" fmla="*/ 79 w 79"/>
                  <a:gd name="T1" fmla="*/ 90 h 95"/>
                  <a:gd name="T2" fmla="*/ 24 w 79"/>
                  <a:gd name="T3" fmla="*/ 30 h 95"/>
                  <a:gd name="T4" fmla="*/ 36 w 79"/>
                  <a:gd name="T5" fmla="*/ 87 h 95"/>
                  <a:gd name="T6" fmla="*/ 79 w 79"/>
                  <a:gd name="T7" fmla="*/ 9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95">
                    <a:moveTo>
                      <a:pt x="79" y="90"/>
                    </a:moveTo>
                    <a:cubicBezTo>
                      <a:pt x="79" y="90"/>
                      <a:pt x="64" y="0"/>
                      <a:pt x="24" y="30"/>
                    </a:cubicBezTo>
                    <a:cubicBezTo>
                      <a:pt x="0" y="49"/>
                      <a:pt x="14" y="76"/>
                      <a:pt x="36" y="87"/>
                    </a:cubicBezTo>
                    <a:cubicBezTo>
                      <a:pt x="50" y="94"/>
                      <a:pt x="68" y="95"/>
                      <a:pt x="79" y="90"/>
                    </a:cubicBez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2" name="Freeform 1234">
                <a:extLst>
                  <a:ext uri="{FF2B5EF4-FFF2-40B4-BE49-F238E27FC236}">
                    <a16:creationId xmlns:a16="http://schemas.microsoft.com/office/drawing/2014/main" id="{81293DF7-95E2-4129-9BF9-21ABF5EF6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7077" y="3301412"/>
                <a:ext cx="66032" cy="53332"/>
              </a:xfrm>
              <a:custGeom>
                <a:avLst/>
                <a:gdLst>
                  <a:gd name="T0" fmla="*/ 80 w 80"/>
                  <a:gd name="T1" fmla="*/ 45 h 60"/>
                  <a:gd name="T2" fmla="*/ 74 w 80"/>
                  <a:gd name="T3" fmla="*/ 22 h 60"/>
                  <a:gd name="T4" fmla="*/ 20 w 80"/>
                  <a:gd name="T5" fmla="*/ 30 h 60"/>
                  <a:gd name="T6" fmla="*/ 80 w 80"/>
                  <a:gd name="T7" fmla="*/ 4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60">
                    <a:moveTo>
                      <a:pt x="80" y="45"/>
                    </a:moveTo>
                    <a:cubicBezTo>
                      <a:pt x="74" y="22"/>
                      <a:pt x="74" y="22"/>
                      <a:pt x="74" y="22"/>
                    </a:cubicBezTo>
                    <a:cubicBezTo>
                      <a:pt x="74" y="22"/>
                      <a:pt x="0" y="0"/>
                      <a:pt x="20" y="30"/>
                    </a:cubicBezTo>
                    <a:cubicBezTo>
                      <a:pt x="41" y="60"/>
                      <a:pt x="80" y="45"/>
                      <a:pt x="80" y="45"/>
                    </a:cubicBezTo>
                    <a:close/>
                  </a:path>
                </a:pathLst>
              </a:custGeom>
              <a:solidFill>
                <a:srgbClr val="E5B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3" name="Freeform 1235">
                <a:extLst>
                  <a:ext uri="{FF2B5EF4-FFF2-40B4-BE49-F238E27FC236}">
                    <a16:creationId xmlns:a16="http://schemas.microsoft.com/office/drawing/2014/main" id="{178AA652-D2F3-4BD9-9D9F-21F1B11F2191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8443339" y="3419341"/>
                <a:ext cx="155122" cy="40938"/>
              </a:xfrm>
              <a:custGeom>
                <a:avLst/>
                <a:gdLst>
                  <a:gd name="T0" fmla="*/ 89 w 188"/>
                  <a:gd name="T1" fmla="*/ 35 h 46"/>
                  <a:gd name="T2" fmla="*/ 62 w 188"/>
                  <a:gd name="T3" fmla="*/ 33 h 46"/>
                  <a:gd name="T4" fmla="*/ 4 w 188"/>
                  <a:gd name="T5" fmla="*/ 19 h 46"/>
                  <a:gd name="T6" fmla="*/ 1 w 188"/>
                  <a:gd name="T7" fmla="*/ 12 h 46"/>
                  <a:gd name="T8" fmla="*/ 8 w 188"/>
                  <a:gd name="T9" fmla="*/ 9 h 46"/>
                  <a:gd name="T10" fmla="*/ 179 w 188"/>
                  <a:gd name="T11" fmla="*/ 2 h 46"/>
                  <a:gd name="T12" fmla="*/ 186 w 188"/>
                  <a:gd name="T13" fmla="*/ 4 h 46"/>
                  <a:gd name="T14" fmla="*/ 184 w 188"/>
                  <a:gd name="T15" fmla="*/ 11 h 46"/>
                  <a:gd name="T16" fmla="*/ 89 w 188"/>
                  <a:gd name="T17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46">
                    <a:moveTo>
                      <a:pt x="89" y="35"/>
                    </a:moveTo>
                    <a:cubicBezTo>
                      <a:pt x="79" y="35"/>
                      <a:pt x="70" y="34"/>
                      <a:pt x="62" y="33"/>
                    </a:cubicBezTo>
                    <a:cubicBezTo>
                      <a:pt x="28" y="29"/>
                      <a:pt x="5" y="20"/>
                      <a:pt x="4" y="19"/>
                    </a:cubicBezTo>
                    <a:cubicBezTo>
                      <a:pt x="1" y="18"/>
                      <a:pt x="0" y="15"/>
                      <a:pt x="1" y="12"/>
                    </a:cubicBezTo>
                    <a:cubicBezTo>
                      <a:pt x="2" y="9"/>
                      <a:pt x="5" y="8"/>
                      <a:pt x="8" y="9"/>
                    </a:cubicBezTo>
                    <a:cubicBezTo>
                      <a:pt x="9" y="10"/>
                      <a:pt x="100" y="46"/>
                      <a:pt x="179" y="2"/>
                    </a:cubicBezTo>
                    <a:cubicBezTo>
                      <a:pt x="182" y="0"/>
                      <a:pt x="185" y="1"/>
                      <a:pt x="186" y="4"/>
                    </a:cubicBezTo>
                    <a:cubicBezTo>
                      <a:pt x="188" y="7"/>
                      <a:pt x="187" y="10"/>
                      <a:pt x="184" y="11"/>
                    </a:cubicBezTo>
                    <a:cubicBezTo>
                      <a:pt x="152" y="29"/>
                      <a:pt x="118" y="35"/>
                      <a:pt x="89" y="35"/>
                    </a:cubicBezTo>
                    <a:close/>
                  </a:path>
                </a:pathLst>
              </a:custGeom>
              <a:solidFill>
                <a:srgbClr val="F4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4" name="Freeform 1236">
                <a:extLst>
                  <a:ext uri="{FF2B5EF4-FFF2-40B4-BE49-F238E27FC236}">
                    <a16:creationId xmlns:a16="http://schemas.microsoft.com/office/drawing/2014/main" id="{6E6B8EE0-C798-4D2E-9975-FD6014DB0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6896" y="2901041"/>
                <a:ext cx="510085" cy="368446"/>
              </a:xfrm>
              <a:custGeom>
                <a:avLst/>
                <a:gdLst>
                  <a:gd name="T0" fmla="*/ 611 w 618"/>
                  <a:gd name="T1" fmla="*/ 284 h 415"/>
                  <a:gd name="T2" fmla="*/ 611 w 618"/>
                  <a:gd name="T3" fmla="*/ 284 h 415"/>
                  <a:gd name="T4" fmla="*/ 337 w 618"/>
                  <a:gd name="T5" fmla="*/ 2 h 415"/>
                  <a:gd name="T6" fmla="*/ 127 w 618"/>
                  <a:gd name="T7" fmla="*/ 65 h 415"/>
                  <a:gd name="T8" fmla="*/ 130 w 618"/>
                  <a:gd name="T9" fmla="*/ 14 h 415"/>
                  <a:gd name="T10" fmla="*/ 114 w 618"/>
                  <a:gd name="T11" fmla="*/ 58 h 415"/>
                  <a:gd name="T12" fmla="*/ 58 w 618"/>
                  <a:gd name="T13" fmla="*/ 37 h 415"/>
                  <a:gd name="T14" fmla="*/ 99 w 618"/>
                  <a:gd name="T15" fmla="*/ 68 h 415"/>
                  <a:gd name="T16" fmla="*/ 44 w 618"/>
                  <a:gd name="T17" fmla="*/ 97 h 415"/>
                  <a:gd name="T18" fmla="*/ 0 w 618"/>
                  <a:gd name="T19" fmla="*/ 323 h 415"/>
                  <a:gd name="T20" fmla="*/ 2 w 618"/>
                  <a:gd name="T21" fmla="*/ 399 h 415"/>
                  <a:gd name="T22" fmla="*/ 26 w 618"/>
                  <a:gd name="T23" fmla="*/ 415 h 415"/>
                  <a:gd name="T24" fmla="*/ 67 w 618"/>
                  <a:gd name="T25" fmla="*/ 298 h 415"/>
                  <a:gd name="T26" fmla="*/ 323 w 618"/>
                  <a:gd name="T27" fmla="*/ 318 h 415"/>
                  <a:gd name="T28" fmla="*/ 342 w 618"/>
                  <a:gd name="T29" fmla="*/ 318 h 415"/>
                  <a:gd name="T30" fmla="*/ 349 w 618"/>
                  <a:gd name="T31" fmla="*/ 260 h 415"/>
                  <a:gd name="T32" fmla="*/ 371 w 618"/>
                  <a:gd name="T33" fmla="*/ 317 h 415"/>
                  <a:gd name="T34" fmla="*/ 414 w 618"/>
                  <a:gd name="T35" fmla="*/ 315 h 415"/>
                  <a:gd name="T36" fmla="*/ 406 w 618"/>
                  <a:gd name="T37" fmla="*/ 236 h 415"/>
                  <a:gd name="T38" fmla="*/ 447 w 618"/>
                  <a:gd name="T39" fmla="*/ 312 h 415"/>
                  <a:gd name="T40" fmla="*/ 549 w 618"/>
                  <a:gd name="T41" fmla="*/ 298 h 415"/>
                  <a:gd name="T42" fmla="*/ 585 w 618"/>
                  <a:gd name="T43" fmla="*/ 412 h 415"/>
                  <a:gd name="T44" fmla="*/ 609 w 618"/>
                  <a:gd name="T45" fmla="*/ 399 h 415"/>
                  <a:gd name="T46" fmla="*/ 612 w 618"/>
                  <a:gd name="T47" fmla="*/ 323 h 415"/>
                  <a:gd name="T48" fmla="*/ 611 w 618"/>
                  <a:gd name="T49" fmla="*/ 284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18" h="415">
                    <a:moveTo>
                      <a:pt x="611" y="284"/>
                    </a:moveTo>
                    <a:cubicBezTo>
                      <a:pt x="611" y="284"/>
                      <a:pt x="611" y="284"/>
                      <a:pt x="611" y="284"/>
                    </a:cubicBezTo>
                    <a:cubicBezTo>
                      <a:pt x="611" y="284"/>
                      <a:pt x="618" y="8"/>
                      <a:pt x="337" y="2"/>
                    </a:cubicBezTo>
                    <a:cubicBezTo>
                      <a:pt x="267" y="1"/>
                      <a:pt x="183" y="0"/>
                      <a:pt x="127" y="65"/>
                    </a:cubicBezTo>
                    <a:cubicBezTo>
                      <a:pt x="124" y="54"/>
                      <a:pt x="124" y="37"/>
                      <a:pt x="130" y="14"/>
                    </a:cubicBezTo>
                    <a:cubicBezTo>
                      <a:pt x="130" y="14"/>
                      <a:pt x="115" y="31"/>
                      <a:pt x="114" y="58"/>
                    </a:cubicBezTo>
                    <a:cubicBezTo>
                      <a:pt x="103" y="48"/>
                      <a:pt x="85" y="38"/>
                      <a:pt x="58" y="37"/>
                    </a:cubicBezTo>
                    <a:cubicBezTo>
                      <a:pt x="58" y="37"/>
                      <a:pt x="86" y="41"/>
                      <a:pt x="99" y="68"/>
                    </a:cubicBezTo>
                    <a:cubicBezTo>
                      <a:pt x="83" y="70"/>
                      <a:pt x="61" y="77"/>
                      <a:pt x="44" y="97"/>
                    </a:cubicBezTo>
                    <a:cubicBezTo>
                      <a:pt x="25" y="118"/>
                      <a:pt x="0" y="187"/>
                      <a:pt x="0" y="323"/>
                    </a:cubicBezTo>
                    <a:cubicBezTo>
                      <a:pt x="0" y="348"/>
                      <a:pt x="0" y="374"/>
                      <a:pt x="2" y="399"/>
                    </a:cubicBezTo>
                    <a:cubicBezTo>
                      <a:pt x="12" y="403"/>
                      <a:pt x="15" y="404"/>
                      <a:pt x="26" y="415"/>
                    </a:cubicBezTo>
                    <a:cubicBezTo>
                      <a:pt x="27" y="359"/>
                      <a:pt x="67" y="298"/>
                      <a:pt x="67" y="298"/>
                    </a:cubicBezTo>
                    <a:cubicBezTo>
                      <a:pt x="67" y="298"/>
                      <a:pt x="155" y="318"/>
                      <a:pt x="323" y="318"/>
                    </a:cubicBezTo>
                    <a:cubicBezTo>
                      <a:pt x="330" y="318"/>
                      <a:pt x="336" y="318"/>
                      <a:pt x="342" y="318"/>
                    </a:cubicBezTo>
                    <a:cubicBezTo>
                      <a:pt x="342" y="318"/>
                      <a:pt x="355" y="303"/>
                      <a:pt x="349" y="260"/>
                    </a:cubicBezTo>
                    <a:cubicBezTo>
                      <a:pt x="349" y="260"/>
                      <a:pt x="373" y="281"/>
                      <a:pt x="371" y="317"/>
                    </a:cubicBezTo>
                    <a:cubicBezTo>
                      <a:pt x="386" y="317"/>
                      <a:pt x="400" y="316"/>
                      <a:pt x="414" y="315"/>
                    </a:cubicBezTo>
                    <a:cubicBezTo>
                      <a:pt x="421" y="287"/>
                      <a:pt x="406" y="236"/>
                      <a:pt x="406" y="236"/>
                    </a:cubicBezTo>
                    <a:cubicBezTo>
                      <a:pt x="443" y="259"/>
                      <a:pt x="447" y="312"/>
                      <a:pt x="447" y="312"/>
                    </a:cubicBezTo>
                    <a:cubicBezTo>
                      <a:pt x="488" y="308"/>
                      <a:pt x="522" y="303"/>
                      <a:pt x="549" y="298"/>
                    </a:cubicBezTo>
                    <a:cubicBezTo>
                      <a:pt x="549" y="298"/>
                      <a:pt x="579" y="347"/>
                      <a:pt x="585" y="412"/>
                    </a:cubicBezTo>
                    <a:cubicBezTo>
                      <a:pt x="591" y="406"/>
                      <a:pt x="599" y="401"/>
                      <a:pt x="609" y="399"/>
                    </a:cubicBezTo>
                    <a:cubicBezTo>
                      <a:pt x="611" y="372"/>
                      <a:pt x="612" y="351"/>
                      <a:pt x="612" y="323"/>
                    </a:cubicBezTo>
                    <a:cubicBezTo>
                      <a:pt x="612" y="310"/>
                      <a:pt x="612" y="296"/>
                      <a:pt x="611" y="284"/>
                    </a:cubicBezTo>
                    <a:close/>
                  </a:path>
                </a:pathLst>
              </a:custGeom>
              <a:solidFill>
                <a:srgbClr val="6B46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5" name="Freeform 1237">
                <a:extLst>
                  <a:ext uri="{FF2B5EF4-FFF2-40B4-BE49-F238E27FC236}">
                    <a16:creationId xmlns:a16="http://schemas.microsoft.com/office/drawing/2014/main" id="{9A0FB135-2868-499F-99D3-BE27CE5379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67589" y="3205628"/>
                <a:ext cx="503446" cy="152485"/>
              </a:xfrm>
              <a:custGeom>
                <a:avLst/>
                <a:gdLst>
                  <a:gd name="T0" fmla="*/ 608 w 610"/>
                  <a:gd name="T1" fmla="*/ 56 h 172"/>
                  <a:gd name="T2" fmla="*/ 610 w 610"/>
                  <a:gd name="T3" fmla="*/ 35 h 172"/>
                  <a:gd name="T4" fmla="*/ 535 w 610"/>
                  <a:gd name="T5" fmla="*/ 66 h 172"/>
                  <a:gd name="T6" fmla="*/ 451 w 610"/>
                  <a:gd name="T7" fmla="*/ 0 h 172"/>
                  <a:gd name="T8" fmla="*/ 369 w 610"/>
                  <a:gd name="T9" fmla="*/ 62 h 172"/>
                  <a:gd name="T10" fmla="*/ 307 w 610"/>
                  <a:gd name="T11" fmla="*/ 46 h 172"/>
                  <a:gd name="T12" fmla="*/ 246 w 610"/>
                  <a:gd name="T13" fmla="*/ 61 h 172"/>
                  <a:gd name="T14" fmla="*/ 164 w 610"/>
                  <a:gd name="T15" fmla="*/ 0 h 172"/>
                  <a:gd name="T16" fmla="*/ 80 w 610"/>
                  <a:gd name="T17" fmla="*/ 68 h 172"/>
                  <a:gd name="T18" fmla="*/ 0 w 610"/>
                  <a:gd name="T19" fmla="*/ 35 h 172"/>
                  <a:gd name="T20" fmla="*/ 1 w 610"/>
                  <a:gd name="T21" fmla="*/ 56 h 172"/>
                  <a:gd name="T22" fmla="*/ 1 w 610"/>
                  <a:gd name="T23" fmla="*/ 56 h 172"/>
                  <a:gd name="T24" fmla="*/ 78 w 610"/>
                  <a:gd name="T25" fmla="*/ 87 h 172"/>
                  <a:gd name="T26" fmla="*/ 164 w 610"/>
                  <a:gd name="T27" fmla="*/ 172 h 172"/>
                  <a:gd name="T28" fmla="*/ 250 w 610"/>
                  <a:gd name="T29" fmla="*/ 86 h 172"/>
                  <a:gd name="T30" fmla="*/ 250 w 610"/>
                  <a:gd name="T31" fmla="*/ 82 h 172"/>
                  <a:gd name="T32" fmla="*/ 307 w 610"/>
                  <a:gd name="T33" fmla="*/ 65 h 172"/>
                  <a:gd name="T34" fmla="*/ 366 w 610"/>
                  <a:gd name="T35" fmla="*/ 82 h 172"/>
                  <a:gd name="T36" fmla="*/ 366 w 610"/>
                  <a:gd name="T37" fmla="*/ 86 h 172"/>
                  <a:gd name="T38" fmla="*/ 451 w 610"/>
                  <a:gd name="T39" fmla="*/ 172 h 172"/>
                  <a:gd name="T40" fmla="*/ 537 w 610"/>
                  <a:gd name="T41" fmla="*/ 86 h 172"/>
                  <a:gd name="T42" fmla="*/ 537 w 610"/>
                  <a:gd name="T43" fmla="*/ 85 h 172"/>
                  <a:gd name="T44" fmla="*/ 608 w 610"/>
                  <a:gd name="T45" fmla="*/ 56 h 172"/>
                  <a:gd name="T46" fmla="*/ 164 w 610"/>
                  <a:gd name="T47" fmla="*/ 153 h 172"/>
                  <a:gd name="T48" fmla="*/ 97 w 610"/>
                  <a:gd name="T49" fmla="*/ 86 h 172"/>
                  <a:gd name="T50" fmla="*/ 164 w 610"/>
                  <a:gd name="T51" fmla="*/ 19 h 172"/>
                  <a:gd name="T52" fmla="*/ 231 w 610"/>
                  <a:gd name="T53" fmla="*/ 86 h 172"/>
                  <a:gd name="T54" fmla="*/ 164 w 610"/>
                  <a:gd name="T55" fmla="*/ 153 h 172"/>
                  <a:gd name="T56" fmla="*/ 451 w 610"/>
                  <a:gd name="T57" fmla="*/ 153 h 172"/>
                  <a:gd name="T58" fmla="*/ 384 w 610"/>
                  <a:gd name="T59" fmla="*/ 86 h 172"/>
                  <a:gd name="T60" fmla="*/ 451 w 610"/>
                  <a:gd name="T61" fmla="*/ 19 h 172"/>
                  <a:gd name="T62" fmla="*/ 519 w 610"/>
                  <a:gd name="T63" fmla="*/ 86 h 172"/>
                  <a:gd name="T64" fmla="*/ 451 w 610"/>
                  <a:gd name="T65" fmla="*/ 153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0" h="172">
                    <a:moveTo>
                      <a:pt x="608" y="56"/>
                    </a:moveTo>
                    <a:cubicBezTo>
                      <a:pt x="609" y="49"/>
                      <a:pt x="609" y="42"/>
                      <a:pt x="610" y="35"/>
                    </a:cubicBezTo>
                    <a:cubicBezTo>
                      <a:pt x="535" y="66"/>
                      <a:pt x="535" y="66"/>
                      <a:pt x="535" y="66"/>
                    </a:cubicBezTo>
                    <a:cubicBezTo>
                      <a:pt x="526" y="28"/>
                      <a:pt x="492" y="0"/>
                      <a:pt x="451" y="0"/>
                    </a:cubicBezTo>
                    <a:cubicBezTo>
                      <a:pt x="413" y="0"/>
                      <a:pt x="380" y="26"/>
                      <a:pt x="369" y="62"/>
                    </a:cubicBezTo>
                    <a:cubicBezTo>
                      <a:pt x="358" y="54"/>
                      <a:pt x="337" y="46"/>
                      <a:pt x="307" y="46"/>
                    </a:cubicBezTo>
                    <a:cubicBezTo>
                      <a:pt x="277" y="46"/>
                      <a:pt x="258" y="54"/>
                      <a:pt x="246" y="61"/>
                    </a:cubicBezTo>
                    <a:cubicBezTo>
                      <a:pt x="236" y="26"/>
                      <a:pt x="203" y="0"/>
                      <a:pt x="164" y="0"/>
                    </a:cubicBezTo>
                    <a:cubicBezTo>
                      <a:pt x="123" y="0"/>
                      <a:pt x="89" y="29"/>
                      <a:pt x="80" y="6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2"/>
                      <a:pt x="1" y="49"/>
                      <a:pt x="1" y="56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78" y="87"/>
                      <a:pt x="78" y="87"/>
                      <a:pt x="78" y="87"/>
                    </a:cubicBezTo>
                    <a:cubicBezTo>
                      <a:pt x="79" y="134"/>
                      <a:pt x="117" y="172"/>
                      <a:pt x="164" y="172"/>
                    </a:cubicBezTo>
                    <a:cubicBezTo>
                      <a:pt x="211" y="172"/>
                      <a:pt x="250" y="133"/>
                      <a:pt x="250" y="86"/>
                    </a:cubicBezTo>
                    <a:cubicBezTo>
                      <a:pt x="250" y="84"/>
                      <a:pt x="250" y="83"/>
                      <a:pt x="250" y="82"/>
                    </a:cubicBezTo>
                    <a:cubicBezTo>
                      <a:pt x="255" y="77"/>
                      <a:pt x="271" y="65"/>
                      <a:pt x="307" y="65"/>
                    </a:cubicBezTo>
                    <a:cubicBezTo>
                      <a:pt x="343" y="65"/>
                      <a:pt x="360" y="77"/>
                      <a:pt x="366" y="82"/>
                    </a:cubicBezTo>
                    <a:cubicBezTo>
                      <a:pt x="366" y="83"/>
                      <a:pt x="366" y="85"/>
                      <a:pt x="366" y="86"/>
                    </a:cubicBezTo>
                    <a:cubicBezTo>
                      <a:pt x="366" y="133"/>
                      <a:pt x="404" y="172"/>
                      <a:pt x="451" y="172"/>
                    </a:cubicBezTo>
                    <a:cubicBezTo>
                      <a:pt x="499" y="172"/>
                      <a:pt x="537" y="133"/>
                      <a:pt x="537" y="86"/>
                    </a:cubicBezTo>
                    <a:cubicBezTo>
                      <a:pt x="537" y="85"/>
                      <a:pt x="537" y="85"/>
                      <a:pt x="537" y="85"/>
                    </a:cubicBezTo>
                    <a:cubicBezTo>
                      <a:pt x="608" y="56"/>
                      <a:pt x="608" y="56"/>
                      <a:pt x="608" y="56"/>
                    </a:cubicBezTo>
                    <a:close/>
                    <a:moveTo>
                      <a:pt x="164" y="153"/>
                    </a:moveTo>
                    <a:cubicBezTo>
                      <a:pt x="127" y="153"/>
                      <a:pt x="97" y="123"/>
                      <a:pt x="97" y="86"/>
                    </a:cubicBezTo>
                    <a:cubicBezTo>
                      <a:pt x="97" y="49"/>
                      <a:pt x="127" y="19"/>
                      <a:pt x="164" y="19"/>
                    </a:cubicBezTo>
                    <a:cubicBezTo>
                      <a:pt x="201" y="19"/>
                      <a:pt x="231" y="49"/>
                      <a:pt x="231" y="86"/>
                    </a:cubicBezTo>
                    <a:cubicBezTo>
                      <a:pt x="231" y="123"/>
                      <a:pt x="201" y="153"/>
                      <a:pt x="164" y="153"/>
                    </a:cubicBezTo>
                    <a:close/>
                    <a:moveTo>
                      <a:pt x="451" y="153"/>
                    </a:moveTo>
                    <a:cubicBezTo>
                      <a:pt x="414" y="153"/>
                      <a:pt x="384" y="123"/>
                      <a:pt x="384" y="86"/>
                    </a:cubicBezTo>
                    <a:cubicBezTo>
                      <a:pt x="384" y="49"/>
                      <a:pt x="414" y="19"/>
                      <a:pt x="451" y="19"/>
                    </a:cubicBezTo>
                    <a:cubicBezTo>
                      <a:pt x="488" y="19"/>
                      <a:pt x="519" y="49"/>
                      <a:pt x="519" y="86"/>
                    </a:cubicBezTo>
                    <a:cubicBezTo>
                      <a:pt x="519" y="123"/>
                      <a:pt x="488" y="153"/>
                      <a:pt x="451" y="153"/>
                    </a:cubicBezTo>
                    <a:close/>
                  </a:path>
                </a:pathLst>
              </a:custGeom>
              <a:solidFill>
                <a:srgbClr val="2E3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5" name="Freeform 451">
                <a:extLst>
                  <a:ext uri="{FF2B5EF4-FFF2-40B4-BE49-F238E27FC236}">
                    <a16:creationId xmlns:a16="http://schemas.microsoft.com/office/drawing/2014/main" id="{DD8F1765-4FF5-414F-A883-E9CD73381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9892" y="3467645"/>
                <a:ext cx="130296" cy="370471"/>
              </a:xfrm>
              <a:custGeom>
                <a:avLst/>
                <a:gdLst>
                  <a:gd name="T0" fmla="*/ 62 w 162"/>
                  <a:gd name="T1" fmla="*/ 18 h 429"/>
                  <a:gd name="T2" fmla="*/ 6 w 162"/>
                  <a:gd name="T3" fmla="*/ 207 h 429"/>
                  <a:gd name="T4" fmla="*/ 162 w 162"/>
                  <a:gd name="T5" fmla="*/ 429 h 429"/>
                  <a:gd name="T6" fmla="*/ 108 w 162"/>
                  <a:gd name="T7" fmla="*/ 233 h 429"/>
                  <a:gd name="T8" fmla="*/ 110 w 162"/>
                  <a:gd name="T9" fmla="*/ 25 h 429"/>
                  <a:gd name="T10" fmla="*/ 62 w 162"/>
                  <a:gd name="T11" fmla="*/ 18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2" h="429">
                    <a:moveTo>
                      <a:pt x="62" y="18"/>
                    </a:moveTo>
                    <a:cubicBezTo>
                      <a:pt x="62" y="18"/>
                      <a:pt x="0" y="70"/>
                      <a:pt x="6" y="207"/>
                    </a:cubicBezTo>
                    <a:cubicBezTo>
                      <a:pt x="13" y="343"/>
                      <a:pt x="56" y="409"/>
                      <a:pt x="162" y="429"/>
                    </a:cubicBezTo>
                    <a:cubicBezTo>
                      <a:pt x="162" y="429"/>
                      <a:pt x="134" y="324"/>
                      <a:pt x="108" y="233"/>
                    </a:cubicBezTo>
                    <a:cubicBezTo>
                      <a:pt x="90" y="168"/>
                      <a:pt x="82" y="93"/>
                      <a:pt x="110" y="25"/>
                    </a:cubicBezTo>
                    <a:cubicBezTo>
                      <a:pt x="110" y="25"/>
                      <a:pt x="97" y="0"/>
                      <a:pt x="62" y="18"/>
                    </a:cubicBezTo>
                    <a:close/>
                  </a:path>
                </a:pathLst>
              </a:custGeom>
              <a:solidFill>
                <a:srgbClr val="4C36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36AD5604-B86A-47A5-BAE0-AF98E410688D}"/>
                </a:ext>
              </a:extLst>
            </p:cNvPr>
            <p:cNvSpPr txBox="1"/>
            <p:nvPr/>
          </p:nvSpPr>
          <p:spPr>
            <a:xfrm>
              <a:off x="8913389" y="3259147"/>
              <a:ext cx="13388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rgbClr val="4C3626"/>
                  </a:solidFill>
                  <a:latin typeface="+mj-ea"/>
                  <a:ea typeface="+mj-ea"/>
                </a:rPr>
                <a:t>孩子很尴尬</a:t>
              </a: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7270933" y="1691110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solidFill>
                  <a:srgbClr val="A2B932"/>
                </a:solidFill>
                <a:latin typeface="方正静蕾简体" panose="02000000000000000000" pitchFamily="2" charset="-122"/>
                <a:ea typeface="方正静蕾简体" panose="02000000000000000000" pitchFamily="2" charset="-122"/>
              </a:rPr>
              <a:t>学习不能只靠老师，必须需要家长介入</a:t>
            </a:r>
          </a:p>
        </p:txBody>
      </p:sp>
      <p:sp>
        <p:nvSpPr>
          <p:cNvPr id="119" name="文本框 118"/>
          <p:cNvSpPr txBox="1"/>
          <p:nvPr/>
        </p:nvSpPr>
        <p:spPr>
          <a:xfrm>
            <a:off x="7205976" y="4525474"/>
            <a:ext cx="3595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solidFill>
                  <a:srgbClr val="EBAC07"/>
                </a:solidFill>
                <a:latin typeface="方正静蕾简体" panose="02000000000000000000" pitchFamily="2" charset="-122"/>
                <a:ea typeface="方正静蕾简体" panose="02000000000000000000" pitchFamily="2" charset="-122"/>
              </a:rPr>
              <a:t>没时间、不会讲、教不了，学习是老师的事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4426" y="2932266"/>
            <a:ext cx="1633870" cy="128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62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" name="组合 141">
            <a:extLst>
              <a:ext uri="{FF2B5EF4-FFF2-40B4-BE49-F238E27FC236}">
                <a16:creationId xmlns:a16="http://schemas.microsoft.com/office/drawing/2014/main" id="{DBEE300A-83D2-4881-86C7-545E08762D0A}"/>
              </a:ext>
            </a:extLst>
          </p:cNvPr>
          <p:cNvGrpSpPr/>
          <p:nvPr/>
        </p:nvGrpSpPr>
        <p:grpSpPr>
          <a:xfrm>
            <a:off x="2561744" y="4357809"/>
            <a:ext cx="1286017" cy="1664774"/>
            <a:chOff x="2811344" y="3011358"/>
            <a:chExt cx="894351" cy="1157755"/>
          </a:xfrm>
        </p:grpSpPr>
        <p:sp>
          <p:nvSpPr>
            <p:cNvPr id="74" name="Freeform 735">
              <a:extLst>
                <a:ext uri="{FF2B5EF4-FFF2-40B4-BE49-F238E27FC236}">
                  <a16:creationId xmlns:a16="http://schemas.microsoft.com/office/drawing/2014/main" id="{BC473D3F-BD5F-4AAE-B430-1E94C577F3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11344" y="3011358"/>
              <a:ext cx="894351" cy="1118645"/>
            </a:xfrm>
            <a:custGeom>
              <a:avLst/>
              <a:gdLst>
                <a:gd name="T0" fmla="*/ 798 w 803"/>
                <a:gd name="T1" fmla="*/ 628 h 1005"/>
                <a:gd name="T2" fmla="*/ 724 w 803"/>
                <a:gd name="T3" fmla="*/ 615 h 1005"/>
                <a:gd name="T4" fmla="*/ 749 w 803"/>
                <a:gd name="T5" fmla="*/ 578 h 1005"/>
                <a:gd name="T6" fmla="*/ 705 w 803"/>
                <a:gd name="T7" fmla="*/ 513 h 1005"/>
                <a:gd name="T8" fmla="*/ 401 w 803"/>
                <a:gd name="T9" fmla="*/ 0 h 1005"/>
                <a:gd name="T10" fmla="*/ 97 w 803"/>
                <a:gd name="T11" fmla="*/ 513 h 1005"/>
                <a:gd name="T12" fmla="*/ 53 w 803"/>
                <a:gd name="T13" fmla="*/ 578 h 1005"/>
                <a:gd name="T14" fmla="*/ 79 w 803"/>
                <a:gd name="T15" fmla="*/ 615 h 1005"/>
                <a:gd name="T16" fmla="*/ 5 w 803"/>
                <a:gd name="T17" fmla="*/ 628 h 1005"/>
                <a:gd name="T18" fmla="*/ 83 w 803"/>
                <a:gd name="T19" fmla="*/ 767 h 1005"/>
                <a:gd name="T20" fmla="*/ 47 w 803"/>
                <a:gd name="T21" fmla="*/ 772 h 1005"/>
                <a:gd name="T22" fmla="*/ 204 w 803"/>
                <a:gd name="T23" fmla="*/ 937 h 1005"/>
                <a:gd name="T24" fmla="*/ 166 w 803"/>
                <a:gd name="T25" fmla="*/ 961 h 1005"/>
                <a:gd name="T26" fmla="*/ 190 w 803"/>
                <a:gd name="T27" fmla="*/ 1005 h 1005"/>
                <a:gd name="T28" fmla="*/ 613 w 803"/>
                <a:gd name="T29" fmla="*/ 1005 h 1005"/>
                <a:gd name="T30" fmla="*/ 637 w 803"/>
                <a:gd name="T31" fmla="*/ 961 h 1005"/>
                <a:gd name="T32" fmla="*/ 598 w 803"/>
                <a:gd name="T33" fmla="*/ 937 h 1005"/>
                <a:gd name="T34" fmla="*/ 755 w 803"/>
                <a:gd name="T35" fmla="*/ 772 h 1005"/>
                <a:gd name="T36" fmla="*/ 719 w 803"/>
                <a:gd name="T37" fmla="*/ 767 h 1005"/>
                <a:gd name="T38" fmla="*/ 798 w 803"/>
                <a:gd name="T39" fmla="*/ 628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3" h="1005">
                  <a:moveTo>
                    <a:pt x="798" y="628"/>
                  </a:moveTo>
                  <a:cubicBezTo>
                    <a:pt x="798" y="628"/>
                    <a:pt x="743" y="641"/>
                    <a:pt x="724" y="615"/>
                  </a:cubicBezTo>
                  <a:cubicBezTo>
                    <a:pt x="724" y="615"/>
                    <a:pt x="750" y="609"/>
                    <a:pt x="749" y="578"/>
                  </a:cubicBezTo>
                  <a:cubicBezTo>
                    <a:pt x="749" y="578"/>
                    <a:pt x="706" y="576"/>
                    <a:pt x="705" y="513"/>
                  </a:cubicBezTo>
                  <a:cubicBezTo>
                    <a:pt x="704" y="449"/>
                    <a:pt x="772" y="0"/>
                    <a:pt x="401" y="0"/>
                  </a:cubicBezTo>
                  <a:cubicBezTo>
                    <a:pt x="30" y="0"/>
                    <a:pt x="98" y="449"/>
                    <a:pt x="97" y="513"/>
                  </a:cubicBezTo>
                  <a:cubicBezTo>
                    <a:pt x="97" y="576"/>
                    <a:pt x="53" y="578"/>
                    <a:pt x="53" y="578"/>
                  </a:cubicBezTo>
                  <a:cubicBezTo>
                    <a:pt x="52" y="609"/>
                    <a:pt x="79" y="615"/>
                    <a:pt x="79" y="615"/>
                  </a:cubicBezTo>
                  <a:cubicBezTo>
                    <a:pt x="60" y="641"/>
                    <a:pt x="5" y="628"/>
                    <a:pt x="5" y="628"/>
                  </a:cubicBezTo>
                  <a:cubicBezTo>
                    <a:pt x="0" y="710"/>
                    <a:pt x="83" y="767"/>
                    <a:pt x="83" y="767"/>
                  </a:cubicBezTo>
                  <a:cubicBezTo>
                    <a:pt x="70" y="779"/>
                    <a:pt x="47" y="772"/>
                    <a:pt x="47" y="772"/>
                  </a:cubicBezTo>
                  <a:cubicBezTo>
                    <a:pt x="50" y="903"/>
                    <a:pt x="204" y="937"/>
                    <a:pt x="204" y="937"/>
                  </a:cubicBezTo>
                  <a:cubicBezTo>
                    <a:pt x="195" y="961"/>
                    <a:pt x="166" y="961"/>
                    <a:pt x="166" y="961"/>
                  </a:cubicBezTo>
                  <a:cubicBezTo>
                    <a:pt x="172" y="978"/>
                    <a:pt x="180" y="993"/>
                    <a:pt x="190" y="1005"/>
                  </a:cubicBezTo>
                  <a:cubicBezTo>
                    <a:pt x="613" y="1005"/>
                    <a:pt x="613" y="1005"/>
                    <a:pt x="613" y="1005"/>
                  </a:cubicBezTo>
                  <a:cubicBezTo>
                    <a:pt x="622" y="993"/>
                    <a:pt x="631" y="978"/>
                    <a:pt x="637" y="961"/>
                  </a:cubicBezTo>
                  <a:cubicBezTo>
                    <a:pt x="637" y="961"/>
                    <a:pt x="608" y="961"/>
                    <a:pt x="598" y="937"/>
                  </a:cubicBezTo>
                  <a:cubicBezTo>
                    <a:pt x="598" y="937"/>
                    <a:pt x="753" y="903"/>
                    <a:pt x="755" y="772"/>
                  </a:cubicBezTo>
                  <a:cubicBezTo>
                    <a:pt x="755" y="772"/>
                    <a:pt x="733" y="779"/>
                    <a:pt x="719" y="767"/>
                  </a:cubicBezTo>
                  <a:cubicBezTo>
                    <a:pt x="719" y="767"/>
                    <a:pt x="803" y="710"/>
                    <a:pt x="798" y="628"/>
                  </a:cubicBez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736">
              <a:extLst>
                <a:ext uri="{FF2B5EF4-FFF2-40B4-BE49-F238E27FC236}">
                  <a16:creationId xmlns:a16="http://schemas.microsoft.com/office/drawing/2014/main" id="{73449910-00E5-4943-816A-B2533F6A0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14331" y="4130003"/>
              <a:ext cx="292620" cy="39110"/>
            </a:xfrm>
            <a:custGeom>
              <a:avLst/>
              <a:gdLst>
                <a:gd name="T0" fmla="*/ 621 w 621"/>
                <a:gd name="T1" fmla="*/ 83 h 83"/>
                <a:gd name="T2" fmla="*/ 621 w 621"/>
                <a:gd name="T3" fmla="*/ 3 h 83"/>
                <a:gd name="T4" fmla="*/ 4 w 621"/>
                <a:gd name="T5" fmla="*/ 0 h 83"/>
                <a:gd name="T6" fmla="*/ 0 w 621"/>
                <a:gd name="T7" fmla="*/ 83 h 83"/>
                <a:gd name="T8" fmla="*/ 621 w 62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1" h="83">
                  <a:moveTo>
                    <a:pt x="621" y="83"/>
                  </a:moveTo>
                  <a:lnTo>
                    <a:pt x="621" y="3"/>
                  </a:lnTo>
                  <a:lnTo>
                    <a:pt x="4" y="0"/>
                  </a:lnTo>
                  <a:lnTo>
                    <a:pt x="0" y="83"/>
                  </a:lnTo>
                  <a:lnTo>
                    <a:pt x="621" y="83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737">
              <a:extLst>
                <a:ext uri="{FF2B5EF4-FFF2-40B4-BE49-F238E27FC236}">
                  <a16:creationId xmlns:a16="http://schemas.microsoft.com/office/drawing/2014/main" id="{7027F615-796B-4304-93F8-2C4A19ABF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59098" y="3731834"/>
              <a:ext cx="205916" cy="409478"/>
            </a:xfrm>
            <a:custGeom>
              <a:avLst/>
              <a:gdLst>
                <a:gd name="T0" fmla="*/ 437 w 437"/>
                <a:gd name="T1" fmla="*/ 869 h 869"/>
                <a:gd name="T2" fmla="*/ 3 w 437"/>
                <a:gd name="T3" fmla="*/ 869 h 869"/>
                <a:gd name="T4" fmla="*/ 0 w 437"/>
                <a:gd name="T5" fmla="*/ 28 h 869"/>
                <a:gd name="T6" fmla="*/ 50 w 437"/>
                <a:gd name="T7" fmla="*/ 0 h 869"/>
                <a:gd name="T8" fmla="*/ 376 w 437"/>
                <a:gd name="T9" fmla="*/ 0 h 869"/>
                <a:gd name="T10" fmla="*/ 435 w 437"/>
                <a:gd name="T11" fmla="*/ 30 h 869"/>
                <a:gd name="T12" fmla="*/ 437 w 437"/>
                <a:gd name="T13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7" h="869">
                  <a:moveTo>
                    <a:pt x="437" y="869"/>
                  </a:moveTo>
                  <a:lnTo>
                    <a:pt x="3" y="869"/>
                  </a:lnTo>
                  <a:lnTo>
                    <a:pt x="0" y="28"/>
                  </a:lnTo>
                  <a:lnTo>
                    <a:pt x="50" y="0"/>
                  </a:lnTo>
                  <a:lnTo>
                    <a:pt x="376" y="0"/>
                  </a:lnTo>
                  <a:lnTo>
                    <a:pt x="435" y="30"/>
                  </a:lnTo>
                  <a:lnTo>
                    <a:pt x="437" y="869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738">
              <a:extLst>
                <a:ext uri="{FF2B5EF4-FFF2-40B4-BE49-F238E27FC236}">
                  <a16:creationId xmlns:a16="http://schemas.microsoft.com/office/drawing/2014/main" id="{87DF4E96-6A31-4F8F-B48C-7E0273702F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33545" y="3742672"/>
              <a:ext cx="56546" cy="36753"/>
            </a:xfrm>
            <a:custGeom>
              <a:avLst/>
              <a:gdLst>
                <a:gd name="T0" fmla="*/ 42 w 51"/>
                <a:gd name="T1" fmla="*/ 33 h 33"/>
                <a:gd name="T2" fmla="*/ 9 w 51"/>
                <a:gd name="T3" fmla="*/ 33 h 33"/>
                <a:gd name="T4" fmla="*/ 0 w 51"/>
                <a:gd name="T5" fmla="*/ 24 h 33"/>
                <a:gd name="T6" fmla="*/ 0 w 51"/>
                <a:gd name="T7" fmla="*/ 9 h 33"/>
                <a:gd name="T8" fmla="*/ 9 w 51"/>
                <a:gd name="T9" fmla="*/ 0 h 33"/>
                <a:gd name="T10" fmla="*/ 42 w 51"/>
                <a:gd name="T11" fmla="*/ 0 h 33"/>
                <a:gd name="T12" fmla="*/ 51 w 51"/>
                <a:gd name="T13" fmla="*/ 9 h 33"/>
                <a:gd name="T14" fmla="*/ 51 w 51"/>
                <a:gd name="T15" fmla="*/ 24 h 33"/>
                <a:gd name="T16" fmla="*/ 42 w 51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3">
                  <a:moveTo>
                    <a:pt x="42" y="33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4" y="33"/>
                    <a:pt x="0" y="29"/>
                    <a:pt x="0" y="2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7" y="0"/>
                    <a:pt x="51" y="4"/>
                    <a:pt x="51" y="9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9"/>
                    <a:pt x="47" y="33"/>
                    <a:pt x="42" y="33"/>
                  </a:cubicBezTo>
                  <a:close/>
                </a:path>
              </a:pathLst>
            </a:custGeom>
            <a:solidFill>
              <a:srgbClr val="BA8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739">
              <a:extLst>
                <a:ext uri="{FF2B5EF4-FFF2-40B4-BE49-F238E27FC236}">
                  <a16:creationId xmlns:a16="http://schemas.microsoft.com/office/drawing/2014/main" id="{C6D8C158-E0C5-4D9D-8143-586A9C43C8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96794" y="3761518"/>
              <a:ext cx="130052" cy="404295"/>
            </a:xfrm>
            <a:custGeom>
              <a:avLst/>
              <a:gdLst>
                <a:gd name="T0" fmla="*/ 48 w 117"/>
                <a:gd name="T1" fmla="*/ 0 h 363"/>
                <a:gd name="T2" fmla="*/ 71 w 117"/>
                <a:gd name="T3" fmla="*/ 0 h 363"/>
                <a:gd name="T4" fmla="*/ 117 w 117"/>
                <a:gd name="T5" fmla="*/ 295 h 363"/>
                <a:gd name="T6" fmla="*/ 59 w 117"/>
                <a:gd name="T7" fmla="*/ 363 h 363"/>
                <a:gd name="T8" fmla="*/ 0 w 117"/>
                <a:gd name="T9" fmla="*/ 294 h 363"/>
                <a:gd name="T10" fmla="*/ 48 w 117"/>
                <a:gd name="T1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363">
                  <a:moveTo>
                    <a:pt x="48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117" y="295"/>
                    <a:pt x="117" y="295"/>
                    <a:pt x="117" y="295"/>
                  </a:cubicBezTo>
                  <a:cubicBezTo>
                    <a:pt x="117" y="295"/>
                    <a:pt x="73" y="363"/>
                    <a:pt x="59" y="363"/>
                  </a:cubicBezTo>
                  <a:cubicBezTo>
                    <a:pt x="44" y="363"/>
                    <a:pt x="0" y="294"/>
                    <a:pt x="0" y="294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BA8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740">
              <a:extLst>
                <a:ext uri="{FF2B5EF4-FFF2-40B4-BE49-F238E27FC236}">
                  <a16:creationId xmlns:a16="http://schemas.microsoft.com/office/drawing/2014/main" id="{BA4D33FA-C260-413A-BBF6-24E24C9B3E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21032" y="4086652"/>
              <a:ext cx="76807" cy="82461"/>
            </a:xfrm>
            <a:custGeom>
              <a:avLst/>
              <a:gdLst>
                <a:gd name="T0" fmla="*/ 5 w 69"/>
                <a:gd name="T1" fmla="*/ 14 h 74"/>
                <a:gd name="T2" fmla="*/ 0 w 69"/>
                <a:gd name="T3" fmla="*/ 74 h 74"/>
                <a:gd name="T4" fmla="*/ 64 w 69"/>
                <a:gd name="T5" fmla="*/ 74 h 74"/>
                <a:gd name="T6" fmla="*/ 62 w 69"/>
                <a:gd name="T7" fmla="*/ 0 h 74"/>
                <a:gd name="T8" fmla="*/ 5 w 69"/>
                <a:gd name="T9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4">
                  <a:moveTo>
                    <a:pt x="5" y="14"/>
                  </a:moveTo>
                  <a:cubicBezTo>
                    <a:pt x="1" y="31"/>
                    <a:pt x="0" y="55"/>
                    <a:pt x="0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9" y="39"/>
                    <a:pt x="62" y="0"/>
                    <a:pt x="62" y="0"/>
                  </a:cubicBezTo>
                  <a:lnTo>
                    <a:pt x="5" y="14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741">
              <a:extLst>
                <a:ext uri="{FF2B5EF4-FFF2-40B4-BE49-F238E27FC236}">
                  <a16:creationId xmlns:a16="http://schemas.microsoft.com/office/drawing/2014/main" id="{41BF93AF-61B7-4ED0-BA93-24063668138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26269" y="4086652"/>
              <a:ext cx="77750" cy="82461"/>
            </a:xfrm>
            <a:custGeom>
              <a:avLst/>
              <a:gdLst>
                <a:gd name="T0" fmla="*/ 7 w 70"/>
                <a:gd name="T1" fmla="*/ 0 h 74"/>
                <a:gd name="T2" fmla="*/ 5 w 70"/>
                <a:gd name="T3" fmla="*/ 74 h 74"/>
                <a:gd name="T4" fmla="*/ 69 w 70"/>
                <a:gd name="T5" fmla="*/ 74 h 74"/>
                <a:gd name="T6" fmla="*/ 65 w 70"/>
                <a:gd name="T7" fmla="*/ 14 h 74"/>
                <a:gd name="T8" fmla="*/ 7 w 70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4">
                  <a:moveTo>
                    <a:pt x="7" y="0"/>
                  </a:moveTo>
                  <a:cubicBezTo>
                    <a:pt x="7" y="0"/>
                    <a:pt x="0" y="39"/>
                    <a:pt x="5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70" y="55"/>
                    <a:pt x="69" y="31"/>
                    <a:pt x="65" y="14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742">
              <a:extLst>
                <a:ext uri="{FF2B5EF4-FFF2-40B4-BE49-F238E27FC236}">
                  <a16:creationId xmlns:a16="http://schemas.microsoft.com/office/drawing/2014/main" id="{2DB01581-1E56-4C6F-842E-9605BFA07F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73599" y="3731834"/>
              <a:ext cx="224766" cy="437279"/>
            </a:xfrm>
            <a:custGeom>
              <a:avLst/>
              <a:gdLst>
                <a:gd name="T0" fmla="*/ 149 w 202"/>
                <a:gd name="T1" fmla="*/ 0 h 393"/>
                <a:gd name="T2" fmla="*/ 85 w 202"/>
                <a:gd name="T3" fmla="*/ 20 h 393"/>
                <a:gd name="T4" fmla="*/ 0 w 202"/>
                <a:gd name="T5" fmla="*/ 324 h 393"/>
                <a:gd name="T6" fmla="*/ 55 w 202"/>
                <a:gd name="T7" fmla="*/ 341 h 393"/>
                <a:gd name="T8" fmla="*/ 51 w 202"/>
                <a:gd name="T9" fmla="*/ 393 h 393"/>
                <a:gd name="T10" fmla="*/ 112 w 202"/>
                <a:gd name="T11" fmla="*/ 393 h 393"/>
                <a:gd name="T12" fmla="*/ 201 w 202"/>
                <a:gd name="T13" fmla="*/ 221 h 393"/>
                <a:gd name="T14" fmla="*/ 155 w 202"/>
                <a:gd name="T15" fmla="*/ 6 h 393"/>
                <a:gd name="T16" fmla="*/ 149 w 202"/>
                <a:gd name="T17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2" h="393">
                  <a:moveTo>
                    <a:pt x="149" y="0"/>
                  </a:moveTo>
                  <a:cubicBezTo>
                    <a:pt x="125" y="3"/>
                    <a:pt x="97" y="8"/>
                    <a:pt x="85" y="20"/>
                  </a:cubicBezTo>
                  <a:cubicBezTo>
                    <a:pt x="62" y="44"/>
                    <a:pt x="0" y="291"/>
                    <a:pt x="0" y="324"/>
                  </a:cubicBezTo>
                  <a:cubicBezTo>
                    <a:pt x="0" y="324"/>
                    <a:pt x="32" y="342"/>
                    <a:pt x="55" y="341"/>
                  </a:cubicBezTo>
                  <a:cubicBezTo>
                    <a:pt x="51" y="393"/>
                    <a:pt x="51" y="393"/>
                    <a:pt x="51" y="393"/>
                  </a:cubicBezTo>
                  <a:cubicBezTo>
                    <a:pt x="112" y="393"/>
                    <a:pt x="112" y="393"/>
                    <a:pt x="112" y="393"/>
                  </a:cubicBezTo>
                  <a:cubicBezTo>
                    <a:pt x="154" y="366"/>
                    <a:pt x="202" y="314"/>
                    <a:pt x="201" y="221"/>
                  </a:cubicBezTo>
                  <a:cubicBezTo>
                    <a:pt x="199" y="54"/>
                    <a:pt x="155" y="6"/>
                    <a:pt x="155" y="6"/>
                  </a:cubicBezTo>
                  <a:lnTo>
                    <a:pt x="149" y="0"/>
                  </a:lnTo>
                  <a:close/>
                </a:path>
              </a:pathLst>
            </a:custGeom>
            <a:solidFill>
              <a:srgbClr val="C6C2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Rectangle 743">
              <a:extLst>
                <a:ext uri="{FF2B5EF4-FFF2-40B4-BE49-F238E27FC236}">
                  <a16:creationId xmlns:a16="http://schemas.microsoft.com/office/drawing/2014/main" id="{798D51EE-1CE4-468A-AD71-AAF7210EDF3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338154" y="4072045"/>
              <a:ext cx="67855" cy="22618"/>
            </a:xfrm>
            <a:prstGeom prst="rect">
              <a:avLst/>
            </a:pr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744">
              <a:extLst>
                <a:ext uri="{FF2B5EF4-FFF2-40B4-BE49-F238E27FC236}">
                  <a16:creationId xmlns:a16="http://schemas.microsoft.com/office/drawing/2014/main" id="{6A56EF4E-C62F-44DC-84C8-0019775D4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02711" y="3843039"/>
              <a:ext cx="48063" cy="268116"/>
            </a:xfrm>
            <a:custGeom>
              <a:avLst/>
              <a:gdLst>
                <a:gd name="T0" fmla="*/ 12 w 43"/>
                <a:gd name="T1" fmla="*/ 241 h 241"/>
                <a:gd name="T2" fmla="*/ 43 w 43"/>
                <a:gd name="T3" fmla="*/ 0 h 241"/>
                <a:gd name="T4" fmla="*/ 0 w 43"/>
                <a:gd name="T5" fmla="*/ 240 h 241"/>
                <a:gd name="T6" fmla="*/ 12 w 43"/>
                <a:gd name="T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241">
                  <a:moveTo>
                    <a:pt x="12" y="241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4" y="241"/>
                    <a:pt x="9" y="241"/>
                    <a:pt x="12" y="241"/>
                  </a:cubicBez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745">
              <a:extLst>
                <a:ext uri="{FF2B5EF4-FFF2-40B4-BE49-F238E27FC236}">
                  <a16:creationId xmlns:a16="http://schemas.microsoft.com/office/drawing/2014/main" id="{E4DB9DB9-7620-4283-9F51-4F12CB98A9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80196" y="3739372"/>
              <a:ext cx="83404" cy="146073"/>
            </a:xfrm>
            <a:custGeom>
              <a:avLst/>
              <a:gdLst>
                <a:gd name="T0" fmla="*/ 75 w 75"/>
                <a:gd name="T1" fmla="*/ 131 h 131"/>
                <a:gd name="T2" fmla="*/ 34 w 75"/>
                <a:gd name="T3" fmla="*/ 0 h 131"/>
                <a:gd name="T4" fmla="*/ 0 w 75"/>
                <a:gd name="T5" fmla="*/ 57 h 131"/>
                <a:gd name="T6" fmla="*/ 36 w 75"/>
                <a:gd name="T7" fmla="*/ 67 h 131"/>
                <a:gd name="T8" fmla="*/ 19 w 75"/>
                <a:gd name="T9" fmla="*/ 93 h 131"/>
                <a:gd name="T10" fmla="*/ 75 w 75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31">
                  <a:moveTo>
                    <a:pt x="75" y="131"/>
                  </a:moveTo>
                  <a:cubicBezTo>
                    <a:pt x="64" y="41"/>
                    <a:pt x="39" y="6"/>
                    <a:pt x="34" y="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19" y="93"/>
                    <a:pt x="19" y="93"/>
                    <a:pt x="19" y="93"/>
                  </a:cubicBezTo>
                  <a:lnTo>
                    <a:pt x="75" y="131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746">
              <a:extLst>
                <a:ext uri="{FF2B5EF4-FFF2-40B4-BE49-F238E27FC236}">
                  <a16:creationId xmlns:a16="http://schemas.microsoft.com/office/drawing/2014/main" id="{A7870CFB-502A-4904-B412-9394B20FA3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25274" y="3731834"/>
              <a:ext cx="223823" cy="437279"/>
            </a:xfrm>
            <a:custGeom>
              <a:avLst/>
              <a:gdLst>
                <a:gd name="T0" fmla="*/ 201 w 201"/>
                <a:gd name="T1" fmla="*/ 324 h 393"/>
                <a:gd name="T2" fmla="*/ 116 w 201"/>
                <a:gd name="T3" fmla="*/ 20 h 393"/>
                <a:gd name="T4" fmla="*/ 52 w 201"/>
                <a:gd name="T5" fmla="*/ 0 h 393"/>
                <a:gd name="T6" fmla="*/ 47 w 201"/>
                <a:gd name="T7" fmla="*/ 6 h 393"/>
                <a:gd name="T8" fmla="*/ 1 w 201"/>
                <a:gd name="T9" fmla="*/ 221 h 393"/>
                <a:gd name="T10" fmla="*/ 89 w 201"/>
                <a:gd name="T11" fmla="*/ 393 h 393"/>
                <a:gd name="T12" fmla="*/ 151 w 201"/>
                <a:gd name="T13" fmla="*/ 393 h 393"/>
                <a:gd name="T14" fmla="*/ 146 w 201"/>
                <a:gd name="T15" fmla="*/ 341 h 393"/>
                <a:gd name="T16" fmla="*/ 201 w 201"/>
                <a:gd name="T17" fmla="*/ 324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393">
                  <a:moveTo>
                    <a:pt x="201" y="324"/>
                  </a:moveTo>
                  <a:cubicBezTo>
                    <a:pt x="201" y="291"/>
                    <a:pt x="140" y="44"/>
                    <a:pt x="116" y="20"/>
                  </a:cubicBezTo>
                  <a:cubicBezTo>
                    <a:pt x="104" y="8"/>
                    <a:pt x="76" y="3"/>
                    <a:pt x="52" y="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2" y="54"/>
                    <a:pt x="1" y="221"/>
                  </a:cubicBezTo>
                  <a:cubicBezTo>
                    <a:pt x="0" y="314"/>
                    <a:pt x="47" y="366"/>
                    <a:pt x="89" y="393"/>
                  </a:cubicBezTo>
                  <a:cubicBezTo>
                    <a:pt x="151" y="393"/>
                    <a:pt x="151" y="393"/>
                    <a:pt x="151" y="393"/>
                  </a:cubicBezTo>
                  <a:cubicBezTo>
                    <a:pt x="146" y="341"/>
                    <a:pt x="146" y="341"/>
                    <a:pt x="146" y="341"/>
                  </a:cubicBezTo>
                  <a:cubicBezTo>
                    <a:pt x="170" y="342"/>
                    <a:pt x="201" y="324"/>
                    <a:pt x="201" y="324"/>
                  </a:cubicBezTo>
                  <a:close/>
                </a:path>
              </a:pathLst>
            </a:custGeom>
            <a:solidFill>
              <a:srgbClr val="C6C2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Rectangle 747">
              <a:extLst>
                <a:ext uri="{FF2B5EF4-FFF2-40B4-BE49-F238E27FC236}">
                  <a16:creationId xmlns:a16="http://schemas.microsoft.com/office/drawing/2014/main" id="{49D7319C-DA4A-472D-AAAD-3A2D4917FD0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116688" y="4072045"/>
              <a:ext cx="68795" cy="22618"/>
            </a:xfrm>
            <a:prstGeom prst="rect">
              <a:avLst/>
            </a:pr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748">
              <a:extLst>
                <a:ext uri="{FF2B5EF4-FFF2-40B4-BE49-F238E27FC236}">
                  <a16:creationId xmlns:a16="http://schemas.microsoft.com/office/drawing/2014/main" id="{E83980D6-259A-4C21-9EBF-DD6BAEFF5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73337" y="3843039"/>
              <a:ext cx="46648" cy="268116"/>
            </a:xfrm>
            <a:custGeom>
              <a:avLst/>
              <a:gdLst>
                <a:gd name="T0" fmla="*/ 30 w 42"/>
                <a:gd name="T1" fmla="*/ 241 h 241"/>
                <a:gd name="T2" fmla="*/ 0 w 42"/>
                <a:gd name="T3" fmla="*/ 0 h 241"/>
                <a:gd name="T4" fmla="*/ 42 w 42"/>
                <a:gd name="T5" fmla="*/ 240 h 241"/>
                <a:gd name="T6" fmla="*/ 30 w 42"/>
                <a:gd name="T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241">
                  <a:moveTo>
                    <a:pt x="30" y="24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2" y="240"/>
                    <a:pt x="42" y="240"/>
                    <a:pt x="42" y="240"/>
                  </a:cubicBezTo>
                  <a:cubicBezTo>
                    <a:pt x="38" y="241"/>
                    <a:pt x="34" y="241"/>
                    <a:pt x="30" y="241"/>
                  </a:cubicBez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749">
              <a:extLst>
                <a:ext uri="{FF2B5EF4-FFF2-40B4-BE49-F238E27FC236}">
                  <a16:creationId xmlns:a16="http://schemas.microsoft.com/office/drawing/2014/main" id="{E096EC07-BF01-41DE-BC13-F24DD2479F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59096" y="3739372"/>
              <a:ext cx="83404" cy="146073"/>
            </a:xfrm>
            <a:custGeom>
              <a:avLst/>
              <a:gdLst>
                <a:gd name="T0" fmla="*/ 0 w 75"/>
                <a:gd name="T1" fmla="*/ 131 h 131"/>
                <a:gd name="T2" fmla="*/ 40 w 75"/>
                <a:gd name="T3" fmla="*/ 0 h 131"/>
                <a:gd name="T4" fmla="*/ 75 w 75"/>
                <a:gd name="T5" fmla="*/ 57 h 131"/>
                <a:gd name="T6" fmla="*/ 39 w 75"/>
                <a:gd name="T7" fmla="*/ 67 h 131"/>
                <a:gd name="T8" fmla="*/ 55 w 75"/>
                <a:gd name="T9" fmla="*/ 93 h 131"/>
                <a:gd name="T10" fmla="*/ 0 w 75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31">
                  <a:moveTo>
                    <a:pt x="0" y="131"/>
                  </a:moveTo>
                  <a:cubicBezTo>
                    <a:pt x="10" y="41"/>
                    <a:pt x="35" y="6"/>
                    <a:pt x="40" y="0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55" y="93"/>
                    <a:pt x="55" y="93"/>
                    <a:pt x="55" y="93"/>
                  </a:cubicBezTo>
                  <a:lnTo>
                    <a:pt x="0" y="131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750">
              <a:extLst>
                <a:ext uri="{FF2B5EF4-FFF2-40B4-BE49-F238E27FC236}">
                  <a16:creationId xmlns:a16="http://schemas.microsoft.com/office/drawing/2014/main" id="{4FB6E750-3563-4810-9561-E0FBFE2CBE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28155" y="3459006"/>
              <a:ext cx="141362" cy="190367"/>
            </a:xfrm>
            <a:custGeom>
              <a:avLst/>
              <a:gdLst>
                <a:gd name="T0" fmla="*/ 77 w 127"/>
                <a:gd name="T1" fmla="*/ 24 h 171"/>
                <a:gd name="T2" fmla="*/ 21 w 127"/>
                <a:gd name="T3" fmla="*/ 25 h 171"/>
                <a:gd name="T4" fmla="*/ 127 w 127"/>
                <a:gd name="T5" fmla="*/ 167 h 171"/>
                <a:gd name="T6" fmla="*/ 77 w 127"/>
                <a:gd name="T7" fmla="*/ 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71">
                  <a:moveTo>
                    <a:pt x="77" y="24"/>
                  </a:moveTo>
                  <a:cubicBezTo>
                    <a:pt x="77" y="24"/>
                    <a:pt x="46" y="0"/>
                    <a:pt x="21" y="25"/>
                  </a:cubicBezTo>
                  <a:cubicBezTo>
                    <a:pt x="0" y="46"/>
                    <a:pt x="15" y="171"/>
                    <a:pt x="127" y="167"/>
                  </a:cubicBezTo>
                  <a:lnTo>
                    <a:pt x="77" y="24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751">
              <a:extLst>
                <a:ext uri="{FF2B5EF4-FFF2-40B4-BE49-F238E27FC236}">
                  <a16:creationId xmlns:a16="http://schemas.microsoft.com/office/drawing/2014/main" id="{4AA86FA3-ECE8-453E-B56A-2A1B122EE50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948468" y="3459006"/>
              <a:ext cx="141362" cy="190367"/>
            </a:xfrm>
            <a:custGeom>
              <a:avLst/>
              <a:gdLst>
                <a:gd name="T0" fmla="*/ 50 w 127"/>
                <a:gd name="T1" fmla="*/ 24 h 171"/>
                <a:gd name="T2" fmla="*/ 106 w 127"/>
                <a:gd name="T3" fmla="*/ 25 h 171"/>
                <a:gd name="T4" fmla="*/ 0 w 127"/>
                <a:gd name="T5" fmla="*/ 167 h 171"/>
                <a:gd name="T6" fmla="*/ 50 w 127"/>
                <a:gd name="T7" fmla="*/ 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71">
                  <a:moveTo>
                    <a:pt x="50" y="24"/>
                  </a:moveTo>
                  <a:cubicBezTo>
                    <a:pt x="50" y="24"/>
                    <a:pt x="81" y="0"/>
                    <a:pt x="106" y="25"/>
                  </a:cubicBezTo>
                  <a:cubicBezTo>
                    <a:pt x="127" y="46"/>
                    <a:pt x="112" y="171"/>
                    <a:pt x="0" y="167"/>
                  </a:cubicBezTo>
                  <a:lnTo>
                    <a:pt x="50" y="24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Freeform 752">
              <a:extLst>
                <a:ext uri="{FF2B5EF4-FFF2-40B4-BE49-F238E27FC236}">
                  <a16:creationId xmlns:a16="http://schemas.microsoft.com/office/drawing/2014/main" id="{AE44A7FE-75FA-4B3F-B70B-8C808E3EDF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996530" y="3191830"/>
              <a:ext cx="523981" cy="562148"/>
            </a:xfrm>
            <a:custGeom>
              <a:avLst/>
              <a:gdLst>
                <a:gd name="T0" fmla="*/ 471 w 471"/>
                <a:gd name="T1" fmla="*/ 180 h 505"/>
                <a:gd name="T2" fmla="*/ 235 w 471"/>
                <a:gd name="T3" fmla="*/ 505 h 505"/>
                <a:gd name="T4" fmla="*/ 0 w 471"/>
                <a:gd name="T5" fmla="*/ 180 h 505"/>
                <a:gd name="T6" fmla="*/ 471 w 471"/>
                <a:gd name="T7" fmla="*/ 18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1" h="505">
                  <a:moveTo>
                    <a:pt x="471" y="180"/>
                  </a:moveTo>
                  <a:cubicBezTo>
                    <a:pt x="471" y="360"/>
                    <a:pt x="365" y="505"/>
                    <a:pt x="235" y="505"/>
                  </a:cubicBezTo>
                  <a:cubicBezTo>
                    <a:pt x="105" y="505"/>
                    <a:pt x="0" y="360"/>
                    <a:pt x="0" y="180"/>
                  </a:cubicBezTo>
                  <a:cubicBezTo>
                    <a:pt x="0" y="0"/>
                    <a:pt x="471" y="0"/>
                    <a:pt x="471" y="180"/>
                  </a:cubicBez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92" name="组合 91">
              <a:extLst>
                <a:ext uri="{FF2B5EF4-FFF2-40B4-BE49-F238E27FC236}">
                  <a16:creationId xmlns:a16="http://schemas.microsoft.com/office/drawing/2014/main" id="{FF18A07B-5381-4BA8-96DC-EE04D9898484}"/>
                </a:ext>
              </a:extLst>
            </p:cNvPr>
            <p:cNvGrpSpPr/>
            <p:nvPr/>
          </p:nvGrpSpPr>
          <p:grpSpPr>
            <a:xfrm>
              <a:off x="3027629" y="3478796"/>
              <a:ext cx="460840" cy="51362"/>
              <a:chOff x="5427929" y="1944620"/>
              <a:chExt cx="460840" cy="51362"/>
            </a:xfrm>
          </p:grpSpPr>
          <p:sp>
            <p:nvSpPr>
              <p:cNvPr id="93" name="Freeform 753">
                <a:extLst>
                  <a:ext uri="{FF2B5EF4-FFF2-40B4-BE49-F238E27FC236}">
                    <a16:creationId xmlns:a16="http://schemas.microsoft.com/office/drawing/2014/main" id="{8AEF4286-12BC-43DA-B80E-94CC96A4F87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765314" y="1944620"/>
                <a:ext cx="87644" cy="51362"/>
              </a:xfrm>
              <a:custGeom>
                <a:avLst/>
                <a:gdLst>
                  <a:gd name="T0" fmla="*/ 5 w 79"/>
                  <a:gd name="T1" fmla="*/ 46 h 46"/>
                  <a:gd name="T2" fmla="*/ 0 w 79"/>
                  <a:gd name="T3" fmla="*/ 41 h 46"/>
                  <a:gd name="T4" fmla="*/ 35 w 79"/>
                  <a:gd name="T5" fmla="*/ 1 h 46"/>
                  <a:gd name="T6" fmla="*/ 78 w 79"/>
                  <a:gd name="T7" fmla="*/ 32 h 46"/>
                  <a:gd name="T8" fmla="*/ 74 w 79"/>
                  <a:gd name="T9" fmla="*/ 38 h 46"/>
                  <a:gd name="T10" fmla="*/ 68 w 79"/>
                  <a:gd name="T11" fmla="*/ 34 h 46"/>
                  <a:gd name="T12" fmla="*/ 37 w 79"/>
                  <a:gd name="T13" fmla="*/ 11 h 46"/>
                  <a:gd name="T14" fmla="*/ 36 w 79"/>
                  <a:gd name="T15" fmla="*/ 11 h 46"/>
                  <a:gd name="T16" fmla="*/ 11 w 79"/>
                  <a:gd name="T17" fmla="*/ 41 h 46"/>
                  <a:gd name="T18" fmla="*/ 5 w 79"/>
                  <a:gd name="T1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6">
                    <a:moveTo>
                      <a:pt x="5" y="46"/>
                    </a:moveTo>
                    <a:cubicBezTo>
                      <a:pt x="2" y="46"/>
                      <a:pt x="0" y="43"/>
                      <a:pt x="0" y="41"/>
                    </a:cubicBezTo>
                    <a:cubicBezTo>
                      <a:pt x="0" y="27"/>
                      <a:pt x="7" y="2"/>
                      <a:pt x="35" y="1"/>
                    </a:cubicBezTo>
                    <a:cubicBezTo>
                      <a:pt x="63" y="0"/>
                      <a:pt x="75" y="21"/>
                      <a:pt x="78" y="32"/>
                    </a:cubicBezTo>
                    <a:cubicBezTo>
                      <a:pt x="79" y="35"/>
                      <a:pt x="77" y="37"/>
                      <a:pt x="74" y="38"/>
                    </a:cubicBezTo>
                    <a:cubicBezTo>
                      <a:pt x="71" y="39"/>
                      <a:pt x="68" y="37"/>
                      <a:pt x="68" y="34"/>
                    </a:cubicBezTo>
                    <a:cubicBezTo>
                      <a:pt x="67" y="33"/>
                      <a:pt x="61" y="11"/>
                      <a:pt x="37" y="11"/>
                    </a:cubicBezTo>
                    <a:cubicBezTo>
                      <a:pt x="37" y="11"/>
                      <a:pt x="36" y="11"/>
                      <a:pt x="36" y="11"/>
                    </a:cubicBezTo>
                    <a:cubicBezTo>
                      <a:pt x="11" y="12"/>
                      <a:pt x="11" y="39"/>
                      <a:pt x="11" y="41"/>
                    </a:cubicBezTo>
                    <a:cubicBezTo>
                      <a:pt x="11" y="43"/>
                      <a:pt x="8" y="46"/>
                      <a:pt x="5" y="46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" name="Freeform 754">
                <a:extLst>
                  <a:ext uri="{FF2B5EF4-FFF2-40B4-BE49-F238E27FC236}">
                    <a16:creationId xmlns:a16="http://schemas.microsoft.com/office/drawing/2014/main" id="{EB1C6266-711F-4475-8B72-58026E03CD0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39764" y="1979490"/>
                <a:ext cx="49005" cy="15549"/>
              </a:xfrm>
              <a:custGeom>
                <a:avLst/>
                <a:gdLst>
                  <a:gd name="T0" fmla="*/ 28 w 44"/>
                  <a:gd name="T1" fmla="*/ 14 h 14"/>
                  <a:gd name="T2" fmla="*/ 5 w 44"/>
                  <a:gd name="T3" fmla="*/ 10 h 14"/>
                  <a:gd name="T4" fmla="*/ 1 w 44"/>
                  <a:gd name="T5" fmla="*/ 4 h 14"/>
                  <a:gd name="T6" fmla="*/ 8 w 44"/>
                  <a:gd name="T7" fmla="*/ 1 h 14"/>
                  <a:gd name="T8" fmla="*/ 36 w 44"/>
                  <a:gd name="T9" fmla="*/ 4 h 14"/>
                  <a:gd name="T10" fmla="*/ 43 w 44"/>
                  <a:gd name="T11" fmla="*/ 7 h 14"/>
                  <a:gd name="T12" fmla="*/ 39 w 44"/>
                  <a:gd name="T13" fmla="*/ 13 h 14"/>
                  <a:gd name="T14" fmla="*/ 28 w 4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4">
                    <a:moveTo>
                      <a:pt x="28" y="14"/>
                    </a:moveTo>
                    <a:cubicBezTo>
                      <a:pt x="22" y="14"/>
                      <a:pt x="14" y="13"/>
                      <a:pt x="5" y="10"/>
                    </a:cubicBezTo>
                    <a:cubicBezTo>
                      <a:pt x="2" y="10"/>
                      <a:pt x="0" y="7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25" y="6"/>
                      <a:pt x="36" y="4"/>
                      <a:pt x="36" y="4"/>
                    </a:cubicBezTo>
                    <a:cubicBezTo>
                      <a:pt x="39" y="3"/>
                      <a:pt x="42" y="4"/>
                      <a:pt x="43" y="7"/>
                    </a:cubicBezTo>
                    <a:cubicBezTo>
                      <a:pt x="44" y="10"/>
                      <a:pt x="42" y="12"/>
                      <a:pt x="39" y="13"/>
                    </a:cubicBezTo>
                    <a:cubicBezTo>
                      <a:pt x="39" y="13"/>
                      <a:pt x="35" y="14"/>
                      <a:pt x="28" y="1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" name="Freeform 755">
                <a:extLst>
                  <a:ext uri="{FF2B5EF4-FFF2-40B4-BE49-F238E27FC236}">
                    <a16:creationId xmlns:a16="http://schemas.microsoft.com/office/drawing/2014/main" id="{A4BA365F-43EE-4E2D-B44B-E56703F4FE3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39764" y="1956871"/>
                <a:ext cx="49005" cy="26859"/>
              </a:xfrm>
              <a:custGeom>
                <a:avLst/>
                <a:gdLst>
                  <a:gd name="T0" fmla="*/ 38 w 44"/>
                  <a:gd name="T1" fmla="*/ 24 h 24"/>
                  <a:gd name="T2" fmla="*/ 3 w 44"/>
                  <a:gd name="T3" fmla="*/ 9 h 24"/>
                  <a:gd name="T4" fmla="*/ 2 w 44"/>
                  <a:gd name="T5" fmla="*/ 2 h 24"/>
                  <a:gd name="T6" fmla="*/ 10 w 44"/>
                  <a:gd name="T7" fmla="*/ 2 h 24"/>
                  <a:gd name="T8" fmla="*/ 38 w 44"/>
                  <a:gd name="T9" fmla="*/ 14 h 24"/>
                  <a:gd name="T10" fmla="*/ 38 w 44"/>
                  <a:gd name="T11" fmla="*/ 14 h 24"/>
                  <a:gd name="T12" fmla="*/ 44 w 44"/>
                  <a:gd name="T13" fmla="*/ 19 h 24"/>
                  <a:gd name="T14" fmla="*/ 39 w 44"/>
                  <a:gd name="T15" fmla="*/ 24 h 24"/>
                  <a:gd name="T16" fmla="*/ 38 w 44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24">
                    <a:moveTo>
                      <a:pt x="38" y="24"/>
                    </a:moveTo>
                    <a:cubicBezTo>
                      <a:pt x="22" y="24"/>
                      <a:pt x="4" y="10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4" y="0"/>
                      <a:pt x="8" y="0"/>
                      <a:pt x="10" y="2"/>
                    </a:cubicBezTo>
                    <a:cubicBezTo>
                      <a:pt x="14" y="5"/>
                      <a:pt x="28" y="14"/>
                      <a:pt x="38" y="14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41" y="14"/>
                      <a:pt x="44" y="16"/>
                      <a:pt x="44" y="19"/>
                    </a:cubicBezTo>
                    <a:cubicBezTo>
                      <a:pt x="44" y="22"/>
                      <a:pt x="42" y="24"/>
                      <a:pt x="39" y="24"/>
                    </a:cubicBezTo>
                    <a:lnTo>
                      <a:pt x="38" y="24"/>
                    </a:ln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" name="Freeform 756">
                <a:extLst>
                  <a:ext uri="{FF2B5EF4-FFF2-40B4-BE49-F238E27FC236}">
                    <a16:creationId xmlns:a16="http://schemas.microsoft.com/office/drawing/2014/main" id="{0CE87CB0-46B8-47D2-A9B6-2CB9F6241CB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63271" y="1944620"/>
                <a:ext cx="88116" cy="51362"/>
              </a:xfrm>
              <a:custGeom>
                <a:avLst/>
                <a:gdLst>
                  <a:gd name="T0" fmla="*/ 74 w 79"/>
                  <a:gd name="T1" fmla="*/ 46 h 46"/>
                  <a:gd name="T2" fmla="*/ 74 w 79"/>
                  <a:gd name="T3" fmla="*/ 46 h 46"/>
                  <a:gd name="T4" fmla="*/ 68 w 79"/>
                  <a:gd name="T5" fmla="*/ 41 h 46"/>
                  <a:gd name="T6" fmla="*/ 44 w 79"/>
                  <a:gd name="T7" fmla="*/ 11 h 46"/>
                  <a:gd name="T8" fmla="*/ 12 w 79"/>
                  <a:gd name="T9" fmla="*/ 34 h 46"/>
                  <a:gd name="T10" fmla="*/ 5 w 79"/>
                  <a:gd name="T11" fmla="*/ 38 h 46"/>
                  <a:gd name="T12" fmla="*/ 1 w 79"/>
                  <a:gd name="T13" fmla="*/ 32 h 46"/>
                  <a:gd name="T14" fmla="*/ 44 w 79"/>
                  <a:gd name="T15" fmla="*/ 1 h 46"/>
                  <a:gd name="T16" fmla="*/ 79 w 79"/>
                  <a:gd name="T17" fmla="*/ 41 h 46"/>
                  <a:gd name="T18" fmla="*/ 74 w 79"/>
                  <a:gd name="T1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6">
                    <a:moveTo>
                      <a:pt x="74" y="46"/>
                    </a:moveTo>
                    <a:cubicBezTo>
                      <a:pt x="74" y="46"/>
                      <a:pt x="74" y="46"/>
                      <a:pt x="74" y="46"/>
                    </a:cubicBezTo>
                    <a:cubicBezTo>
                      <a:pt x="71" y="46"/>
                      <a:pt x="68" y="43"/>
                      <a:pt x="68" y="41"/>
                    </a:cubicBezTo>
                    <a:cubicBezTo>
                      <a:pt x="68" y="39"/>
                      <a:pt x="68" y="12"/>
                      <a:pt x="44" y="11"/>
                    </a:cubicBezTo>
                    <a:cubicBezTo>
                      <a:pt x="18" y="10"/>
                      <a:pt x="12" y="33"/>
                      <a:pt x="12" y="34"/>
                    </a:cubicBezTo>
                    <a:cubicBezTo>
                      <a:pt x="11" y="37"/>
                      <a:pt x="8" y="39"/>
                      <a:pt x="5" y="38"/>
                    </a:cubicBezTo>
                    <a:cubicBezTo>
                      <a:pt x="2" y="37"/>
                      <a:pt x="0" y="35"/>
                      <a:pt x="1" y="32"/>
                    </a:cubicBezTo>
                    <a:cubicBezTo>
                      <a:pt x="4" y="21"/>
                      <a:pt x="16" y="0"/>
                      <a:pt x="44" y="1"/>
                    </a:cubicBezTo>
                    <a:cubicBezTo>
                      <a:pt x="72" y="2"/>
                      <a:pt x="79" y="27"/>
                      <a:pt x="79" y="41"/>
                    </a:cubicBezTo>
                    <a:cubicBezTo>
                      <a:pt x="79" y="43"/>
                      <a:pt x="77" y="46"/>
                      <a:pt x="74" y="46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" name="Freeform 757">
                <a:extLst>
                  <a:ext uri="{FF2B5EF4-FFF2-40B4-BE49-F238E27FC236}">
                    <a16:creationId xmlns:a16="http://schemas.microsoft.com/office/drawing/2014/main" id="{F6954ED4-2529-4AD3-8E51-550AD554D34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27931" y="1979490"/>
                <a:ext cx="47591" cy="15549"/>
              </a:xfrm>
              <a:custGeom>
                <a:avLst/>
                <a:gdLst>
                  <a:gd name="T0" fmla="*/ 15 w 43"/>
                  <a:gd name="T1" fmla="*/ 14 h 14"/>
                  <a:gd name="T2" fmla="*/ 4 w 43"/>
                  <a:gd name="T3" fmla="*/ 13 h 14"/>
                  <a:gd name="T4" fmla="*/ 1 w 43"/>
                  <a:gd name="T5" fmla="*/ 7 h 14"/>
                  <a:gd name="T6" fmla="*/ 7 w 43"/>
                  <a:gd name="T7" fmla="*/ 4 h 14"/>
                  <a:gd name="T8" fmla="*/ 35 w 43"/>
                  <a:gd name="T9" fmla="*/ 1 h 14"/>
                  <a:gd name="T10" fmla="*/ 42 w 43"/>
                  <a:gd name="T11" fmla="*/ 4 h 14"/>
                  <a:gd name="T12" fmla="*/ 39 w 43"/>
                  <a:gd name="T13" fmla="*/ 10 h 14"/>
                  <a:gd name="T14" fmla="*/ 15 w 43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4">
                    <a:moveTo>
                      <a:pt x="15" y="14"/>
                    </a:moveTo>
                    <a:cubicBezTo>
                      <a:pt x="9" y="14"/>
                      <a:pt x="5" y="13"/>
                      <a:pt x="4" y="13"/>
                    </a:cubicBezTo>
                    <a:cubicBezTo>
                      <a:pt x="1" y="12"/>
                      <a:pt x="0" y="10"/>
                      <a:pt x="1" y="7"/>
                    </a:cubicBezTo>
                    <a:cubicBezTo>
                      <a:pt x="1" y="4"/>
                      <a:pt x="4" y="3"/>
                      <a:pt x="7" y="4"/>
                    </a:cubicBezTo>
                    <a:cubicBezTo>
                      <a:pt x="8" y="4"/>
                      <a:pt x="19" y="6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7"/>
                      <a:pt x="41" y="10"/>
                      <a:pt x="39" y="10"/>
                    </a:cubicBezTo>
                    <a:cubicBezTo>
                      <a:pt x="29" y="13"/>
                      <a:pt x="21" y="14"/>
                      <a:pt x="15" y="1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" name="Freeform 758">
                <a:extLst>
                  <a:ext uri="{FF2B5EF4-FFF2-40B4-BE49-F238E27FC236}">
                    <a16:creationId xmlns:a16="http://schemas.microsoft.com/office/drawing/2014/main" id="{949C90BB-4EA5-4570-8A96-7F2C97A90D6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27929" y="1956871"/>
                <a:ext cx="49005" cy="26859"/>
              </a:xfrm>
              <a:custGeom>
                <a:avLst/>
                <a:gdLst>
                  <a:gd name="T0" fmla="*/ 6 w 44"/>
                  <a:gd name="T1" fmla="*/ 24 h 24"/>
                  <a:gd name="T2" fmla="*/ 6 w 44"/>
                  <a:gd name="T3" fmla="*/ 24 h 24"/>
                  <a:gd name="T4" fmla="*/ 0 w 44"/>
                  <a:gd name="T5" fmla="*/ 19 h 24"/>
                  <a:gd name="T6" fmla="*/ 6 w 44"/>
                  <a:gd name="T7" fmla="*/ 14 h 24"/>
                  <a:gd name="T8" fmla="*/ 6 w 44"/>
                  <a:gd name="T9" fmla="*/ 14 h 24"/>
                  <a:gd name="T10" fmla="*/ 34 w 44"/>
                  <a:gd name="T11" fmla="*/ 2 h 24"/>
                  <a:gd name="T12" fmla="*/ 42 w 44"/>
                  <a:gd name="T13" fmla="*/ 2 h 24"/>
                  <a:gd name="T14" fmla="*/ 41 w 44"/>
                  <a:gd name="T15" fmla="*/ 9 h 24"/>
                  <a:gd name="T16" fmla="*/ 6 w 44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24">
                    <a:moveTo>
                      <a:pt x="6" y="24"/>
                    </a:moveTo>
                    <a:cubicBezTo>
                      <a:pt x="6" y="24"/>
                      <a:pt x="6" y="24"/>
                      <a:pt x="6" y="24"/>
                    </a:cubicBezTo>
                    <a:cubicBezTo>
                      <a:pt x="3" y="24"/>
                      <a:pt x="0" y="22"/>
                      <a:pt x="0" y="19"/>
                    </a:cubicBezTo>
                    <a:cubicBezTo>
                      <a:pt x="0" y="16"/>
                      <a:pt x="3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16" y="14"/>
                      <a:pt x="30" y="5"/>
                      <a:pt x="34" y="2"/>
                    </a:cubicBezTo>
                    <a:cubicBezTo>
                      <a:pt x="37" y="0"/>
                      <a:pt x="40" y="0"/>
                      <a:pt x="42" y="2"/>
                    </a:cubicBezTo>
                    <a:cubicBezTo>
                      <a:pt x="44" y="5"/>
                      <a:pt x="44" y="8"/>
                      <a:pt x="41" y="9"/>
                    </a:cubicBezTo>
                    <a:cubicBezTo>
                      <a:pt x="41" y="10"/>
                      <a:pt x="22" y="24"/>
                      <a:pt x="6" y="2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99" name="Freeform 759">
              <a:extLst>
                <a:ext uri="{FF2B5EF4-FFF2-40B4-BE49-F238E27FC236}">
                  <a16:creationId xmlns:a16="http://schemas.microsoft.com/office/drawing/2014/main" id="{21150750-F50B-4059-962F-8A43CA7737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04332" y="3625812"/>
              <a:ext cx="110263" cy="57017"/>
            </a:xfrm>
            <a:custGeom>
              <a:avLst/>
              <a:gdLst>
                <a:gd name="T0" fmla="*/ 0 w 99"/>
                <a:gd name="T1" fmla="*/ 17 h 51"/>
                <a:gd name="T2" fmla="*/ 27 w 99"/>
                <a:gd name="T3" fmla="*/ 0 h 51"/>
                <a:gd name="T4" fmla="*/ 49 w 99"/>
                <a:gd name="T5" fmla="*/ 14 h 51"/>
                <a:gd name="T6" fmla="*/ 78 w 99"/>
                <a:gd name="T7" fmla="*/ 1 h 51"/>
                <a:gd name="T8" fmla="*/ 99 w 99"/>
                <a:gd name="T9" fmla="*/ 18 h 51"/>
                <a:gd name="T10" fmla="*/ 48 w 99"/>
                <a:gd name="T11" fmla="*/ 51 h 51"/>
                <a:gd name="T12" fmla="*/ 0 w 99"/>
                <a:gd name="T13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51">
                  <a:moveTo>
                    <a:pt x="0" y="17"/>
                  </a:moveTo>
                  <a:cubicBezTo>
                    <a:pt x="0" y="17"/>
                    <a:pt x="13" y="0"/>
                    <a:pt x="27" y="0"/>
                  </a:cubicBezTo>
                  <a:cubicBezTo>
                    <a:pt x="42" y="1"/>
                    <a:pt x="49" y="14"/>
                    <a:pt x="49" y="14"/>
                  </a:cubicBezTo>
                  <a:cubicBezTo>
                    <a:pt x="49" y="14"/>
                    <a:pt x="62" y="1"/>
                    <a:pt x="78" y="1"/>
                  </a:cubicBezTo>
                  <a:cubicBezTo>
                    <a:pt x="93" y="1"/>
                    <a:pt x="99" y="18"/>
                    <a:pt x="99" y="18"/>
                  </a:cubicBezTo>
                  <a:cubicBezTo>
                    <a:pt x="99" y="18"/>
                    <a:pt x="84" y="51"/>
                    <a:pt x="48" y="51"/>
                  </a:cubicBezTo>
                  <a:cubicBezTo>
                    <a:pt x="12" y="51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Freeform 760">
              <a:extLst>
                <a:ext uri="{FF2B5EF4-FFF2-40B4-BE49-F238E27FC236}">
                  <a16:creationId xmlns:a16="http://schemas.microsoft.com/office/drawing/2014/main" id="{31B6305D-6B30-432F-B179-4BE46EAF8A9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31191" y="3558900"/>
              <a:ext cx="55603" cy="23561"/>
            </a:xfrm>
            <a:custGeom>
              <a:avLst/>
              <a:gdLst>
                <a:gd name="T0" fmla="*/ 0 w 50"/>
                <a:gd name="T1" fmla="*/ 21 h 21"/>
                <a:gd name="T2" fmla="*/ 24 w 50"/>
                <a:gd name="T3" fmla="*/ 1 h 21"/>
                <a:gd name="T4" fmla="*/ 50 w 50"/>
                <a:gd name="T5" fmla="*/ 21 h 21"/>
                <a:gd name="T6" fmla="*/ 24 w 50"/>
                <a:gd name="T7" fmla="*/ 9 h 21"/>
                <a:gd name="T8" fmla="*/ 0 w 5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1">
                  <a:moveTo>
                    <a:pt x="0" y="21"/>
                  </a:moveTo>
                  <a:cubicBezTo>
                    <a:pt x="0" y="21"/>
                    <a:pt x="2" y="1"/>
                    <a:pt x="24" y="1"/>
                  </a:cubicBezTo>
                  <a:cubicBezTo>
                    <a:pt x="45" y="0"/>
                    <a:pt x="50" y="21"/>
                    <a:pt x="50" y="21"/>
                  </a:cubicBezTo>
                  <a:cubicBezTo>
                    <a:pt x="50" y="21"/>
                    <a:pt x="38" y="9"/>
                    <a:pt x="24" y="9"/>
                  </a:cubicBezTo>
                  <a:cubicBezTo>
                    <a:pt x="11" y="9"/>
                    <a:pt x="0" y="21"/>
                    <a:pt x="0" y="21"/>
                  </a:cubicBezTo>
                  <a:close/>
                </a:path>
              </a:pathLst>
            </a:custGeom>
            <a:solidFill>
              <a:srgbClr val="EFC4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Freeform 761">
              <a:extLst>
                <a:ext uri="{FF2B5EF4-FFF2-40B4-BE49-F238E27FC236}">
                  <a16:creationId xmlns:a16="http://schemas.microsoft.com/office/drawing/2014/main" id="{F2108DCA-37B8-4FB7-8DCF-2695F2534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07368" y="3435445"/>
              <a:ext cx="142776" cy="37696"/>
            </a:xfrm>
            <a:custGeom>
              <a:avLst/>
              <a:gdLst>
                <a:gd name="T0" fmla="*/ 0 w 128"/>
                <a:gd name="T1" fmla="*/ 22 h 34"/>
                <a:gd name="T2" fmla="*/ 1 w 128"/>
                <a:gd name="T3" fmla="*/ 10 h 34"/>
                <a:gd name="T4" fmla="*/ 3 w 128"/>
                <a:gd name="T5" fmla="*/ 7 h 34"/>
                <a:gd name="T6" fmla="*/ 126 w 128"/>
                <a:gd name="T7" fmla="*/ 19 h 34"/>
                <a:gd name="T8" fmla="*/ 127 w 128"/>
                <a:gd name="T9" fmla="*/ 23 h 34"/>
                <a:gd name="T10" fmla="*/ 120 w 128"/>
                <a:gd name="T11" fmla="*/ 33 h 34"/>
                <a:gd name="T12" fmla="*/ 116 w 128"/>
                <a:gd name="T13" fmla="*/ 34 h 34"/>
                <a:gd name="T14" fmla="*/ 3 w 128"/>
                <a:gd name="T15" fmla="*/ 24 h 34"/>
                <a:gd name="T16" fmla="*/ 0 w 128"/>
                <a:gd name="T17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4">
                  <a:moveTo>
                    <a:pt x="0" y="22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2" y="7"/>
                    <a:pt x="3" y="7"/>
                  </a:cubicBezTo>
                  <a:cubicBezTo>
                    <a:pt x="18" y="6"/>
                    <a:pt x="91" y="0"/>
                    <a:pt x="126" y="19"/>
                  </a:cubicBezTo>
                  <a:cubicBezTo>
                    <a:pt x="127" y="20"/>
                    <a:pt x="128" y="22"/>
                    <a:pt x="127" y="2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19" y="34"/>
                    <a:pt x="118" y="34"/>
                    <a:pt x="116" y="34"/>
                  </a:cubicBezTo>
                  <a:cubicBezTo>
                    <a:pt x="106" y="30"/>
                    <a:pt x="64" y="18"/>
                    <a:pt x="3" y="24"/>
                  </a:cubicBezTo>
                  <a:cubicBezTo>
                    <a:pt x="2" y="25"/>
                    <a:pt x="0" y="23"/>
                    <a:pt x="0" y="22"/>
                  </a:cubicBezTo>
                  <a:close/>
                </a:path>
              </a:pathLst>
            </a:custGeom>
            <a:solidFill>
              <a:srgbClr val="AD3E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762">
              <a:extLst>
                <a:ext uri="{FF2B5EF4-FFF2-40B4-BE49-F238E27FC236}">
                  <a16:creationId xmlns:a16="http://schemas.microsoft.com/office/drawing/2014/main" id="{4A3BE4BC-B811-46C3-9C00-5C20B68F825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68312" y="3435445"/>
              <a:ext cx="142304" cy="37696"/>
            </a:xfrm>
            <a:custGeom>
              <a:avLst/>
              <a:gdLst>
                <a:gd name="T0" fmla="*/ 128 w 128"/>
                <a:gd name="T1" fmla="*/ 20 h 34"/>
                <a:gd name="T2" fmla="*/ 127 w 128"/>
                <a:gd name="T3" fmla="*/ 8 h 34"/>
                <a:gd name="T4" fmla="*/ 125 w 128"/>
                <a:gd name="T5" fmla="*/ 6 h 34"/>
                <a:gd name="T6" fmla="*/ 2 w 128"/>
                <a:gd name="T7" fmla="*/ 19 h 34"/>
                <a:gd name="T8" fmla="*/ 1 w 128"/>
                <a:gd name="T9" fmla="*/ 23 h 34"/>
                <a:gd name="T10" fmla="*/ 9 w 128"/>
                <a:gd name="T11" fmla="*/ 33 h 34"/>
                <a:gd name="T12" fmla="*/ 12 w 128"/>
                <a:gd name="T13" fmla="*/ 34 h 34"/>
                <a:gd name="T14" fmla="*/ 125 w 128"/>
                <a:gd name="T15" fmla="*/ 23 h 34"/>
                <a:gd name="T16" fmla="*/ 128 w 128"/>
                <a:gd name="T17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4">
                  <a:moveTo>
                    <a:pt x="128" y="20"/>
                  </a:moveTo>
                  <a:cubicBezTo>
                    <a:pt x="127" y="8"/>
                    <a:pt x="127" y="8"/>
                    <a:pt x="127" y="8"/>
                  </a:cubicBezTo>
                  <a:cubicBezTo>
                    <a:pt x="127" y="7"/>
                    <a:pt x="126" y="6"/>
                    <a:pt x="125" y="6"/>
                  </a:cubicBezTo>
                  <a:cubicBezTo>
                    <a:pt x="110" y="4"/>
                    <a:pt x="37" y="0"/>
                    <a:pt x="2" y="19"/>
                  </a:cubicBezTo>
                  <a:cubicBezTo>
                    <a:pt x="1" y="20"/>
                    <a:pt x="0" y="22"/>
                    <a:pt x="1" y="2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1" y="34"/>
                    <a:pt x="12" y="34"/>
                  </a:cubicBezTo>
                  <a:cubicBezTo>
                    <a:pt x="22" y="30"/>
                    <a:pt x="64" y="17"/>
                    <a:pt x="125" y="23"/>
                  </a:cubicBezTo>
                  <a:cubicBezTo>
                    <a:pt x="127" y="23"/>
                    <a:pt x="128" y="22"/>
                    <a:pt x="128" y="20"/>
                  </a:cubicBezTo>
                  <a:close/>
                </a:path>
              </a:pathLst>
            </a:custGeom>
            <a:solidFill>
              <a:srgbClr val="AD3E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Freeform 763">
              <a:extLst>
                <a:ext uri="{FF2B5EF4-FFF2-40B4-BE49-F238E27FC236}">
                  <a16:creationId xmlns:a16="http://schemas.microsoft.com/office/drawing/2014/main" id="{E6F83C95-C7B5-46FF-8E31-26B773CD99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985221" y="3198427"/>
              <a:ext cx="570160" cy="276128"/>
            </a:xfrm>
            <a:custGeom>
              <a:avLst/>
              <a:gdLst>
                <a:gd name="T0" fmla="*/ 37 w 512"/>
                <a:gd name="T1" fmla="*/ 248 h 248"/>
                <a:gd name="T2" fmla="*/ 368 w 512"/>
                <a:gd name="T3" fmla="*/ 134 h 248"/>
                <a:gd name="T4" fmla="*/ 512 w 512"/>
                <a:gd name="T5" fmla="*/ 204 h 248"/>
                <a:gd name="T6" fmla="*/ 512 w 512"/>
                <a:gd name="T7" fmla="*/ 0 h 248"/>
                <a:gd name="T8" fmla="*/ 0 w 512"/>
                <a:gd name="T9" fmla="*/ 36 h 248"/>
                <a:gd name="T10" fmla="*/ 0 w 512"/>
                <a:gd name="T11" fmla="*/ 161 h 248"/>
                <a:gd name="T12" fmla="*/ 37 w 512"/>
                <a:gd name="T13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2" h="248">
                  <a:moveTo>
                    <a:pt x="37" y="248"/>
                  </a:moveTo>
                  <a:cubicBezTo>
                    <a:pt x="37" y="248"/>
                    <a:pt x="309" y="203"/>
                    <a:pt x="368" y="134"/>
                  </a:cubicBezTo>
                  <a:cubicBezTo>
                    <a:pt x="368" y="134"/>
                    <a:pt x="424" y="210"/>
                    <a:pt x="512" y="204"/>
                  </a:cubicBezTo>
                  <a:cubicBezTo>
                    <a:pt x="512" y="0"/>
                    <a:pt x="512" y="0"/>
                    <a:pt x="512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37" y="248"/>
                  </a:ln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44" name="文本框 143">
            <a:extLst>
              <a:ext uri="{FF2B5EF4-FFF2-40B4-BE49-F238E27FC236}">
                <a16:creationId xmlns:a16="http://schemas.microsoft.com/office/drawing/2014/main" id="{01522FA0-DD30-45A2-A378-F8A1D160F6BB}"/>
              </a:ext>
            </a:extLst>
          </p:cNvPr>
          <p:cNvSpPr txBox="1"/>
          <p:nvPr/>
        </p:nvSpPr>
        <p:spPr>
          <a:xfrm>
            <a:off x="2518550" y="6174121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rgbClr val="C65044"/>
                </a:solidFill>
                <a:latin typeface="+mj-ea"/>
                <a:ea typeface="+mj-ea"/>
              </a:rPr>
              <a:t>老师放心</a:t>
            </a:r>
          </a:p>
        </p:txBody>
      </p:sp>
      <p:grpSp>
        <p:nvGrpSpPr>
          <p:cNvPr id="143" name="组合 142">
            <a:extLst>
              <a:ext uri="{FF2B5EF4-FFF2-40B4-BE49-F238E27FC236}">
                <a16:creationId xmlns:a16="http://schemas.microsoft.com/office/drawing/2014/main" id="{4B1C653D-BE42-476A-AD9E-A5449693A4E9}"/>
              </a:ext>
            </a:extLst>
          </p:cNvPr>
          <p:cNvGrpSpPr/>
          <p:nvPr/>
        </p:nvGrpSpPr>
        <p:grpSpPr>
          <a:xfrm>
            <a:off x="5447475" y="4351580"/>
            <a:ext cx="1178299" cy="1634476"/>
            <a:chOff x="5628831" y="3047356"/>
            <a:chExt cx="819439" cy="1136684"/>
          </a:xfrm>
        </p:grpSpPr>
        <p:sp>
          <p:nvSpPr>
            <p:cNvPr id="39" name="Freeform 1541">
              <a:extLst>
                <a:ext uri="{FF2B5EF4-FFF2-40B4-BE49-F238E27FC236}">
                  <a16:creationId xmlns:a16="http://schemas.microsoft.com/office/drawing/2014/main" id="{6172EA2B-7746-4F04-9246-19054236C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4157" y="3728199"/>
              <a:ext cx="643634" cy="454411"/>
            </a:xfrm>
            <a:custGeom>
              <a:avLst/>
              <a:gdLst>
                <a:gd name="T0" fmla="*/ 599 w 599"/>
                <a:gd name="T1" fmla="*/ 423 h 423"/>
                <a:gd name="T2" fmla="*/ 438 w 599"/>
                <a:gd name="T3" fmla="*/ 0 h 423"/>
                <a:gd name="T4" fmla="*/ 406 w 599"/>
                <a:gd name="T5" fmla="*/ 0 h 423"/>
                <a:gd name="T6" fmla="*/ 288 w 599"/>
                <a:gd name="T7" fmla="*/ 187 h 423"/>
                <a:gd name="T8" fmla="*/ 170 w 599"/>
                <a:gd name="T9" fmla="*/ 0 h 423"/>
                <a:gd name="T10" fmla="*/ 137 w 599"/>
                <a:gd name="T11" fmla="*/ 0 h 423"/>
                <a:gd name="T12" fmla="*/ 0 w 599"/>
                <a:gd name="T13" fmla="*/ 255 h 423"/>
                <a:gd name="T14" fmla="*/ 100 w 599"/>
                <a:gd name="T15" fmla="*/ 285 h 423"/>
                <a:gd name="T16" fmla="*/ 84 w 599"/>
                <a:gd name="T17" fmla="*/ 423 h 423"/>
                <a:gd name="T18" fmla="*/ 599 w 599"/>
                <a:gd name="T19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423">
                  <a:moveTo>
                    <a:pt x="599" y="423"/>
                  </a:moveTo>
                  <a:cubicBezTo>
                    <a:pt x="546" y="165"/>
                    <a:pt x="438" y="0"/>
                    <a:pt x="438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379" y="74"/>
                    <a:pt x="342" y="139"/>
                    <a:pt x="288" y="187"/>
                  </a:cubicBezTo>
                  <a:cubicBezTo>
                    <a:pt x="233" y="139"/>
                    <a:pt x="197" y="74"/>
                    <a:pt x="170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0"/>
                    <a:pt x="21" y="107"/>
                    <a:pt x="0" y="255"/>
                  </a:cubicBezTo>
                  <a:cubicBezTo>
                    <a:pt x="100" y="285"/>
                    <a:pt x="100" y="285"/>
                    <a:pt x="100" y="285"/>
                  </a:cubicBezTo>
                  <a:cubicBezTo>
                    <a:pt x="100" y="285"/>
                    <a:pt x="91" y="354"/>
                    <a:pt x="84" y="423"/>
                  </a:cubicBezTo>
                  <a:lnTo>
                    <a:pt x="599" y="423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Rectangle 1538">
              <a:extLst>
                <a:ext uri="{FF2B5EF4-FFF2-40B4-BE49-F238E27FC236}">
                  <a16:creationId xmlns:a16="http://schemas.microsoft.com/office/drawing/2014/main" id="{F98CA80A-B63B-4996-ABAC-D2212BE12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5424" y="3719193"/>
              <a:ext cx="250631" cy="229708"/>
            </a:xfrm>
            <a:prstGeom prst="rect">
              <a:avLst/>
            </a:prstGeom>
            <a:solidFill>
              <a:srgbClr val="F9F5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1539">
              <a:extLst>
                <a:ext uri="{FF2B5EF4-FFF2-40B4-BE49-F238E27FC236}">
                  <a16:creationId xmlns:a16="http://schemas.microsoft.com/office/drawing/2014/main" id="{57BF8665-88BC-4D31-9A81-D10909F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200" y="3780145"/>
              <a:ext cx="119175" cy="279741"/>
            </a:xfrm>
            <a:custGeom>
              <a:avLst/>
              <a:gdLst>
                <a:gd name="T0" fmla="*/ 106 w 262"/>
                <a:gd name="T1" fmla="*/ 0 h 615"/>
                <a:gd name="T2" fmla="*/ 0 w 262"/>
                <a:gd name="T3" fmla="*/ 442 h 615"/>
                <a:gd name="T4" fmla="*/ 135 w 262"/>
                <a:gd name="T5" fmla="*/ 615 h 615"/>
                <a:gd name="T6" fmla="*/ 262 w 262"/>
                <a:gd name="T7" fmla="*/ 456 h 615"/>
                <a:gd name="T8" fmla="*/ 156 w 262"/>
                <a:gd name="T9" fmla="*/ 0 h 615"/>
                <a:gd name="T10" fmla="*/ 106 w 262"/>
                <a:gd name="T11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2" h="615">
                  <a:moveTo>
                    <a:pt x="106" y="0"/>
                  </a:moveTo>
                  <a:lnTo>
                    <a:pt x="0" y="442"/>
                  </a:lnTo>
                  <a:lnTo>
                    <a:pt x="135" y="615"/>
                  </a:lnTo>
                  <a:lnTo>
                    <a:pt x="262" y="456"/>
                  </a:lnTo>
                  <a:lnTo>
                    <a:pt x="15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4234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1540">
              <a:extLst>
                <a:ext uri="{FF2B5EF4-FFF2-40B4-BE49-F238E27FC236}">
                  <a16:creationId xmlns:a16="http://schemas.microsoft.com/office/drawing/2014/main" id="{E1FCC7B3-B3C8-4FF1-9A6F-CF7A5BF23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0954" y="3754671"/>
              <a:ext cx="45031" cy="36389"/>
            </a:xfrm>
            <a:custGeom>
              <a:avLst/>
              <a:gdLst>
                <a:gd name="T0" fmla="*/ 30 w 42"/>
                <a:gd name="T1" fmla="*/ 34 h 34"/>
                <a:gd name="T2" fmla="*/ 11 w 42"/>
                <a:gd name="T3" fmla="*/ 34 h 34"/>
                <a:gd name="T4" fmla="*/ 0 w 42"/>
                <a:gd name="T5" fmla="*/ 22 h 34"/>
                <a:gd name="T6" fmla="*/ 0 w 42"/>
                <a:gd name="T7" fmla="*/ 12 h 34"/>
                <a:gd name="T8" fmla="*/ 11 w 42"/>
                <a:gd name="T9" fmla="*/ 0 h 34"/>
                <a:gd name="T10" fmla="*/ 30 w 42"/>
                <a:gd name="T11" fmla="*/ 0 h 34"/>
                <a:gd name="T12" fmla="*/ 42 w 42"/>
                <a:gd name="T13" fmla="*/ 12 h 34"/>
                <a:gd name="T14" fmla="*/ 42 w 42"/>
                <a:gd name="T15" fmla="*/ 22 h 34"/>
                <a:gd name="T16" fmla="*/ 30 w 42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4">
                  <a:moveTo>
                    <a:pt x="30" y="34"/>
                  </a:moveTo>
                  <a:cubicBezTo>
                    <a:pt x="11" y="34"/>
                    <a:pt x="11" y="34"/>
                    <a:pt x="11" y="34"/>
                  </a:cubicBezTo>
                  <a:cubicBezTo>
                    <a:pt x="5" y="34"/>
                    <a:pt x="0" y="29"/>
                    <a:pt x="0" y="2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7" y="0"/>
                    <a:pt x="42" y="5"/>
                    <a:pt x="42" y="1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9"/>
                    <a:pt x="37" y="34"/>
                    <a:pt x="30" y="34"/>
                  </a:cubicBezTo>
                  <a:close/>
                </a:path>
              </a:pathLst>
            </a:custGeom>
            <a:solidFill>
              <a:srgbClr val="382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1541">
              <a:extLst>
                <a:ext uri="{FF2B5EF4-FFF2-40B4-BE49-F238E27FC236}">
                  <a16:creationId xmlns:a16="http://schemas.microsoft.com/office/drawing/2014/main" id="{7FC85334-BC8E-4791-9A41-9193655C7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636" y="3723305"/>
              <a:ext cx="643634" cy="454411"/>
            </a:xfrm>
            <a:custGeom>
              <a:avLst/>
              <a:gdLst>
                <a:gd name="T0" fmla="*/ 599 w 599"/>
                <a:gd name="T1" fmla="*/ 423 h 423"/>
                <a:gd name="T2" fmla="*/ 438 w 599"/>
                <a:gd name="T3" fmla="*/ 0 h 423"/>
                <a:gd name="T4" fmla="*/ 406 w 599"/>
                <a:gd name="T5" fmla="*/ 0 h 423"/>
                <a:gd name="T6" fmla="*/ 288 w 599"/>
                <a:gd name="T7" fmla="*/ 187 h 423"/>
                <a:gd name="T8" fmla="*/ 170 w 599"/>
                <a:gd name="T9" fmla="*/ 0 h 423"/>
                <a:gd name="T10" fmla="*/ 137 w 599"/>
                <a:gd name="T11" fmla="*/ 0 h 423"/>
                <a:gd name="T12" fmla="*/ 0 w 599"/>
                <a:gd name="T13" fmla="*/ 255 h 423"/>
                <a:gd name="T14" fmla="*/ 100 w 599"/>
                <a:gd name="T15" fmla="*/ 285 h 423"/>
                <a:gd name="T16" fmla="*/ 84 w 599"/>
                <a:gd name="T17" fmla="*/ 423 h 423"/>
                <a:gd name="T18" fmla="*/ 599 w 599"/>
                <a:gd name="T19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423">
                  <a:moveTo>
                    <a:pt x="599" y="423"/>
                  </a:moveTo>
                  <a:cubicBezTo>
                    <a:pt x="546" y="165"/>
                    <a:pt x="438" y="0"/>
                    <a:pt x="438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379" y="74"/>
                    <a:pt x="342" y="139"/>
                    <a:pt x="288" y="187"/>
                  </a:cubicBezTo>
                  <a:cubicBezTo>
                    <a:pt x="233" y="139"/>
                    <a:pt x="197" y="74"/>
                    <a:pt x="170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0"/>
                    <a:pt x="21" y="107"/>
                    <a:pt x="0" y="255"/>
                  </a:cubicBezTo>
                  <a:cubicBezTo>
                    <a:pt x="100" y="285"/>
                    <a:pt x="100" y="285"/>
                    <a:pt x="100" y="285"/>
                  </a:cubicBezTo>
                  <a:cubicBezTo>
                    <a:pt x="100" y="285"/>
                    <a:pt x="91" y="354"/>
                    <a:pt x="84" y="423"/>
                  </a:cubicBezTo>
                  <a:lnTo>
                    <a:pt x="599" y="423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1542">
              <a:extLst>
                <a:ext uri="{FF2B5EF4-FFF2-40B4-BE49-F238E27FC236}">
                  <a16:creationId xmlns:a16="http://schemas.microsoft.com/office/drawing/2014/main" id="{71C6A3D6-A819-43B8-B79C-C10524C98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506" y="3911146"/>
              <a:ext cx="12736" cy="253815"/>
            </a:xfrm>
            <a:custGeom>
              <a:avLst/>
              <a:gdLst>
                <a:gd name="T0" fmla="*/ 3 w 12"/>
                <a:gd name="T1" fmla="*/ 236 h 236"/>
                <a:gd name="T2" fmla="*/ 12 w 12"/>
                <a:gd name="T3" fmla="*/ 236 h 236"/>
                <a:gd name="T4" fmla="*/ 12 w 12"/>
                <a:gd name="T5" fmla="*/ 0 h 236"/>
                <a:gd name="T6" fmla="*/ 3 w 12"/>
                <a:gd name="T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6">
                  <a:moveTo>
                    <a:pt x="3" y="236"/>
                  </a:moveTo>
                  <a:cubicBezTo>
                    <a:pt x="12" y="236"/>
                    <a:pt x="12" y="236"/>
                    <a:pt x="12" y="23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" y="76"/>
                    <a:pt x="0" y="164"/>
                    <a:pt x="3" y="236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1543">
              <a:extLst>
                <a:ext uri="{FF2B5EF4-FFF2-40B4-BE49-F238E27FC236}">
                  <a16:creationId xmlns:a16="http://schemas.microsoft.com/office/drawing/2014/main" id="{75747E90-3920-4739-956C-0DDFC7338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946" y="3741481"/>
              <a:ext cx="163297" cy="169665"/>
            </a:xfrm>
            <a:custGeom>
              <a:avLst/>
              <a:gdLst>
                <a:gd name="T0" fmla="*/ 45 w 152"/>
                <a:gd name="T1" fmla="*/ 0 h 158"/>
                <a:gd name="T2" fmla="*/ 24 w 152"/>
                <a:gd name="T3" fmla="*/ 80 h 158"/>
                <a:gd name="T4" fmla="*/ 70 w 152"/>
                <a:gd name="T5" fmla="*/ 99 h 158"/>
                <a:gd name="T6" fmla="*/ 54 w 152"/>
                <a:gd name="T7" fmla="*/ 130 h 158"/>
                <a:gd name="T8" fmla="*/ 152 w 152"/>
                <a:gd name="T9" fmla="*/ 158 h 158"/>
                <a:gd name="T10" fmla="*/ 45 w 152"/>
                <a:gd name="T11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58">
                  <a:moveTo>
                    <a:pt x="45" y="0"/>
                  </a:moveTo>
                  <a:cubicBezTo>
                    <a:pt x="28" y="21"/>
                    <a:pt x="0" y="62"/>
                    <a:pt x="24" y="80"/>
                  </a:cubicBezTo>
                  <a:cubicBezTo>
                    <a:pt x="37" y="91"/>
                    <a:pt x="70" y="99"/>
                    <a:pt x="70" y="99"/>
                  </a:cubicBezTo>
                  <a:cubicBezTo>
                    <a:pt x="70" y="99"/>
                    <a:pt x="45" y="113"/>
                    <a:pt x="54" y="130"/>
                  </a:cubicBezTo>
                  <a:cubicBezTo>
                    <a:pt x="66" y="157"/>
                    <a:pt x="152" y="158"/>
                    <a:pt x="152" y="158"/>
                  </a:cubicBezTo>
                  <a:cubicBezTo>
                    <a:pt x="105" y="116"/>
                    <a:pt x="71" y="62"/>
                    <a:pt x="45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1544">
              <a:extLst>
                <a:ext uri="{FF2B5EF4-FFF2-40B4-BE49-F238E27FC236}">
                  <a16:creationId xmlns:a16="http://schemas.microsoft.com/office/drawing/2014/main" id="{54EE785D-2078-4EBD-BC96-88698F22D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242" y="3741481"/>
              <a:ext cx="163752" cy="169665"/>
            </a:xfrm>
            <a:custGeom>
              <a:avLst/>
              <a:gdLst>
                <a:gd name="T0" fmla="*/ 106 w 152"/>
                <a:gd name="T1" fmla="*/ 0 h 158"/>
                <a:gd name="T2" fmla="*/ 128 w 152"/>
                <a:gd name="T3" fmla="*/ 80 h 158"/>
                <a:gd name="T4" fmla="*/ 82 w 152"/>
                <a:gd name="T5" fmla="*/ 99 h 158"/>
                <a:gd name="T6" fmla="*/ 98 w 152"/>
                <a:gd name="T7" fmla="*/ 130 h 158"/>
                <a:gd name="T8" fmla="*/ 0 w 152"/>
                <a:gd name="T9" fmla="*/ 158 h 158"/>
                <a:gd name="T10" fmla="*/ 106 w 152"/>
                <a:gd name="T11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58">
                  <a:moveTo>
                    <a:pt x="106" y="0"/>
                  </a:moveTo>
                  <a:cubicBezTo>
                    <a:pt x="123" y="21"/>
                    <a:pt x="152" y="62"/>
                    <a:pt x="128" y="80"/>
                  </a:cubicBezTo>
                  <a:cubicBezTo>
                    <a:pt x="114" y="91"/>
                    <a:pt x="82" y="99"/>
                    <a:pt x="82" y="99"/>
                  </a:cubicBezTo>
                  <a:cubicBezTo>
                    <a:pt x="82" y="99"/>
                    <a:pt x="106" y="113"/>
                    <a:pt x="98" y="130"/>
                  </a:cubicBezTo>
                  <a:cubicBezTo>
                    <a:pt x="85" y="157"/>
                    <a:pt x="0" y="158"/>
                    <a:pt x="0" y="158"/>
                  </a:cubicBezTo>
                  <a:cubicBezTo>
                    <a:pt x="47" y="116"/>
                    <a:pt x="80" y="62"/>
                    <a:pt x="106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1545">
              <a:extLst>
                <a:ext uri="{FF2B5EF4-FFF2-40B4-BE49-F238E27FC236}">
                  <a16:creationId xmlns:a16="http://schemas.microsoft.com/office/drawing/2014/main" id="{CFE255B8-4F26-4C33-8ED5-6AF11E021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3822" y="3897499"/>
              <a:ext cx="57313" cy="267460"/>
            </a:xfrm>
            <a:custGeom>
              <a:avLst/>
              <a:gdLst>
                <a:gd name="T0" fmla="*/ 0 w 53"/>
                <a:gd name="T1" fmla="*/ 0 h 249"/>
                <a:gd name="T2" fmla="*/ 35 w 53"/>
                <a:gd name="T3" fmla="*/ 249 h 249"/>
                <a:gd name="T4" fmla="*/ 53 w 53"/>
                <a:gd name="T5" fmla="*/ 249 h 249"/>
                <a:gd name="T6" fmla="*/ 0 w 53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49">
                  <a:moveTo>
                    <a:pt x="0" y="0"/>
                  </a:moveTo>
                  <a:cubicBezTo>
                    <a:pt x="14" y="69"/>
                    <a:pt x="27" y="180"/>
                    <a:pt x="35" y="249"/>
                  </a:cubicBezTo>
                  <a:cubicBezTo>
                    <a:pt x="53" y="249"/>
                    <a:pt x="53" y="249"/>
                    <a:pt x="53" y="249"/>
                  </a:cubicBezTo>
                  <a:cubicBezTo>
                    <a:pt x="37" y="14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1546">
              <a:extLst>
                <a:ext uri="{FF2B5EF4-FFF2-40B4-BE49-F238E27FC236}">
                  <a16:creationId xmlns:a16="http://schemas.microsoft.com/office/drawing/2014/main" id="{6E059419-76A3-4CAE-A9FD-7F5C222D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177" y="3870662"/>
              <a:ext cx="35480" cy="146012"/>
            </a:xfrm>
            <a:custGeom>
              <a:avLst/>
              <a:gdLst>
                <a:gd name="T0" fmla="*/ 18 w 33"/>
                <a:gd name="T1" fmla="*/ 136 h 136"/>
                <a:gd name="T2" fmla="*/ 33 w 33"/>
                <a:gd name="T3" fmla="*/ 0 h 136"/>
                <a:gd name="T4" fmla="*/ 0 w 33"/>
                <a:gd name="T5" fmla="*/ 131 h 136"/>
                <a:gd name="T6" fmla="*/ 18 w 33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36">
                  <a:moveTo>
                    <a:pt x="18" y="136"/>
                  </a:moveTo>
                  <a:cubicBezTo>
                    <a:pt x="18" y="136"/>
                    <a:pt x="24" y="48"/>
                    <a:pt x="33" y="0"/>
                  </a:cubicBezTo>
                  <a:cubicBezTo>
                    <a:pt x="33" y="0"/>
                    <a:pt x="6" y="66"/>
                    <a:pt x="0" y="131"/>
                  </a:cubicBezTo>
                  <a:lnTo>
                    <a:pt x="18" y="136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1551">
              <a:extLst>
                <a:ext uri="{FF2B5EF4-FFF2-40B4-BE49-F238E27FC236}">
                  <a16:creationId xmlns:a16="http://schemas.microsoft.com/office/drawing/2014/main" id="{D6C7FE08-6729-4AEB-9636-16CD23119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831" y="3047356"/>
              <a:ext cx="799653" cy="448041"/>
            </a:xfrm>
            <a:custGeom>
              <a:avLst/>
              <a:gdLst>
                <a:gd name="T0" fmla="*/ 128 w 744"/>
                <a:gd name="T1" fmla="*/ 417 h 417"/>
                <a:gd name="T2" fmla="*/ 128 w 744"/>
                <a:gd name="T3" fmla="*/ 237 h 417"/>
                <a:gd name="T4" fmla="*/ 60 w 744"/>
                <a:gd name="T5" fmla="*/ 88 h 417"/>
                <a:gd name="T6" fmla="*/ 400 w 744"/>
                <a:gd name="T7" fmla="*/ 0 h 417"/>
                <a:gd name="T8" fmla="*/ 740 w 744"/>
                <a:gd name="T9" fmla="*/ 158 h 417"/>
                <a:gd name="T10" fmla="*/ 719 w 744"/>
                <a:gd name="T11" fmla="*/ 259 h 417"/>
                <a:gd name="T12" fmla="*/ 707 w 744"/>
                <a:gd name="T13" fmla="*/ 417 h 417"/>
                <a:gd name="T14" fmla="*/ 128 w 744"/>
                <a:gd name="T15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4" h="417">
                  <a:moveTo>
                    <a:pt x="128" y="417"/>
                  </a:moveTo>
                  <a:cubicBezTo>
                    <a:pt x="128" y="417"/>
                    <a:pt x="106" y="301"/>
                    <a:pt x="128" y="237"/>
                  </a:cubicBezTo>
                  <a:cubicBezTo>
                    <a:pt x="128" y="237"/>
                    <a:pt x="0" y="189"/>
                    <a:pt x="60" y="88"/>
                  </a:cubicBezTo>
                  <a:cubicBezTo>
                    <a:pt x="110" y="3"/>
                    <a:pt x="315" y="0"/>
                    <a:pt x="400" y="0"/>
                  </a:cubicBezTo>
                  <a:cubicBezTo>
                    <a:pt x="484" y="0"/>
                    <a:pt x="744" y="7"/>
                    <a:pt x="740" y="158"/>
                  </a:cubicBezTo>
                  <a:cubicBezTo>
                    <a:pt x="738" y="233"/>
                    <a:pt x="719" y="259"/>
                    <a:pt x="719" y="259"/>
                  </a:cubicBezTo>
                  <a:cubicBezTo>
                    <a:pt x="719" y="259"/>
                    <a:pt x="740" y="340"/>
                    <a:pt x="707" y="417"/>
                  </a:cubicBezTo>
                  <a:lnTo>
                    <a:pt x="128" y="417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1552">
              <a:extLst>
                <a:ext uri="{FF2B5EF4-FFF2-40B4-BE49-F238E27FC236}">
                  <a16:creationId xmlns:a16="http://schemas.microsoft.com/office/drawing/2014/main" id="{67E92D80-BDB0-4E03-AAEC-11856E46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156" y="3329829"/>
              <a:ext cx="52765" cy="19560"/>
            </a:xfrm>
            <a:custGeom>
              <a:avLst/>
              <a:gdLst>
                <a:gd name="T0" fmla="*/ 1 w 49"/>
                <a:gd name="T1" fmla="*/ 18 h 18"/>
                <a:gd name="T2" fmla="*/ 49 w 49"/>
                <a:gd name="T3" fmla="*/ 7 h 18"/>
                <a:gd name="T4" fmla="*/ 48 w 49"/>
                <a:gd name="T5" fmla="*/ 0 h 18"/>
                <a:gd name="T6" fmla="*/ 0 w 49"/>
                <a:gd name="T7" fmla="*/ 10 h 18"/>
                <a:gd name="T8" fmla="*/ 1 w 4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8">
                  <a:moveTo>
                    <a:pt x="1" y="18"/>
                  </a:moveTo>
                  <a:cubicBezTo>
                    <a:pt x="2" y="18"/>
                    <a:pt x="30" y="17"/>
                    <a:pt x="49" y="7"/>
                  </a:cubicBezTo>
                  <a:cubicBezTo>
                    <a:pt x="49" y="4"/>
                    <a:pt x="48" y="2"/>
                    <a:pt x="48" y="0"/>
                  </a:cubicBezTo>
                  <a:cubicBezTo>
                    <a:pt x="31" y="10"/>
                    <a:pt x="1" y="10"/>
                    <a:pt x="0" y="10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1553">
              <a:extLst>
                <a:ext uri="{FF2B5EF4-FFF2-40B4-BE49-F238E27FC236}">
                  <a16:creationId xmlns:a16="http://schemas.microsoft.com/office/drawing/2014/main" id="{FF12BA45-272F-45E3-B06B-03C0F0477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609" y="3358938"/>
              <a:ext cx="61408" cy="18195"/>
            </a:xfrm>
            <a:custGeom>
              <a:avLst/>
              <a:gdLst>
                <a:gd name="T0" fmla="*/ 0 w 57"/>
                <a:gd name="T1" fmla="*/ 17 h 17"/>
                <a:gd name="T2" fmla="*/ 57 w 57"/>
                <a:gd name="T3" fmla="*/ 7 h 17"/>
                <a:gd name="T4" fmla="*/ 56 w 57"/>
                <a:gd name="T5" fmla="*/ 0 h 17"/>
                <a:gd name="T6" fmla="*/ 0 w 57"/>
                <a:gd name="T7" fmla="*/ 9 h 17"/>
                <a:gd name="T8" fmla="*/ 0 w 5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7">
                  <a:moveTo>
                    <a:pt x="0" y="17"/>
                  </a:moveTo>
                  <a:cubicBezTo>
                    <a:pt x="2" y="17"/>
                    <a:pt x="31" y="16"/>
                    <a:pt x="57" y="7"/>
                  </a:cubicBezTo>
                  <a:cubicBezTo>
                    <a:pt x="57" y="5"/>
                    <a:pt x="56" y="2"/>
                    <a:pt x="56" y="0"/>
                  </a:cubicBezTo>
                  <a:cubicBezTo>
                    <a:pt x="31" y="8"/>
                    <a:pt x="0" y="9"/>
                    <a:pt x="0" y="9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1554">
              <a:extLst>
                <a:ext uri="{FF2B5EF4-FFF2-40B4-BE49-F238E27FC236}">
                  <a16:creationId xmlns:a16="http://schemas.microsoft.com/office/drawing/2014/main" id="{A3F583FD-E4A2-44A3-88F7-63C9FBF95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425" y="3388960"/>
              <a:ext cx="65501" cy="15010"/>
            </a:xfrm>
            <a:custGeom>
              <a:avLst/>
              <a:gdLst>
                <a:gd name="T0" fmla="*/ 0 w 61"/>
                <a:gd name="T1" fmla="*/ 14 h 14"/>
                <a:gd name="T2" fmla="*/ 61 w 61"/>
                <a:gd name="T3" fmla="*/ 7 h 14"/>
                <a:gd name="T4" fmla="*/ 61 w 61"/>
                <a:gd name="T5" fmla="*/ 0 h 14"/>
                <a:gd name="T6" fmla="*/ 0 w 61"/>
                <a:gd name="T7" fmla="*/ 6 h 14"/>
                <a:gd name="T8" fmla="*/ 0 w 6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4">
                  <a:moveTo>
                    <a:pt x="0" y="14"/>
                  </a:moveTo>
                  <a:cubicBezTo>
                    <a:pt x="2" y="14"/>
                    <a:pt x="36" y="13"/>
                    <a:pt x="61" y="7"/>
                  </a:cubicBezTo>
                  <a:cubicBezTo>
                    <a:pt x="61" y="5"/>
                    <a:pt x="61" y="2"/>
                    <a:pt x="61" y="0"/>
                  </a:cubicBezTo>
                  <a:cubicBezTo>
                    <a:pt x="36" y="5"/>
                    <a:pt x="0" y="6"/>
                    <a:pt x="0" y="6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1555">
              <a:extLst>
                <a:ext uri="{FF2B5EF4-FFF2-40B4-BE49-F238E27FC236}">
                  <a16:creationId xmlns:a16="http://schemas.microsoft.com/office/drawing/2014/main" id="{C4FE4AD3-3BA0-4B84-9C84-881C90BA4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0241" y="3417163"/>
              <a:ext cx="67776" cy="11827"/>
            </a:xfrm>
            <a:custGeom>
              <a:avLst/>
              <a:gdLst>
                <a:gd name="T0" fmla="*/ 0 w 63"/>
                <a:gd name="T1" fmla="*/ 3 h 11"/>
                <a:gd name="T2" fmla="*/ 0 w 63"/>
                <a:gd name="T3" fmla="*/ 11 h 11"/>
                <a:gd name="T4" fmla="*/ 17 w 63"/>
                <a:gd name="T5" fmla="*/ 11 h 11"/>
                <a:gd name="T6" fmla="*/ 62 w 63"/>
                <a:gd name="T7" fmla="*/ 8 h 11"/>
                <a:gd name="T8" fmla="*/ 63 w 63"/>
                <a:gd name="T9" fmla="*/ 0 h 11"/>
                <a:gd name="T10" fmla="*/ 0 w 63"/>
                <a:gd name="T1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1">
                  <a:moveTo>
                    <a:pt x="0" y="3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7" y="11"/>
                    <a:pt x="17" y="11"/>
                  </a:cubicBezTo>
                  <a:cubicBezTo>
                    <a:pt x="30" y="11"/>
                    <a:pt x="48" y="11"/>
                    <a:pt x="62" y="8"/>
                  </a:cubicBezTo>
                  <a:cubicBezTo>
                    <a:pt x="62" y="5"/>
                    <a:pt x="63" y="3"/>
                    <a:pt x="63" y="0"/>
                  </a:cubicBezTo>
                  <a:cubicBezTo>
                    <a:pt x="39" y="5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1556">
              <a:extLst>
                <a:ext uri="{FF2B5EF4-FFF2-40B4-BE49-F238E27FC236}">
                  <a16:creationId xmlns:a16="http://schemas.microsoft.com/office/drawing/2014/main" id="{6C13B4F7-D42E-4668-A6AD-DEB00018F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0241" y="3444000"/>
              <a:ext cx="64592" cy="9552"/>
            </a:xfrm>
            <a:custGeom>
              <a:avLst/>
              <a:gdLst>
                <a:gd name="T0" fmla="*/ 0 w 60"/>
                <a:gd name="T1" fmla="*/ 1 h 9"/>
                <a:gd name="T2" fmla="*/ 0 w 60"/>
                <a:gd name="T3" fmla="*/ 8 h 9"/>
                <a:gd name="T4" fmla="*/ 27 w 60"/>
                <a:gd name="T5" fmla="*/ 9 h 9"/>
                <a:gd name="T6" fmla="*/ 58 w 60"/>
                <a:gd name="T7" fmla="*/ 8 h 9"/>
                <a:gd name="T8" fmla="*/ 60 w 60"/>
                <a:gd name="T9" fmla="*/ 0 h 9"/>
                <a:gd name="T10" fmla="*/ 0 w 60"/>
                <a:gd name="T1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9">
                  <a:moveTo>
                    <a:pt x="0" y="1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3" y="9"/>
                    <a:pt x="14" y="9"/>
                    <a:pt x="27" y="9"/>
                  </a:cubicBezTo>
                  <a:cubicBezTo>
                    <a:pt x="37" y="9"/>
                    <a:pt x="48" y="9"/>
                    <a:pt x="58" y="8"/>
                  </a:cubicBezTo>
                  <a:cubicBezTo>
                    <a:pt x="59" y="5"/>
                    <a:pt x="59" y="2"/>
                    <a:pt x="60" y="0"/>
                  </a:cubicBezTo>
                  <a:cubicBezTo>
                    <a:pt x="41" y="3"/>
                    <a:pt x="13" y="2"/>
                    <a:pt x="0" y="1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1557">
              <a:extLst>
                <a:ext uri="{FF2B5EF4-FFF2-40B4-BE49-F238E27FC236}">
                  <a16:creationId xmlns:a16="http://schemas.microsoft.com/office/drawing/2014/main" id="{438B3997-4B11-42DA-8B6E-2D6364C40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8923" y="3325734"/>
              <a:ext cx="59133" cy="23653"/>
            </a:xfrm>
            <a:custGeom>
              <a:avLst/>
              <a:gdLst>
                <a:gd name="T0" fmla="*/ 55 w 55"/>
                <a:gd name="T1" fmla="*/ 14 h 22"/>
                <a:gd name="T2" fmla="*/ 1 w 55"/>
                <a:gd name="T3" fmla="*/ 0 h 22"/>
                <a:gd name="T4" fmla="*/ 0 w 55"/>
                <a:gd name="T5" fmla="*/ 8 h 22"/>
                <a:gd name="T6" fmla="*/ 54 w 55"/>
                <a:gd name="T7" fmla="*/ 22 h 22"/>
                <a:gd name="T8" fmla="*/ 55 w 55"/>
                <a:gd name="T9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2">
                  <a:moveTo>
                    <a:pt x="55" y="14"/>
                  </a:moveTo>
                  <a:cubicBezTo>
                    <a:pt x="54" y="14"/>
                    <a:pt x="20" y="13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  <a:cubicBezTo>
                    <a:pt x="21" y="21"/>
                    <a:pt x="53" y="22"/>
                    <a:pt x="54" y="22"/>
                  </a:cubicBezTo>
                  <a:lnTo>
                    <a:pt x="55" y="14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1558">
              <a:extLst>
                <a:ext uri="{FF2B5EF4-FFF2-40B4-BE49-F238E27FC236}">
                  <a16:creationId xmlns:a16="http://schemas.microsoft.com/office/drawing/2014/main" id="{A1F62929-28D2-476E-912E-A33FF3233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649" y="3356666"/>
              <a:ext cx="65501" cy="20469"/>
            </a:xfrm>
            <a:custGeom>
              <a:avLst/>
              <a:gdLst>
                <a:gd name="T0" fmla="*/ 61 w 61"/>
                <a:gd name="T1" fmla="*/ 11 h 19"/>
                <a:gd name="T2" fmla="*/ 0 w 61"/>
                <a:gd name="T3" fmla="*/ 0 h 19"/>
                <a:gd name="T4" fmla="*/ 0 w 61"/>
                <a:gd name="T5" fmla="*/ 8 h 19"/>
                <a:gd name="T6" fmla="*/ 61 w 61"/>
                <a:gd name="T7" fmla="*/ 19 h 19"/>
                <a:gd name="T8" fmla="*/ 61 w 61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9">
                  <a:moveTo>
                    <a:pt x="61" y="11"/>
                  </a:moveTo>
                  <a:cubicBezTo>
                    <a:pt x="61" y="11"/>
                    <a:pt x="26" y="1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6" y="18"/>
                    <a:pt x="59" y="19"/>
                    <a:pt x="61" y="19"/>
                  </a:cubicBezTo>
                  <a:lnTo>
                    <a:pt x="61" y="11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1559">
              <a:extLst>
                <a:ext uri="{FF2B5EF4-FFF2-40B4-BE49-F238E27FC236}">
                  <a16:creationId xmlns:a16="http://schemas.microsoft.com/office/drawing/2014/main" id="{47D3D8C9-1876-43EC-B70D-43F7FAC69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740" y="3388051"/>
              <a:ext cx="69594" cy="15920"/>
            </a:xfrm>
            <a:custGeom>
              <a:avLst/>
              <a:gdLst>
                <a:gd name="T0" fmla="*/ 65 w 65"/>
                <a:gd name="T1" fmla="*/ 7 h 15"/>
                <a:gd name="T2" fmla="*/ 0 w 65"/>
                <a:gd name="T3" fmla="*/ 0 h 15"/>
                <a:gd name="T4" fmla="*/ 0 w 65"/>
                <a:gd name="T5" fmla="*/ 7 h 15"/>
                <a:gd name="T6" fmla="*/ 65 w 65"/>
                <a:gd name="T7" fmla="*/ 15 h 15"/>
                <a:gd name="T8" fmla="*/ 65 w 65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5">
                  <a:moveTo>
                    <a:pt x="65" y="7"/>
                  </a:moveTo>
                  <a:cubicBezTo>
                    <a:pt x="65" y="7"/>
                    <a:pt x="25" y="6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6" y="13"/>
                    <a:pt x="63" y="15"/>
                    <a:pt x="65" y="15"/>
                  </a:cubicBezTo>
                  <a:lnTo>
                    <a:pt x="65" y="7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1560">
              <a:extLst>
                <a:ext uri="{FF2B5EF4-FFF2-40B4-BE49-F238E27FC236}">
                  <a16:creationId xmlns:a16="http://schemas.microsoft.com/office/drawing/2014/main" id="{D2D6004B-1A14-440F-A5CA-7534D4380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649" y="3415797"/>
              <a:ext cx="72323" cy="13190"/>
            </a:xfrm>
            <a:custGeom>
              <a:avLst/>
              <a:gdLst>
                <a:gd name="T0" fmla="*/ 67 w 67"/>
                <a:gd name="T1" fmla="*/ 12 h 12"/>
                <a:gd name="T2" fmla="*/ 67 w 67"/>
                <a:gd name="T3" fmla="*/ 4 h 12"/>
                <a:gd name="T4" fmla="*/ 0 w 67"/>
                <a:gd name="T5" fmla="*/ 0 h 12"/>
                <a:gd name="T6" fmla="*/ 1 w 67"/>
                <a:gd name="T7" fmla="*/ 8 h 12"/>
                <a:gd name="T8" fmla="*/ 50 w 67"/>
                <a:gd name="T9" fmla="*/ 12 h 12"/>
                <a:gd name="T10" fmla="*/ 67 w 67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12">
                  <a:moveTo>
                    <a:pt x="67" y="12"/>
                  </a:moveTo>
                  <a:cubicBezTo>
                    <a:pt x="67" y="4"/>
                    <a:pt x="67" y="4"/>
                    <a:pt x="67" y="4"/>
                  </a:cubicBezTo>
                  <a:cubicBezTo>
                    <a:pt x="66" y="4"/>
                    <a:pt x="23" y="6"/>
                    <a:pt x="0" y="0"/>
                  </a:cubicBezTo>
                  <a:cubicBezTo>
                    <a:pt x="0" y="3"/>
                    <a:pt x="1" y="6"/>
                    <a:pt x="1" y="8"/>
                  </a:cubicBezTo>
                  <a:cubicBezTo>
                    <a:pt x="16" y="12"/>
                    <a:pt x="36" y="12"/>
                    <a:pt x="50" y="12"/>
                  </a:cubicBezTo>
                  <a:cubicBezTo>
                    <a:pt x="60" y="12"/>
                    <a:pt x="66" y="12"/>
                    <a:pt x="67" y="12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1561">
              <a:extLst>
                <a:ext uri="{FF2B5EF4-FFF2-40B4-BE49-F238E27FC236}">
                  <a16:creationId xmlns:a16="http://schemas.microsoft.com/office/drawing/2014/main" id="{2019A952-6E58-46C9-A9EC-A29EDCD08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8923" y="3442634"/>
              <a:ext cx="70048" cy="10918"/>
            </a:xfrm>
            <a:custGeom>
              <a:avLst/>
              <a:gdLst>
                <a:gd name="T0" fmla="*/ 65 w 65"/>
                <a:gd name="T1" fmla="*/ 9 h 10"/>
                <a:gd name="T2" fmla="*/ 65 w 65"/>
                <a:gd name="T3" fmla="*/ 2 h 10"/>
                <a:gd name="T4" fmla="*/ 0 w 65"/>
                <a:gd name="T5" fmla="*/ 0 h 10"/>
                <a:gd name="T6" fmla="*/ 1 w 65"/>
                <a:gd name="T7" fmla="*/ 8 h 10"/>
                <a:gd name="T8" fmla="*/ 38 w 65"/>
                <a:gd name="T9" fmla="*/ 10 h 10"/>
                <a:gd name="T10" fmla="*/ 65 w 65"/>
                <a:gd name="T1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0">
                  <a:moveTo>
                    <a:pt x="65" y="9"/>
                  </a:moveTo>
                  <a:cubicBezTo>
                    <a:pt x="65" y="2"/>
                    <a:pt x="65" y="2"/>
                    <a:pt x="65" y="2"/>
                  </a:cubicBezTo>
                  <a:cubicBezTo>
                    <a:pt x="51" y="3"/>
                    <a:pt x="19" y="4"/>
                    <a:pt x="0" y="0"/>
                  </a:cubicBezTo>
                  <a:cubicBezTo>
                    <a:pt x="0" y="3"/>
                    <a:pt x="1" y="5"/>
                    <a:pt x="1" y="8"/>
                  </a:cubicBezTo>
                  <a:cubicBezTo>
                    <a:pt x="12" y="10"/>
                    <a:pt x="26" y="10"/>
                    <a:pt x="38" y="10"/>
                  </a:cubicBezTo>
                  <a:cubicBezTo>
                    <a:pt x="51" y="10"/>
                    <a:pt x="62" y="10"/>
                    <a:pt x="65" y="9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1562">
              <a:extLst>
                <a:ext uri="{FF2B5EF4-FFF2-40B4-BE49-F238E27FC236}">
                  <a16:creationId xmlns:a16="http://schemas.microsoft.com/office/drawing/2014/main" id="{5EE51576-5C26-4F63-B5B5-551D00A07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4382" y="3302992"/>
              <a:ext cx="67776" cy="21833"/>
            </a:xfrm>
            <a:custGeom>
              <a:avLst/>
              <a:gdLst>
                <a:gd name="T0" fmla="*/ 63 w 63"/>
                <a:gd name="T1" fmla="*/ 20 h 20"/>
                <a:gd name="T2" fmla="*/ 63 w 63"/>
                <a:gd name="T3" fmla="*/ 13 h 20"/>
                <a:gd name="T4" fmla="*/ 63 w 63"/>
                <a:gd name="T5" fmla="*/ 13 h 20"/>
                <a:gd name="T6" fmla="*/ 2 w 63"/>
                <a:gd name="T7" fmla="*/ 0 h 20"/>
                <a:gd name="T8" fmla="*/ 0 w 63"/>
                <a:gd name="T9" fmla="*/ 7 h 20"/>
                <a:gd name="T10" fmla="*/ 63 w 63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20">
                  <a:moveTo>
                    <a:pt x="63" y="20"/>
                  </a:moveTo>
                  <a:cubicBezTo>
                    <a:pt x="63" y="13"/>
                    <a:pt x="63" y="13"/>
                    <a:pt x="63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33" y="13"/>
                    <a:pt x="12" y="4"/>
                    <a:pt x="2" y="0"/>
                  </a:cubicBezTo>
                  <a:cubicBezTo>
                    <a:pt x="1" y="2"/>
                    <a:pt x="0" y="4"/>
                    <a:pt x="0" y="7"/>
                  </a:cubicBezTo>
                  <a:cubicBezTo>
                    <a:pt x="11" y="12"/>
                    <a:pt x="33" y="20"/>
                    <a:pt x="63" y="2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1563">
              <a:extLst>
                <a:ext uri="{FF2B5EF4-FFF2-40B4-BE49-F238E27FC236}">
                  <a16:creationId xmlns:a16="http://schemas.microsoft.com/office/drawing/2014/main" id="{D917E646-0D81-429C-A010-0E26EDC1F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353" y="3450368"/>
              <a:ext cx="99160" cy="201959"/>
            </a:xfrm>
            <a:custGeom>
              <a:avLst/>
              <a:gdLst>
                <a:gd name="T0" fmla="*/ 92 w 92"/>
                <a:gd name="T1" fmla="*/ 37 h 188"/>
                <a:gd name="T2" fmla="*/ 32 w 92"/>
                <a:gd name="T3" fmla="*/ 19 h 188"/>
                <a:gd name="T4" fmla="*/ 92 w 92"/>
                <a:gd name="T5" fmla="*/ 188 h 188"/>
                <a:gd name="T6" fmla="*/ 92 w 92"/>
                <a:gd name="T7" fmla="*/ 3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88">
                  <a:moveTo>
                    <a:pt x="92" y="37"/>
                  </a:moveTo>
                  <a:cubicBezTo>
                    <a:pt x="92" y="37"/>
                    <a:pt x="67" y="0"/>
                    <a:pt x="32" y="19"/>
                  </a:cubicBezTo>
                  <a:cubicBezTo>
                    <a:pt x="0" y="36"/>
                    <a:pt x="20" y="167"/>
                    <a:pt x="92" y="188"/>
                  </a:cubicBezTo>
                  <a:lnTo>
                    <a:pt x="92" y="37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1564">
              <a:extLst>
                <a:ext uri="{FF2B5EF4-FFF2-40B4-BE49-F238E27FC236}">
                  <a16:creationId xmlns:a16="http://schemas.microsoft.com/office/drawing/2014/main" id="{C95C89BE-14BA-40E7-AA15-04B8D7563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425" y="3450368"/>
              <a:ext cx="100070" cy="201959"/>
            </a:xfrm>
            <a:custGeom>
              <a:avLst/>
              <a:gdLst>
                <a:gd name="T0" fmla="*/ 0 w 93"/>
                <a:gd name="T1" fmla="*/ 37 h 188"/>
                <a:gd name="T2" fmla="*/ 61 w 93"/>
                <a:gd name="T3" fmla="*/ 19 h 188"/>
                <a:gd name="T4" fmla="*/ 0 w 93"/>
                <a:gd name="T5" fmla="*/ 188 h 188"/>
                <a:gd name="T6" fmla="*/ 0 w 93"/>
                <a:gd name="T7" fmla="*/ 3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" h="188">
                  <a:moveTo>
                    <a:pt x="0" y="37"/>
                  </a:moveTo>
                  <a:cubicBezTo>
                    <a:pt x="0" y="37"/>
                    <a:pt x="26" y="0"/>
                    <a:pt x="61" y="19"/>
                  </a:cubicBezTo>
                  <a:cubicBezTo>
                    <a:pt x="93" y="36"/>
                    <a:pt x="72" y="167"/>
                    <a:pt x="0" y="188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1565">
              <a:extLst>
                <a:ext uri="{FF2B5EF4-FFF2-40B4-BE49-F238E27FC236}">
                  <a16:creationId xmlns:a16="http://schemas.microsoft.com/office/drawing/2014/main" id="{FC0AB11F-563F-4579-9690-6A823F68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8503" y="3297533"/>
              <a:ext cx="549021" cy="466692"/>
            </a:xfrm>
            <a:custGeom>
              <a:avLst/>
              <a:gdLst>
                <a:gd name="T0" fmla="*/ 511 w 511"/>
                <a:gd name="T1" fmla="*/ 359 h 434"/>
                <a:gd name="T2" fmla="*/ 256 w 511"/>
                <a:gd name="T3" fmla="*/ 434 h 434"/>
                <a:gd name="T4" fmla="*/ 0 w 511"/>
                <a:gd name="T5" fmla="*/ 359 h 434"/>
                <a:gd name="T6" fmla="*/ 0 w 511"/>
                <a:gd name="T7" fmla="*/ 43 h 434"/>
                <a:gd name="T8" fmla="*/ 44 w 511"/>
                <a:gd name="T9" fmla="*/ 0 h 434"/>
                <a:gd name="T10" fmla="*/ 468 w 511"/>
                <a:gd name="T11" fmla="*/ 0 h 434"/>
                <a:gd name="T12" fmla="*/ 511 w 511"/>
                <a:gd name="T13" fmla="*/ 43 h 434"/>
                <a:gd name="T14" fmla="*/ 511 w 511"/>
                <a:gd name="T15" fmla="*/ 359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1" h="434">
                  <a:moveTo>
                    <a:pt x="511" y="359"/>
                  </a:moveTo>
                  <a:cubicBezTo>
                    <a:pt x="511" y="359"/>
                    <a:pt x="455" y="434"/>
                    <a:pt x="256" y="434"/>
                  </a:cubicBezTo>
                  <a:cubicBezTo>
                    <a:pt x="56" y="434"/>
                    <a:pt x="0" y="359"/>
                    <a:pt x="0" y="35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468" y="0"/>
                    <a:pt x="468" y="0"/>
                    <a:pt x="468" y="0"/>
                  </a:cubicBezTo>
                  <a:cubicBezTo>
                    <a:pt x="492" y="0"/>
                    <a:pt x="511" y="19"/>
                    <a:pt x="511" y="43"/>
                  </a:cubicBezTo>
                  <a:lnTo>
                    <a:pt x="511" y="359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Oval 1566">
              <a:extLst>
                <a:ext uri="{FF2B5EF4-FFF2-40B4-BE49-F238E27FC236}">
                  <a16:creationId xmlns:a16="http://schemas.microsoft.com/office/drawing/2014/main" id="{0BD04443-6EF0-4003-A949-69710BB4F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2198" y="3476295"/>
              <a:ext cx="61408" cy="60951"/>
            </a:xfrm>
            <a:prstGeom prst="ellipse">
              <a:avLst/>
            </a:prstGeom>
            <a:solidFill>
              <a:srgbClr val="3A33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1567">
              <a:extLst>
                <a:ext uri="{FF2B5EF4-FFF2-40B4-BE49-F238E27FC236}">
                  <a16:creationId xmlns:a16="http://schemas.microsoft.com/office/drawing/2014/main" id="{54E95B05-033D-4B56-9A4E-24D249781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4025" y="3479480"/>
              <a:ext cx="24562" cy="15920"/>
            </a:xfrm>
            <a:custGeom>
              <a:avLst/>
              <a:gdLst>
                <a:gd name="T0" fmla="*/ 23 w 23"/>
                <a:gd name="T1" fmla="*/ 5 h 15"/>
                <a:gd name="T2" fmla="*/ 13 w 23"/>
                <a:gd name="T3" fmla="*/ 14 h 15"/>
                <a:gd name="T4" fmla="*/ 1 w 23"/>
                <a:gd name="T5" fmla="*/ 10 h 15"/>
                <a:gd name="T6" fmla="*/ 11 w 23"/>
                <a:gd name="T7" fmla="*/ 1 h 15"/>
                <a:gd name="T8" fmla="*/ 23 w 23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5"/>
                  </a:moveTo>
                  <a:cubicBezTo>
                    <a:pt x="23" y="9"/>
                    <a:pt x="19" y="12"/>
                    <a:pt x="13" y="14"/>
                  </a:cubicBezTo>
                  <a:cubicBezTo>
                    <a:pt x="7" y="15"/>
                    <a:pt x="2" y="13"/>
                    <a:pt x="1" y="10"/>
                  </a:cubicBezTo>
                  <a:cubicBezTo>
                    <a:pt x="0" y="6"/>
                    <a:pt x="5" y="2"/>
                    <a:pt x="11" y="1"/>
                  </a:cubicBezTo>
                  <a:cubicBezTo>
                    <a:pt x="17" y="0"/>
                    <a:pt x="22" y="2"/>
                    <a:pt x="23" y="5"/>
                  </a:cubicBezTo>
                  <a:close/>
                </a:path>
              </a:pathLst>
            </a:custGeom>
            <a:solidFill>
              <a:srgbClr val="E8DF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1568">
              <a:extLst>
                <a:ext uri="{FF2B5EF4-FFF2-40B4-BE49-F238E27FC236}">
                  <a16:creationId xmlns:a16="http://schemas.microsoft.com/office/drawing/2014/main" id="{9CECDE80-6082-43BA-AFCB-0C87D3733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5809" y="3393509"/>
              <a:ext cx="109623" cy="63226"/>
            </a:xfrm>
            <a:custGeom>
              <a:avLst/>
              <a:gdLst>
                <a:gd name="T0" fmla="*/ 0 w 241"/>
                <a:gd name="T1" fmla="*/ 0 h 139"/>
                <a:gd name="T2" fmla="*/ 4 w 241"/>
                <a:gd name="T3" fmla="*/ 78 h 139"/>
                <a:gd name="T4" fmla="*/ 241 w 241"/>
                <a:gd name="T5" fmla="*/ 139 h 139"/>
                <a:gd name="T6" fmla="*/ 241 w 241"/>
                <a:gd name="T7" fmla="*/ 66 h 139"/>
                <a:gd name="T8" fmla="*/ 0 w 241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0"/>
                  </a:moveTo>
                  <a:lnTo>
                    <a:pt x="4" y="78"/>
                  </a:lnTo>
                  <a:lnTo>
                    <a:pt x="241" y="139"/>
                  </a:lnTo>
                  <a:lnTo>
                    <a:pt x="241" y="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Oval 1569">
              <a:extLst>
                <a:ext uri="{FF2B5EF4-FFF2-40B4-BE49-F238E27FC236}">
                  <a16:creationId xmlns:a16="http://schemas.microsoft.com/office/drawing/2014/main" id="{2C2378A8-4EFE-407B-BEA3-AD7E6B1B8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6516" y="3476295"/>
              <a:ext cx="61408" cy="60951"/>
            </a:xfrm>
            <a:prstGeom prst="ellipse">
              <a:avLst/>
            </a:prstGeom>
            <a:solidFill>
              <a:srgbClr val="3A33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1570">
              <a:extLst>
                <a:ext uri="{FF2B5EF4-FFF2-40B4-BE49-F238E27FC236}">
                  <a16:creationId xmlns:a16="http://schemas.microsoft.com/office/drawing/2014/main" id="{C76B4A0E-6B15-4212-8EBD-0E5AD36D2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8343" y="3479480"/>
              <a:ext cx="25017" cy="15920"/>
            </a:xfrm>
            <a:custGeom>
              <a:avLst/>
              <a:gdLst>
                <a:gd name="T0" fmla="*/ 22 w 23"/>
                <a:gd name="T1" fmla="*/ 5 h 15"/>
                <a:gd name="T2" fmla="*/ 12 w 23"/>
                <a:gd name="T3" fmla="*/ 14 h 15"/>
                <a:gd name="T4" fmla="*/ 0 w 23"/>
                <a:gd name="T5" fmla="*/ 10 h 15"/>
                <a:gd name="T6" fmla="*/ 10 w 23"/>
                <a:gd name="T7" fmla="*/ 1 h 15"/>
                <a:gd name="T8" fmla="*/ 22 w 23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2" y="5"/>
                  </a:moveTo>
                  <a:cubicBezTo>
                    <a:pt x="23" y="9"/>
                    <a:pt x="18" y="12"/>
                    <a:pt x="12" y="14"/>
                  </a:cubicBezTo>
                  <a:cubicBezTo>
                    <a:pt x="6" y="15"/>
                    <a:pt x="1" y="13"/>
                    <a:pt x="0" y="10"/>
                  </a:cubicBezTo>
                  <a:cubicBezTo>
                    <a:pt x="0" y="6"/>
                    <a:pt x="4" y="2"/>
                    <a:pt x="10" y="1"/>
                  </a:cubicBezTo>
                  <a:cubicBezTo>
                    <a:pt x="16" y="0"/>
                    <a:pt x="21" y="2"/>
                    <a:pt x="22" y="5"/>
                  </a:cubicBezTo>
                  <a:close/>
                </a:path>
              </a:pathLst>
            </a:custGeom>
            <a:solidFill>
              <a:srgbClr val="E8DF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1571">
              <a:extLst>
                <a:ext uri="{FF2B5EF4-FFF2-40B4-BE49-F238E27FC236}">
                  <a16:creationId xmlns:a16="http://schemas.microsoft.com/office/drawing/2014/main" id="{BE7DE29A-5D9C-4A58-B018-5AC1FDA1A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4689" y="3393509"/>
              <a:ext cx="109623" cy="63226"/>
            </a:xfrm>
            <a:custGeom>
              <a:avLst/>
              <a:gdLst>
                <a:gd name="T0" fmla="*/ 241 w 241"/>
                <a:gd name="T1" fmla="*/ 0 h 139"/>
                <a:gd name="T2" fmla="*/ 237 w 241"/>
                <a:gd name="T3" fmla="*/ 78 h 139"/>
                <a:gd name="T4" fmla="*/ 0 w 241"/>
                <a:gd name="T5" fmla="*/ 139 h 139"/>
                <a:gd name="T6" fmla="*/ 0 w 241"/>
                <a:gd name="T7" fmla="*/ 66 h 139"/>
                <a:gd name="T8" fmla="*/ 241 w 241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241" y="0"/>
                  </a:moveTo>
                  <a:lnTo>
                    <a:pt x="237" y="78"/>
                  </a:lnTo>
                  <a:lnTo>
                    <a:pt x="0" y="139"/>
                  </a:lnTo>
                  <a:lnTo>
                    <a:pt x="0" y="66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574">
              <a:extLst>
                <a:ext uri="{FF2B5EF4-FFF2-40B4-BE49-F238E27FC236}">
                  <a16:creationId xmlns:a16="http://schemas.microsoft.com/office/drawing/2014/main" id="{160A43D1-6D0D-4744-B7B6-A50AAE1A7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758" y="3559080"/>
              <a:ext cx="83695" cy="22290"/>
            </a:xfrm>
            <a:custGeom>
              <a:avLst/>
              <a:gdLst>
                <a:gd name="T0" fmla="*/ 38 w 78"/>
                <a:gd name="T1" fmla="*/ 0 h 21"/>
                <a:gd name="T2" fmla="*/ 78 w 78"/>
                <a:gd name="T3" fmla="*/ 21 h 21"/>
                <a:gd name="T4" fmla="*/ 39 w 78"/>
                <a:gd name="T5" fmla="*/ 10 h 21"/>
                <a:gd name="T6" fmla="*/ 0 w 78"/>
                <a:gd name="T7" fmla="*/ 21 h 21"/>
                <a:gd name="T8" fmla="*/ 38 w 7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21">
                  <a:moveTo>
                    <a:pt x="38" y="0"/>
                  </a:moveTo>
                  <a:cubicBezTo>
                    <a:pt x="63" y="0"/>
                    <a:pt x="78" y="21"/>
                    <a:pt x="78" y="21"/>
                  </a:cubicBezTo>
                  <a:cubicBezTo>
                    <a:pt x="78" y="21"/>
                    <a:pt x="60" y="10"/>
                    <a:pt x="39" y="10"/>
                  </a:cubicBezTo>
                  <a:cubicBezTo>
                    <a:pt x="18" y="10"/>
                    <a:pt x="0" y="21"/>
                    <a:pt x="0" y="21"/>
                  </a:cubicBezTo>
                  <a:cubicBezTo>
                    <a:pt x="0" y="21"/>
                    <a:pt x="13" y="0"/>
                    <a:pt x="38" y="0"/>
                  </a:cubicBezTo>
                  <a:close/>
                </a:path>
              </a:pathLst>
            </a:custGeom>
            <a:solidFill>
              <a:srgbClr val="EFC4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1545">
              <a:extLst>
                <a:ext uri="{FF2B5EF4-FFF2-40B4-BE49-F238E27FC236}">
                  <a16:creationId xmlns:a16="http://schemas.microsoft.com/office/drawing/2014/main" id="{2C0AED71-E8F5-4455-B1E9-1163771C0C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77378" y="3916580"/>
              <a:ext cx="57313" cy="267460"/>
            </a:xfrm>
            <a:custGeom>
              <a:avLst/>
              <a:gdLst>
                <a:gd name="T0" fmla="*/ 0 w 53"/>
                <a:gd name="T1" fmla="*/ 0 h 249"/>
                <a:gd name="T2" fmla="*/ 35 w 53"/>
                <a:gd name="T3" fmla="*/ 249 h 249"/>
                <a:gd name="T4" fmla="*/ 53 w 53"/>
                <a:gd name="T5" fmla="*/ 249 h 249"/>
                <a:gd name="T6" fmla="*/ 0 w 53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49">
                  <a:moveTo>
                    <a:pt x="0" y="0"/>
                  </a:moveTo>
                  <a:cubicBezTo>
                    <a:pt x="14" y="69"/>
                    <a:pt x="27" y="180"/>
                    <a:pt x="35" y="249"/>
                  </a:cubicBezTo>
                  <a:cubicBezTo>
                    <a:pt x="53" y="249"/>
                    <a:pt x="53" y="249"/>
                    <a:pt x="53" y="249"/>
                  </a:cubicBezTo>
                  <a:cubicBezTo>
                    <a:pt x="37" y="14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105" name="组合 104">
              <a:extLst>
                <a:ext uri="{FF2B5EF4-FFF2-40B4-BE49-F238E27FC236}">
                  <a16:creationId xmlns:a16="http://schemas.microsoft.com/office/drawing/2014/main" id="{F6BEDBB0-A6D7-409B-96F3-451ED46C7C05}"/>
                </a:ext>
              </a:extLst>
            </p:cNvPr>
            <p:cNvGrpSpPr/>
            <p:nvPr/>
          </p:nvGrpSpPr>
          <p:grpSpPr>
            <a:xfrm>
              <a:off x="6001272" y="3658928"/>
              <a:ext cx="175557" cy="63031"/>
              <a:chOff x="7311428" y="3676256"/>
              <a:chExt cx="175557" cy="63031"/>
            </a:xfrm>
          </p:grpSpPr>
          <p:sp>
            <p:nvSpPr>
              <p:cNvPr id="26" name="Freeform 1665">
                <a:extLst>
                  <a:ext uri="{FF2B5EF4-FFF2-40B4-BE49-F238E27FC236}">
                    <a16:creationId xmlns:a16="http://schemas.microsoft.com/office/drawing/2014/main" id="{57208567-C0EA-40DB-B265-BB6A7486B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1428" y="3676256"/>
                <a:ext cx="175557" cy="63031"/>
              </a:xfrm>
              <a:custGeom>
                <a:avLst/>
                <a:gdLst>
                  <a:gd name="T0" fmla="*/ 23 w 192"/>
                  <a:gd name="T1" fmla="*/ 9 h 69"/>
                  <a:gd name="T2" fmla="*/ 169 w 192"/>
                  <a:gd name="T3" fmla="*/ 0 h 69"/>
                  <a:gd name="T4" fmla="*/ 96 w 192"/>
                  <a:gd name="T5" fmla="*/ 68 h 69"/>
                  <a:gd name="T6" fmla="*/ 23 w 192"/>
                  <a:gd name="T7" fmla="*/ 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2" h="69">
                    <a:moveTo>
                      <a:pt x="23" y="9"/>
                    </a:moveTo>
                    <a:cubicBezTo>
                      <a:pt x="23" y="9"/>
                      <a:pt x="107" y="15"/>
                      <a:pt x="169" y="0"/>
                    </a:cubicBezTo>
                    <a:cubicBezTo>
                      <a:pt x="169" y="0"/>
                      <a:pt x="192" y="69"/>
                      <a:pt x="96" y="68"/>
                    </a:cubicBezTo>
                    <a:cubicBezTo>
                      <a:pt x="0" y="67"/>
                      <a:pt x="23" y="9"/>
                      <a:pt x="23" y="9"/>
                    </a:cubicBezTo>
                    <a:close/>
                  </a:path>
                </a:pathLst>
              </a:custGeom>
              <a:solidFill>
                <a:srgbClr val="49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" name="Freeform 1666">
                <a:extLst>
                  <a:ext uri="{FF2B5EF4-FFF2-40B4-BE49-F238E27FC236}">
                    <a16:creationId xmlns:a16="http://schemas.microsoft.com/office/drawing/2014/main" id="{DAF78240-C8E0-4312-8994-C657D08FD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0871" y="3703711"/>
                <a:ext cx="104019" cy="34803"/>
              </a:xfrm>
              <a:custGeom>
                <a:avLst/>
                <a:gdLst>
                  <a:gd name="T0" fmla="*/ 59 w 114"/>
                  <a:gd name="T1" fmla="*/ 0 h 38"/>
                  <a:gd name="T2" fmla="*/ 0 w 114"/>
                  <a:gd name="T3" fmla="*/ 28 h 38"/>
                  <a:gd name="T4" fmla="*/ 53 w 114"/>
                  <a:gd name="T5" fmla="*/ 38 h 38"/>
                  <a:gd name="T6" fmla="*/ 114 w 114"/>
                  <a:gd name="T7" fmla="*/ 21 h 38"/>
                  <a:gd name="T8" fmla="*/ 59 w 11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38">
                    <a:moveTo>
                      <a:pt x="59" y="0"/>
                    </a:moveTo>
                    <a:cubicBezTo>
                      <a:pt x="32" y="0"/>
                      <a:pt x="9" y="11"/>
                      <a:pt x="0" y="28"/>
                    </a:cubicBezTo>
                    <a:cubicBezTo>
                      <a:pt x="12" y="34"/>
                      <a:pt x="28" y="38"/>
                      <a:pt x="53" y="38"/>
                    </a:cubicBezTo>
                    <a:cubicBezTo>
                      <a:pt x="84" y="38"/>
                      <a:pt x="103" y="31"/>
                      <a:pt x="114" y="21"/>
                    </a:cubicBezTo>
                    <a:cubicBezTo>
                      <a:pt x="103" y="8"/>
                      <a:pt x="83" y="0"/>
                      <a:pt x="59" y="0"/>
                    </a:cubicBezTo>
                    <a:close/>
                  </a:path>
                </a:pathLst>
              </a:custGeom>
              <a:solidFill>
                <a:srgbClr val="C650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145" name="文本框 144">
            <a:extLst>
              <a:ext uri="{FF2B5EF4-FFF2-40B4-BE49-F238E27FC236}">
                <a16:creationId xmlns:a16="http://schemas.microsoft.com/office/drawing/2014/main" id="{DF2BD40D-C764-4679-BF70-9B2D814D8902}"/>
              </a:ext>
            </a:extLst>
          </p:cNvPr>
          <p:cNvSpPr txBox="1"/>
          <p:nvPr/>
        </p:nvSpPr>
        <p:spPr>
          <a:xfrm>
            <a:off x="5389403" y="6133696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rgbClr val="393C3D"/>
                </a:solidFill>
                <a:latin typeface="+mj-ea"/>
                <a:ea typeface="+mj-ea"/>
              </a:rPr>
              <a:t>家长省心</a:t>
            </a:r>
          </a:p>
        </p:txBody>
      </p: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339FA6A6-1B78-48F7-8A49-B63C4A1BC2DA}"/>
              </a:ext>
            </a:extLst>
          </p:cNvPr>
          <p:cNvGrpSpPr/>
          <p:nvPr/>
        </p:nvGrpSpPr>
        <p:grpSpPr>
          <a:xfrm>
            <a:off x="8117140" y="4357113"/>
            <a:ext cx="1249418" cy="1665470"/>
            <a:chOff x="8334558" y="4532710"/>
            <a:chExt cx="670584" cy="831512"/>
          </a:xfrm>
        </p:grpSpPr>
        <p:sp>
          <p:nvSpPr>
            <p:cNvPr id="107" name="Freeform 442">
              <a:extLst>
                <a:ext uri="{FF2B5EF4-FFF2-40B4-BE49-F238E27FC236}">
                  <a16:creationId xmlns:a16="http://schemas.microsoft.com/office/drawing/2014/main" id="{58281967-1D9D-49D2-9D3E-471C65420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2390" y="5204165"/>
              <a:ext cx="82752" cy="138894"/>
            </a:xfrm>
            <a:custGeom>
              <a:avLst/>
              <a:gdLst>
                <a:gd name="T0" fmla="*/ 0 w 108"/>
                <a:gd name="T1" fmla="*/ 20 h 181"/>
                <a:gd name="T2" fmla="*/ 55 w 108"/>
                <a:gd name="T3" fmla="*/ 20 h 181"/>
                <a:gd name="T4" fmla="*/ 7 w 108"/>
                <a:gd name="T5" fmla="*/ 172 h 181"/>
                <a:gd name="T6" fmla="*/ 0 w 108"/>
                <a:gd name="T7" fmla="*/ 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81">
                  <a:moveTo>
                    <a:pt x="0" y="20"/>
                  </a:moveTo>
                  <a:cubicBezTo>
                    <a:pt x="0" y="20"/>
                    <a:pt x="33" y="0"/>
                    <a:pt x="55" y="20"/>
                  </a:cubicBezTo>
                  <a:cubicBezTo>
                    <a:pt x="77" y="40"/>
                    <a:pt x="108" y="181"/>
                    <a:pt x="7" y="172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6B46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Freeform 444">
              <a:extLst>
                <a:ext uri="{FF2B5EF4-FFF2-40B4-BE49-F238E27FC236}">
                  <a16:creationId xmlns:a16="http://schemas.microsoft.com/office/drawing/2014/main" id="{73B52406-AD0D-48CD-B9F3-D8445278E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2200" y="4993283"/>
              <a:ext cx="334902" cy="357943"/>
            </a:xfrm>
            <a:custGeom>
              <a:avLst/>
              <a:gdLst>
                <a:gd name="T0" fmla="*/ 207 w 437"/>
                <a:gd name="T1" fmla="*/ 0 h 467"/>
                <a:gd name="T2" fmla="*/ 0 w 437"/>
                <a:gd name="T3" fmla="*/ 264 h 467"/>
                <a:gd name="T4" fmla="*/ 149 w 437"/>
                <a:gd name="T5" fmla="*/ 467 h 467"/>
                <a:gd name="T6" fmla="*/ 398 w 437"/>
                <a:gd name="T7" fmla="*/ 467 h 467"/>
                <a:gd name="T8" fmla="*/ 422 w 437"/>
                <a:gd name="T9" fmla="*/ 257 h 467"/>
                <a:gd name="T10" fmla="*/ 207 w 437"/>
                <a:gd name="T11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7" h="467">
                  <a:moveTo>
                    <a:pt x="207" y="0"/>
                  </a:moveTo>
                  <a:cubicBezTo>
                    <a:pt x="93" y="0"/>
                    <a:pt x="0" y="118"/>
                    <a:pt x="0" y="264"/>
                  </a:cubicBezTo>
                  <a:cubicBezTo>
                    <a:pt x="0" y="352"/>
                    <a:pt x="69" y="424"/>
                    <a:pt x="149" y="467"/>
                  </a:cubicBezTo>
                  <a:cubicBezTo>
                    <a:pt x="398" y="467"/>
                    <a:pt x="398" y="467"/>
                    <a:pt x="398" y="467"/>
                  </a:cubicBezTo>
                  <a:cubicBezTo>
                    <a:pt x="432" y="421"/>
                    <a:pt x="437" y="344"/>
                    <a:pt x="422" y="257"/>
                  </a:cubicBezTo>
                  <a:cubicBezTo>
                    <a:pt x="398" y="113"/>
                    <a:pt x="321" y="0"/>
                    <a:pt x="207" y="0"/>
                  </a:cubicBezTo>
                  <a:close/>
                </a:path>
              </a:pathLst>
            </a:custGeom>
            <a:solidFill>
              <a:srgbClr val="7F57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Freeform 445">
              <a:extLst>
                <a:ext uri="{FF2B5EF4-FFF2-40B4-BE49-F238E27FC236}">
                  <a16:creationId xmlns:a16="http://schemas.microsoft.com/office/drawing/2014/main" id="{7F703F6C-5FE5-4094-ACB5-2520C911D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3743" y="4986042"/>
              <a:ext cx="92164" cy="89567"/>
            </a:xfrm>
            <a:custGeom>
              <a:avLst/>
              <a:gdLst>
                <a:gd name="T0" fmla="*/ 117 w 120"/>
                <a:gd name="T1" fmla="*/ 117 h 117"/>
                <a:gd name="T2" fmla="*/ 90 w 120"/>
                <a:gd name="T3" fmla="*/ 115 h 117"/>
                <a:gd name="T4" fmla="*/ 73 w 120"/>
                <a:gd name="T5" fmla="*/ 52 h 117"/>
                <a:gd name="T6" fmla="*/ 3 w 120"/>
                <a:gd name="T7" fmla="*/ 31 h 117"/>
                <a:gd name="T8" fmla="*/ 0 w 120"/>
                <a:gd name="T9" fmla="*/ 5 h 117"/>
                <a:gd name="T10" fmla="*/ 91 w 120"/>
                <a:gd name="T11" fmla="*/ 34 h 117"/>
                <a:gd name="T12" fmla="*/ 117 w 120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17">
                  <a:moveTo>
                    <a:pt x="117" y="117"/>
                  </a:moveTo>
                  <a:cubicBezTo>
                    <a:pt x="90" y="115"/>
                    <a:pt x="90" y="115"/>
                    <a:pt x="90" y="115"/>
                  </a:cubicBezTo>
                  <a:cubicBezTo>
                    <a:pt x="93" y="87"/>
                    <a:pt x="87" y="66"/>
                    <a:pt x="73" y="52"/>
                  </a:cubicBezTo>
                  <a:cubicBezTo>
                    <a:pt x="47" y="27"/>
                    <a:pt x="3" y="31"/>
                    <a:pt x="3" y="3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57" y="0"/>
                    <a:pt x="91" y="34"/>
                  </a:cubicBezTo>
                  <a:cubicBezTo>
                    <a:pt x="111" y="53"/>
                    <a:pt x="120" y="81"/>
                    <a:pt x="117" y="117"/>
                  </a:cubicBezTo>
                  <a:close/>
                </a:path>
              </a:pathLst>
            </a:custGeom>
            <a:solidFill>
              <a:srgbClr val="4C3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110" name="组合 109">
              <a:extLst>
                <a:ext uri="{FF2B5EF4-FFF2-40B4-BE49-F238E27FC236}">
                  <a16:creationId xmlns:a16="http://schemas.microsoft.com/office/drawing/2014/main" id="{E8D56DB2-0DE4-4A26-B2D1-FF06FA00F719}"/>
                </a:ext>
              </a:extLst>
            </p:cNvPr>
            <p:cNvGrpSpPr/>
            <p:nvPr/>
          </p:nvGrpSpPr>
          <p:grpSpPr>
            <a:xfrm>
              <a:off x="8334558" y="4532710"/>
              <a:ext cx="606219" cy="820514"/>
              <a:chOff x="5519702" y="1424538"/>
              <a:chExt cx="361046" cy="488675"/>
            </a:xfrm>
          </p:grpSpPr>
          <p:sp>
            <p:nvSpPr>
              <p:cNvPr id="112" name="Freeform 1207">
                <a:extLst>
                  <a:ext uri="{FF2B5EF4-FFF2-40B4-BE49-F238E27FC236}">
                    <a16:creationId xmlns:a16="http://schemas.microsoft.com/office/drawing/2014/main" id="{F5814CEA-9BDE-4DEE-997C-F87739FAB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0264" y="1901105"/>
                <a:ext cx="58950" cy="12108"/>
              </a:xfrm>
              <a:custGeom>
                <a:avLst/>
                <a:gdLst>
                  <a:gd name="T0" fmla="*/ 0 w 126"/>
                  <a:gd name="T1" fmla="*/ 26 h 26"/>
                  <a:gd name="T2" fmla="*/ 124 w 126"/>
                  <a:gd name="T3" fmla="*/ 26 h 26"/>
                  <a:gd name="T4" fmla="*/ 126 w 126"/>
                  <a:gd name="T5" fmla="*/ 9 h 26"/>
                  <a:gd name="T6" fmla="*/ 4 w 126"/>
                  <a:gd name="T7" fmla="*/ 0 h 26"/>
                  <a:gd name="T8" fmla="*/ 0 w 126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26">
                    <a:moveTo>
                      <a:pt x="0" y="26"/>
                    </a:moveTo>
                    <a:cubicBezTo>
                      <a:pt x="124" y="26"/>
                      <a:pt x="124" y="26"/>
                      <a:pt x="124" y="26"/>
                    </a:cubicBezTo>
                    <a:cubicBezTo>
                      <a:pt x="126" y="14"/>
                      <a:pt x="126" y="9"/>
                      <a:pt x="126" y="9"/>
                    </a:cubicBezTo>
                    <a:cubicBezTo>
                      <a:pt x="126" y="9"/>
                      <a:pt x="70" y="8"/>
                      <a:pt x="4" y="0"/>
                    </a:cubicBez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D88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" name="Freeform 1208">
                <a:extLst>
                  <a:ext uri="{FF2B5EF4-FFF2-40B4-BE49-F238E27FC236}">
                    <a16:creationId xmlns:a16="http://schemas.microsoft.com/office/drawing/2014/main" id="{42CC2BD5-E3D7-4CA9-8FEC-B75F899348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272" y="1711153"/>
                <a:ext cx="96663" cy="199281"/>
              </a:xfrm>
              <a:custGeom>
                <a:avLst/>
                <a:gdLst>
                  <a:gd name="T0" fmla="*/ 168 w 206"/>
                  <a:gd name="T1" fmla="*/ 23 h 425"/>
                  <a:gd name="T2" fmla="*/ 0 w 206"/>
                  <a:gd name="T3" fmla="*/ 411 h 425"/>
                  <a:gd name="T4" fmla="*/ 142 w 206"/>
                  <a:gd name="T5" fmla="*/ 425 h 425"/>
                  <a:gd name="T6" fmla="*/ 206 w 206"/>
                  <a:gd name="T7" fmla="*/ 36 h 425"/>
                  <a:gd name="T8" fmla="*/ 168 w 206"/>
                  <a:gd name="T9" fmla="*/ 23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425">
                    <a:moveTo>
                      <a:pt x="168" y="23"/>
                    </a:moveTo>
                    <a:cubicBezTo>
                      <a:pt x="168" y="23"/>
                      <a:pt x="36" y="153"/>
                      <a:pt x="0" y="411"/>
                    </a:cubicBezTo>
                    <a:cubicBezTo>
                      <a:pt x="142" y="425"/>
                      <a:pt x="142" y="425"/>
                      <a:pt x="142" y="425"/>
                    </a:cubicBezTo>
                    <a:cubicBezTo>
                      <a:pt x="142" y="425"/>
                      <a:pt x="206" y="113"/>
                      <a:pt x="206" y="36"/>
                    </a:cubicBezTo>
                    <a:cubicBezTo>
                      <a:pt x="206" y="36"/>
                      <a:pt x="196" y="0"/>
                      <a:pt x="168" y="23"/>
                    </a:cubicBez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" name="Freeform 1209">
                <a:extLst>
                  <a:ext uri="{FF2B5EF4-FFF2-40B4-BE49-F238E27FC236}">
                    <a16:creationId xmlns:a16="http://schemas.microsoft.com/office/drawing/2014/main" id="{DB4AA473-1756-4B63-B812-660639E204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6493" y="1737752"/>
                <a:ext cx="85746" cy="170699"/>
              </a:xfrm>
              <a:custGeom>
                <a:avLst/>
                <a:gdLst>
                  <a:gd name="T0" fmla="*/ 183 w 183"/>
                  <a:gd name="T1" fmla="*/ 1 h 364"/>
                  <a:gd name="T2" fmla="*/ 104 w 183"/>
                  <a:gd name="T3" fmla="*/ 87 h 364"/>
                  <a:gd name="T4" fmla="*/ 63 w 183"/>
                  <a:gd name="T5" fmla="*/ 341 h 364"/>
                  <a:gd name="T6" fmla="*/ 135 w 183"/>
                  <a:gd name="T7" fmla="*/ 272 h 364"/>
                  <a:gd name="T8" fmla="*/ 183 w 183"/>
                  <a:gd name="T9" fmla="*/ 1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364">
                    <a:moveTo>
                      <a:pt x="183" y="1"/>
                    </a:moveTo>
                    <a:cubicBezTo>
                      <a:pt x="183" y="1"/>
                      <a:pt x="146" y="0"/>
                      <a:pt x="104" y="87"/>
                    </a:cubicBezTo>
                    <a:cubicBezTo>
                      <a:pt x="73" y="151"/>
                      <a:pt x="0" y="319"/>
                      <a:pt x="63" y="341"/>
                    </a:cubicBezTo>
                    <a:cubicBezTo>
                      <a:pt x="125" y="364"/>
                      <a:pt x="129" y="312"/>
                      <a:pt x="135" y="272"/>
                    </a:cubicBezTo>
                    <a:cubicBezTo>
                      <a:pt x="141" y="231"/>
                      <a:pt x="183" y="1"/>
                      <a:pt x="183" y="1"/>
                    </a:cubicBezTo>
                    <a:close/>
                  </a:path>
                </a:pathLst>
              </a:custGeom>
              <a:solidFill>
                <a:srgbClr val="F4A5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" name="Freeform 1211">
                <a:extLst>
                  <a:ext uri="{FF2B5EF4-FFF2-40B4-BE49-F238E27FC236}">
                    <a16:creationId xmlns:a16="http://schemas.microsoft.com/office/drawing/2014/main" id="{4D51DB25-DE57-45C3-820D-16D0931C6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7059" y="1901105"/>
                <a:ext cx="59546" cy="12108"/>
              </a:xfrm>
              <a:custGeom>
                <a:avLst/>
                <a:gdLst>
                  <a:gd name="T0" fmla="*/ 123 w 127"/>
                  <a:gd name="T1" fmla="*/ 0 h 26"/>
                  <a:gd name="T2" fmla="*/ 0 w 127"/>
                  <a:gd name="T3" fmla="*/ 9 h 26"/>
                  <a:gd name="T4" fmla="*/ 3 w 127"/>
                  <a:gd name="T5" fmla="*/ 26 h 26"/>
                  <a:gd name="T6" fmla="*/ 127 w 127"/>
                  <a:gd name="T7" fmla="*/ 26 h 26"/>
                  <a:gd name="T8" fmla="*/ 123 w 127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26">
                    <a:moveTo>
                      <a:pt x="123" y="0"/>
                    </a:moveTo>
                    <a:cubicBezTo>
                      <a:pt x="57" y="8"/>
                      <a:pt x="0" y="9"/>
                      <a:pt x="0" y="9"/>
                    </a:cubicBezTo>
                    <a:cubicBezTo>
                      <a:pt x="0" y="9"/>
                      <a:pt x="1" y="14"/>
                      <a:pt x="3" y="26"/>
                    </a:cubicBezTo>
                    <a:cubicBezTo>
                      <a:pt x="127" y="26"/>
                      <a:pt x="127" y="26"/>
                      <a:pt x="127" y="26"/>
                    </a:cubicBez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D88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" name="Freeform 1212">
                <a:extLst>
                  <a:ext uri="{FF2B5EF4-FFF2-40B4-BE49-F238E27FC236}">
                    <a16:creationId xmlns:a16="http://schemas.microsoft.com/office/drawing/2014/main" id="{04F60DB4-5FE7-4D27-A1F1-2ADCCD85D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537" y="1711153"/>
                <a:ext cx="97060" cy="199281"/>
              </a:xfrm>
              <a:custGeom>
                <a:avLst/>
                <a:gdLst>
                  <a:gd name="T0" fmla="*/ 38 w 207"/>
                  <a:gd name="T1" fmla="*/ 23 h 425"/>
                  <a:gd name="T2" fmla="*/ 207 w 207"/>
                  <a:gd name="T3" fmla="*/ 411 h 425"/>
                  <a:gd name="T4" fmla="*/ 65 w 207"/>
                  <a:gd name="T5" fmla="*/ 425 h 425"/>
                  <a:gd name="T6" fmla="*/ 0 w 207"/>
                  <a:gd name="T7" fmla="*/ 36 h 425"/>
                  <a:gd name="T8" fmla="*/ 38 w 207"/>
                  <a:gd name="T9" fmla="*/ 23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425">
                    <a:moveTo>
                      <a:pt x="38" y="23"/>
                    </a:moveTo>
                    <a:cubicBezTo>
                      <a:pt x="38" y="23"/>
                      <a:pt x="171" y="153"/>
                      <a:pt x="207" y="411"/>
                    </a:cubicBezTo>
                    <a:cubicBezTo>
                      <a:pt x="65" y="425"/>
                      <a:pt x="65" y="425"/>
                      <a:pt x="65" y="425"/>
                    </a:cubicBezTo>
                    <a:cubicBezTo>
                      <a:pt x="65" y="425"/>
                      <a:pt x="0" y="113"/>
                      <a:pt x="0" y="36"/>
                    </a:cubicBezTo>
                    <a:cubicBezTo>
                      <a:pt x="0" y="36"/>
                      <a:pt x="11" y="0"/>
                      <a:pt x="38" y="23"/>
                    </a:cubicBez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" name="Freeform 1213">
                <a:extLst>
                  <a:ext uri="{FF2B5EF4-FFF2-40B4-BE49-F238E27FC236}">
                    <a16:creationId xmlns:a16="http://schemas.microsoft.com/office/drawing/2014/main" id="{58A5E795-CCF7-4981-AF20-9D60AC4DC2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5027" y="1734575"/>
                <a:ext cx="84754" cy="173875"/>
              </a:xfrm>
              <a:custGeom>
                <a:avLst/>
                <a:gdLst>
                  <a:gd name="T0" fmla="*/ 0 w 181"/>
                  <a:gd name="T1" fmla="*/ 0 h 371"/>
                  <a:gd name="T2" fmla="*/ 78 w 181"/>
                  <a:gd name="T3" fmla="*/ 94 h 371"/>
                  <a:gd name="T4" fmla="*/ 119 w 181"/>
                  <a:gd name="T5" fmla="*/ 348 h 371"/>
                  <a:gd name="T6" fmla="*/ 47 w 181"/>
                  <a:gd name="T7" fmla="*/ 279 h 371"/>
                  <a:gd name="T8" fmla="*/ 0 w 181"/>
                  <a:gd name="T9" fmla="*/ 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1" h="371">
                    <a:moveTo>
                      <a:pt x="0" y="0"/>
                    </a:moveTo>
                    <a:cubicBezTo>
                      <a:pt x="0" y="0"/>
                      <a:pt x="34" y="5"/>
                      <a:pt x="78" y="94"/>
                    </a:cubicBezTo>
                    <a:cubicBezTo>
                      <a:pt x="109" y="158"/>
                      <a:pt x="181" y="326"/>
                      <a:pt x="119" y="348"/>
                    </a:cubicBezTo>
                    <a:cubicBezTo>
                      <a:pt x="57" y="371"/>
                      <a:pt x="53" y="319"/>
                      <a:pt x="47" y="279"/>
                    </a:cubicBezTo>
                    <a:cubicBezTo>
                      <a:pt x="40" y="238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4A5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" name="Freeform 1214">
                <a:extLst>
                  <a:ext uri="{FF2B5EF4-FFF2-40B4-BE49-F238E27FC236}">
                    <a16:creationId xmlns:a16="http://schemas.microsoft.com/office/drawing/2014/main" id="{6C72F8AA-DD21-4457-85E1-796936D90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7826" y="1717703"/>
                <a:ext cx="179233" cy="195510"/>
              </a:xfrm>
              <a:custGeom>
                <a:avLst/>
                <a:gdLst>
                  <a:gd name="T0" fmla="*/ 382 w 382"/>
                  <a:gd name="T1" fmla="*/ 417 h 417"/>
                  <a:gd name="T2" fmla="*/ 308 w 382"/>
                  <a:gd name="T3" fmla="*/ 0 h 417"/>
                  <a:gd name="T4" fmla="*/ 63 w 382"/>
                  <a:gd name="T5" fmla="*/ 1 h 417"/>
                  <a:gd name="T6" fmla="*/ 0 w 382"/>
                  <a:gd name="T7" fmla="*/ 417 h 417"/>
                  <a:gd name="T8" fmla="*/ 382 w 382"/>
                  <a:gd name="T9" fmla="*/ 417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417">
                    <a:moveTo>
                      <a:pt x="382" y="417"/>
                    </a:moveTo>
                    <a:cubicBezTo>
                      <a:pt x="373" y="333"/>
                      <a:pt x="345" y="93"/>
                      <a:pt x="308" y="0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3" y="1"/>
                      <a:pt x="6" y="246"/>
                      <a:pt x="0" y="417"/>
                    </a:cubicBezTo>
                    <a:lnTo>
                      <a:pt x="382" y="417"/>
                    </a:lnTo>
                    <a:close/>
                  </a:path>
                </a:pathLst>
              </a:custGeom>
              <a:solidFill>
                <a:srgbClr val="F4A5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" name="Freeform 1215">
                <a:extLst>
                  <a:ext uri="{FF2B5EF4-FFF2-40B4-BE49-F238E27FC236}">
                    <a16:creationId xmlns:a16="http://schemas.microsoft.com/office/drawing/2014/main" id="{5785C3CF-0623-4C2F-A37E-529619139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7826" y="1718100"/>
                <a:ext cx="34338" cy="195113"/>
              </a:xfrm>
              <a:custGeom>
                <a:avLst/>
                <a:gdLst>
                  <a:gd name="T0" fmla="*/ 73 w 73"/>
                  <a:gd name="T1" fmla="*/ 0 h 416"/>
                  <a:gd name="T2" fmla="*/ 63 w 73"/>
                  <a:gd name="T3" fmla="*/ 0 h 416"/>
                  <a:gd name="T4" fmla="*/ 0 w 73"/>
                  <a:gd name="T5" fmla="*/ 416 h 416"/>
                  <a:gd name="T6" fmla="*/ 61 w 73"/>
                  <a:gd name="T7" fmla="*/ 416 h 416"/>
                  <a:gd name="T8" fmla="*/ 24 w 73"/>
                  <a:gd name="T9" fmla="*/ 336 h 416"/>
                  <a:gd name="T10" fmla="*/ 59 w 73"/>
                  <a:gd name="T11" fmla="*/ 68 h 416"/>
                  <a:gd name="T12" fmla="*/ 73 w 73"/>
                  <a:gd name="T13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416">
                    <a:moveTo>
                      <a:pt x="73" y="0"/>
                    </a:moveTo>
                    <a:cubicBezTo>
                      <a:pt x="63" y="0"/>
                      <a:pt x="63" y="0"/>
                      <a:pt x="63" y="0"/>
                    </a:cubicBezTo>
                    <a:cubicBezTo>
                      <a:pt x="63" y="0"/>
                      <a:pt x="6" y="245"/>
                      <a:pt x="0" y="416"/>
                    </a:cubicBezTo>
                    <a:cubicBezTo>
                      <a:pt x="61" y="416"/>
                      <a:pt x="61" y="416"/>
                      <a:pt x="61" y="416"/>
                    </a:cubicBezTo>
                    <a:cubicBezTo>
                      <a:pt x="39" y="403"/>
                      <a:pt x="24" y="379"/>
                      <a:pt x="24" y="336"/>
                    </a:cubicBezTo>
                    <a:cubicBezTo>
                      <a:pt x="23" y="254"/>
                      <a:pt x="59" y="68"/>
                      <a:pt x="59" y="68"/>
                    </a:cubicBez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" name="Freeform 1216">
                <a:extLst>
                  <a:ext uri="{FF2B5EF4-FFF2-40B4-BE49-F238E27FC236}">
                    <a16:creationId xmlns:a16="http://schemas.microsoft.com/office/drawing/2014/main" id="{224D5F82-60F9-4B9E-A115-9FC56B3D0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8477" y="1824093"/>
                <a:ext cx="28582" cy="89120"/>
              </a:xfrm>
              <a:custGeom>
                <a:avLst/>
                <a:gdLst>
                  <a:gd name="T0" fmla="*/ 0 w 61"/>
                  <a:gd name="T1" fmla="*/ 190 h 190"/>
                  <a:gd name="T2" fmla="*/ 61 w 61"/>
                  <a:gd name="T3" fmla="*/ 190 h 190"/>
                  <a:gd name="T4" fmla="*/ 37 w 61"/>
                  <a:gd name="T5" fmla="*/ 0 h 190"/>
                  <a:gd name="T6" fmla="*/ 38 w 61"/>
                  <a:gd name="T7" fmla="*/ 128 h 190"/>
                  <a:gd name="T8" fmla="*/ 0 w 61"/>
                  <a:gd name="T9" fmla="*/ 19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90">
                    <a:moveTo>
                      <a:pt x="0" y="190"/>
                    </a:moveTo>
                    <a:cubicBezTo>
                      <a:pt x="61" y="190"/>
                      <a:pt x="61" y="190"/>
                      <a:pt x="61" y="190"/>
                    </a:cubicBezTo>
                    <a:cubicBezTo>
                      <a:pt x="57" y="150"/>
                      <a:pt x="48" y="77"/>
                      <a:pt x="37" y="0"/>
                    </a:cubicBezTo>
                    <a:cubicBezTo>
                      <a:pt x="37" y="0"/>
                      <a:pt x="41" y="67"/>
                      <a:pt x="38" y="128"/>
                    </a:cubicBezTo>
                    <a:cubicBezTo>
                      <a:pt x="36" y="160"/>
                      <a:pt x="21" y="179"/>
                      <a:pt x="0" y="190"/>
                    </a:cubicBezTo>
                    <a:close/>
                  </a:path>
                </a:pathLst>
              </a:custGeom>
              <a:solidFill>
                <a:srgbClr val="E29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" name="Freeform 1217">
                <a:extLst>
                  <a:ext uri="{FF2B5EF4-FFF2-40B4-BE49-F238E27FC236}">
                    <a16:creationId xmlns:a16="http://schemas.microsoft.com/office/drawing/2014/main" id="{1AEC6659-2C49-435A-96D5-6E1099B41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493" y="1710558"/>
                <a:ext cx="99441" cy="67088"/>
              </a:xfrm>
              <a:custGeom>
                <a:avLst/>
                <a:gdLst>
                  <a:gd name="T0" fmla="*/ 106 w 212"/>
                  <a:gd name="T1" fmla="*/ 143 h 143"/>
                  <a:gd name="T2" fmla="*/ 30 w 212"/>
                  <a:gd name="T3" fmla="*/ 112 h 143"/>
                  <a:gd name="T4" fmla="*/ 8 w 212"/>
                  <a:gd name="T5" fmla="*/ 24 h 143"/>
                  <a:gd name="T6" fmla="*/ 12 w 212"/>
                  <a:gd name="T7" fmla="*/ 0 h 143"/>
                  <a:gd name="T8" fmla="*/ 200 w 212"/>
                  <a:gd name="T9" fmla="*/ 0 h 143"/>
                  <a:gd name="T10" fmla="*/ 204 w 212"/>
                  <a:gd name="T11" fmla="*/ 24 h 143"/>
                  <a:gd name="T12" fmla="*/ 182 w 212"/>
                  <a:gd name="T13" fmla="*/ 112 h 143"/>
                  <a:gd name="T14" fmla="*/ 106 w 212"/>
                  <a:gd name="T15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2" h="143">
                    <a:moveTo>
                      <a:pt x="106" y="143"/>
                    </a:moveTo>
                    <a:cubicBezTo>
                      <a:pt x="65" y="143"/>
                      <a:pt x="42" y="126"/>
                      <a:pt x="30" y="112"/>
                    </a:cubicBezTo>
                    <a:cubicBezTo>
                      <a:pt x="0" y="77"/>
                      <a:pt x="7" y="29"/>
                      <a:pt x="8" y="2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4" y="24"/>
                      <a:pt x="204" y="24"/>
                      <a:pt x="204" y="24"/>
                    </a:cubicBezTo>
                    <a:cubicBezTo>
                      <a:pt x="205" y="29"/>
                      <a:pt x="212" y="77"/>
                      <a:pt x="182" y="112"/>
                    </a:cubicBezTo>
                    <a:cubicBezTo>
                      <a:pt x="170" y="126"/>
                      <a:pt x="147" y="143"/>
                      <a:pt x="106" y="143"/>
                    </a:cubicBezTo>
                    <a:close/>
                  </a:path>
                </a:pathLst>
              </a:custGeom>
              <a:solidFill>
                <a:srgbClr val="D88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" name="Freeform 1218">
                <a:extLst>
                  <a:ext uri="{FF2B5EF4-FFF2-40B4-BE49-F238E27FC236}">
                    <a16:creationId xmlns:a16="http://schemas.microsoft.com/office/drawing/2014/main" id="{99C5AB4F-72FB-483B-8871-BCB8722B8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1814" y="1723857"/>
                <a:ext cx="78799" cy="40690"/>
              </a:xfrm>
              <a:custGeom>
                <a:avLst/>
                <a:gdLst>
                  <a:gd name="T0" fmla="*/ 14 w 168"/>
                  <a:gd name="T1" fmla="*/ 0 h 87"/>
                  <a:gd name="T2" fmla="*/ 84 w 168"/>
                  <a:gd name="T3" fmla="*/ 87 h 87"/>
                  <a:gd name="T4" fmla="*/ 154 w 168"/>
                  <a:gd name="T5" fmla="*/ 0 h 87"/>
                  <a:gd name="T6" fmla="*/ 14 w 168"/>
                  <a:gd name="T7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8" h="87">
                    <a:moveTo>
                      <a:pt x="14" y="0"/>
                    </a:moveTo>
                    <a:cubicBezTo>
                      <a:pt x="14" y="0"/>
                      <a:pt x="0" y="87"/>
                      <a:pt x="84" y="87"/>
                    </a:cubicBezTo>
                    <a:cubicBezTo>
                      <a:pt x="168" y="87"/>
                      <a:pt x="154" y="0"/>
                      <a:pt x="154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" name="Freeform 1219">
                <a:extLst>
                  <a:ext uri="{FF2B5EF4-FFF2-40B4-BE49-F238E27FC236}">
                    <a16:creationId xmlns:a16="http://schemas.microsoft.com/office/drawing/2014/main" id="{8E679D53-3EB7-4311-9F13-DB5873575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8601" y="1513263"/>
                <a:ext cx="276689" cy="225481"/>
              </a:xfrm>
              <a:custGeom>
                <a:avLst/>
                <a:gdLst>
                  <a:gd name="T0" fmla="*/ 478 w 590"/>
                  <a:gd name="T1" fmla="*/ 27 h 481"/>
                  <a:gd name="T2" fmla="*/ 306 w 590"/>
                  <a:gd name="T3" fmla="*/ 28 h 481"/>
                  <a:gd name="T4" fmla="*/ 306 w 590"/>
                  <a:gd name="T5" fmla="*/ 28 h 481"/>
                  <a:gd name="T6" fmla="*/ 149 w 590"/>
                  <a:gd name="T7" fmla="*/ 28 h 481"/>
                  <a:gd name="T8" fmla="*/ 25 w 590"/>
                  <a:gd name="T9" fmla="*/ 252 h 481"/>
                  <a:gd name="T10" fmla="*/ 303 w 590"/>
                  <a:gd name="T11" fmla="*/ 480 h 481"/>
                  <a:gd name="T12" fmla="*/ 584 w 590"/>
                  <a:gd name="T13" fmla="*/ 256 h 481"/>
                  <a:gd name="T14" fmla="*/ 478 w 590"/>
                  <a:gd name="T15" fmla="*/ 27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0" h="481">
                    <a:moveTo>
                      <a:pt x="478" y="27"/>
                    </a:moveTo>
                    <a:cubicBezTo>
                      <a:pt x="411" y="0"/>
                      <a:pt x="375" y="30"/>
                      <a:pt x="306" y="28"/>
                    </a:cubicBezTo>
                    <a:cubicBezTo>
                      <a:pt x="306" y="28"/>
                      <a:pt x="306" y="28"/>
                      <a:pt x="306" y="28"/>
                    </a:cubicBezTo>
                    <a:cubicBezTo>
                      <a:pt x="270" y="28"/>
                      <a:pt x="181" y="18"/>
                      <a:pt x="149" y="28"/>
                    </a:cubicBezTo>
                    <a:cubicBezTo>
                      <a:pt x="0" y="69"/>
                      <a:pt x="27" y="215"/>
                      <a:pt x="25" y="252"/>
                    </a:cubicBezTo>
                    <a:cubicBezTo>
                      <a:pt x="17" y="377"/>
                      <a:pt x="148" y="479"/>
                      <a:pt x="303" y="480"/>
                    </a:cubicBezTo>
                    <a:cubicBezTo>
                      <a:pt x="457" y="481"/>
                      <a:pt x="583" y="381"/>
                      <a:pt x="584" y="256"/>
                    </a:cubicBezTo>
                    <a:cubicBezTo>
                      <a:pt x="584" y="256"/>
                      <a:pt x="590" y="79"/>
                      <a:pt x="478" y="27"/>
                    </a:cubicBezTo>
                    <a:close/>
                  </a:path>
                </a:pathLst>
              </a:custGeom>
              <a:solidFill>
                <a:srgbClr val="F9DA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" name="Freeform 1220">
                <a:extLst>
                  <a:ext uri="{FF2B5EF4-FFF2-40B4-BE49-F238E27FC236}">
                    <a16:creationId xmlns:a16="http://schemas.microsoft.com/office/drawing/2014/main" id="{6C7A1AFD-D86A-4AF6-9C46-00C146F28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9620" y="1572213"/>
                <a:ext cx="55775" cy="25009"/>
              </a:xfrm>
              <a:custGeom>
                <a:avLst/>
                <a:gdLst>
                  <a:gd name="T0" fmla="*/ 15 w 119"/>
                  <a:gd name="T1" fmla="*/ 45 h 53"/>
                  <a:gd name="T2" fmla="*/ 63 w 119"/>
                  <a:gd name="T3" fmla="*/ 39 h 53"/>
                  <a:gd name="T4" fmla="*/ 117 w 119"/>
                  <a:gd name="T5" fmla="*/ 47 h 53"/>
                  <a:gd name="T6" fmla="*/ 80 w 119"/>
                  <a:gd name="T7" fmla="*/ 8 h 53"/>
                  <a:gd name="T8" fmla="*/ 22 w 119"/>
                  <a:gd name="T9" fmla="*/ 18 h 53"/>
                  <a:gd name="T10" fmla="*/ 15 w 119"/>
                  <a:gd name="T11" fmla="*/ 4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53">
                    <a:moveTo>
                      <a:pt x="15" y="45"/>
                    </a:moveTo>
                    <a:cubicBezTo>
                      <a:pt x="15" y="45"/>
                      <a:pt x="33" y="37"/>
                      <a:pt x="63" y="39"/>
                    </a:cubicBezTo>
                    <a:cubicBezTo>
                      <a:pt x="91" y="40"/>
                      <a:pt x="115" y="53"/>
                      <a:pt x="117" y="47"/>
                    </a:cubicBezTo>
                    <a:cubicBezTo>
                      <a:pt x="119" y="36"/>
                      <a:pt x="104" y="17"/>
                      <a:pt x="80" y="8"/>
                    </a:cubicBezTo>
                    <a:cubicBezTo>
                      <a:pt x="57" y="0"/>
                      <a:pt x="37" y="7"/>
                      <a:pt x="22" y="18"/>
                    </a:cubicBezTo>
                    <a:cubicBezTo>
                      <a:pt x="7" y="29"/>
                      <a:pt x="0" y="49"/>
                      <a:pt x="15" y="45"/>
                    </a:cubicBezTo>
                    <a:close/>
                  </a:path>
                </a:pathLst>
              </a:custGeom>
              <a:solidFill>
                <a:srgbClr val="6B46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" name="Freeform 1221">
                <a:extLst>
                  <a:ext uri="{FF2B5EF4-FFF2-40B4-BE49-F238E27FC236}">
                    <a16:creationId xmlns:a16="http://schemas.microsoft.com/office/drawing/2014/main" id="{3160C933-CBDC-429C-8624-DFE12A638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8421" y="1572213"/>
                <a:ext cx="55775" cy="25009"/>
              </a:xfrm>
              <a:custGeom>
                <a:avLst/>
                <a:gdLst>
                  <a:gd name="T0" fmla="*/ 104 w 119"/>
                  <a:gd name="T1" fmla="*/ 45 h 53"/>
                  <a:gd name="T2" fmla="*/ 57 w 119"/>
                  <a:gd name="T3" fmla="*/ 39 h 53"/>
                  <a:gd name="T4" fmla="*/ 2 w 119"/>
                  <a:gd name="T5" fmla="*/ 47 h 53"/>
                  <a:gd name="T6" fmla="*/ 39 w 119"/>
                  <a:gd name="T7" fmla="*/ 8 h 53"/>
                  <a:gd name="T8" fmla="*/ 97 w 119"/>
                  <a:gd name="T9" fmla="*/ 18 h 53"/>
                  <a:gd name="T10" fmla="*/ 104 w 119"/>
                  <a:gd name="T11" fmla="*/ 4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53">
                    <a:moveTo>
                      <a:pt x="104" y="45"/>
                    </a:moveTo>
                    <a:cubicBezTo>
                      <a:pt x="104" y="45"/>
                      <a:pt x="86" y="37"/>
                      <a:pt x="57" y="39"/>
                    </a:cubicBezTo>
                    <a:cubicBezTo>
                      <a:pt x="28" y="40"/>
                      <a:pt x="4" y="53"/>
                      <a:pt x="2" y="47"/>
                    </a:cubicBezTo>
                    <a:cubicBezTo>
                      <a:pt x="0" y="36"/>
                      <a:pt x="16" y="17"/>
                      <a:pt x="39" y="8"/>
                    </a:cubicBezTo>
                    <a:cubicBezTo>
                      <a:pt x="62" y="0"/>
                      <a:pt x="82" y="7"/>
                      <a:pt x="97" y="18"/>
                    </a:cubicBezTo>
                    <a:cubicBezTo>
                      <a:pt x="113" y="29"/>
                      <a:pt x="119" y="49"/>
                      <a:pt x="104" y="45"/>
                    </a:cubicBezTo>
                    <a:close/>
                  </a:path>
                </a:pathLst>
              </a:custGeom>
              <a:solidFill>
                <a:srgbClr val="6B46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" name="Freeform 1222">
                <a:extLst>
                  <a:ext uri="{FF2B5EF4-FFF2-40B4-BE49-F238E27FC236}">
                    <a16:creationId xmlns:a16="http://schemas.microsoft.com/office/drawing/2014/main" id="{6D2951E6-15C8-4C05-9696-5E131267B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4781" y="1601788"/>
                <a:ext cx="48431" cy="48431"/>
              </a:xfrm>
              <a:custGeom>
                <a:avLst/>
                <a:gdLst>
                  <a:gd name="T0" fmla="*/ 89 w 103"/>
                  <a:gd name="T1" fmla="*/ 27 h 103"/>
                  <a:gd name="T2" fmla="*/ 77 w 103"/>
                  <a:gd name="T3" fmla="*/ 89 h 103"/>
                  <a:gd name="T4" fmla="*/ 14 w 103"/>
                  <a:gd name="T5" fmla="*/ 77 h 103"/>
                  <a:gd name="T6" fmla="*/ 27 w 103"/>
                  <a:gd name="T7" fmla="*/ 14 h 103"/>
                  <a:gd name="T8" fmla="*/ 89 w 103"/>
                  <a:gd name="T9" fmla="*/ 2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103">
                    <a:moveTo>
                      <a:pt x="89" y="27"/>
                    </a:moveTo>
                    <a:cubicBezTo>
                      <a:pt x="103" y="48"/>
                      <a:pt x="97" y="76"/>
                      <a:pt x="77" y="89"/>
                    </a:cubicBezTo>
                    <a:cubicBezTo>
                      <a:pt x="56" y="103"/>
                      <a:pt x="28" y="98"/>
                      <a:pt x="14" y="77"/>
                    </a:cubicBezTo>
                    <a:cubicBezTo>
                      <a:pt x="0" y="56"/>
                      <a:pt x="6" y="28"/>
                      <a:pt x="27" y="14"/>
                    </a:cubicBezTo>
                    <a:cubicBezTo>
                      <a:pt x="47" y="0"/>
                      <a:pt x="75" y="6"/>
                      <a:pt x="89" y="27"/>
                    </a:cubicBezTo>
                    <a:close/>
                  </a:path>
                </a:pathLst>
              </a:custGeom>
              <a:solidFill>
                <a:srgbClr val="472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" name="Freeform 1223">
                <a:extLst>
                  <a:ext uri="{FF2B5EF4-FFF2-40B4-BE49-F238E27FC236}">
                    <a16:creationId xmlns:a16="http://schemas.microsoft.com/office/drawing/2014/main" id="{A3359531-30CA-4998-8A67-4547792A2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537" y="1606551"/>
                <a:ext cx="23818" cy="19253"/>
              </a:xfrm>
              <a:custGeom>
                <a:avLst/>
                <a:gdLst>
                  <a:gd name="T0" fmla="*/ 47 w 51"/>
                  <a:gd name="T1" fmla="*/ 6 h 41"/>
                  <a:gd name="T2" fmla="*/ 33 w 51"/>
                  <a:gd name="T3" fmla="*/ 33 h 41"/>
                  <a:gd name="T4" fmla="*/ 4 w 51"/>
                  <a:gd name="T5" fmla="*/ 34 h 41"/>
                  <a:gd name="T6" fmla="*/ 17 w 51"/>
                  <a:gd name="T7" fmla="*/ 8 h 41"/>
                  <a:gd name="T8" fmla="*/ 47 w 51"/>
                  <a:gd name="T9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1">
                    <a:moveTo>
                      <a:pt x="47" y="6"/>
                    </a:moveTo>
                    <a:cubicBezTo>
                      <a:pt x="51" y="13"/>
                      <a:pt x="45" y="25"/>
                      <a:pt x="33" y="33"/>
                    </a:cubicBezTo>
                    <a:cubicBezTo>
                      <a:pt x="22" y="40"/>
                      <a:pt x="9" y="41"/>
                      <a:pt x="4" y="34"/>
                    </a:cubicBezTo>
                    <a:cubicBezTo>
                      <a:pt x="0" y="28"/>
                      <a:pt x="5" y="16"/>
                      <a:pt x="17" y="8"/>
                    </a:cubicBezTo>
                    <a:cubicBezTo>
                      <a:pt x="29" y="0"/>
                      <a:pt x="42" y="0"/>
                      <a:pt x="47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" name="Freeform 1224">
                <a:extLst>
                  <a:ext uri="{FF2B5EF4-FFF2-40B4-BE49-F238E27FC236}">
                    <a16:creationId xmlns:a16="http://schemas.microsoft.com/office/drawing/2014/main" id="{5B7D4A71-7410-4112-81DB-043ADE0944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1200" y="1601788"/>
                <a:ext cx="48232" cy="48431"/>
              </a:xfrm>
              <a:custGeom>
                <a:avLst/>
                <a:gdLst>
                  <a:gd name="T0" fmla="*/ 89 w 103"/>
                  <a:gd name="T1" fmla="*/ 27 h 103"/>
                  <a:gd name="T2" fmla="*/ 76 w 103"/>
                  <a:gd name="T3" fmla="*/ 89 h 103"/>
                  <a:gd name="T4" fmla="*/ 14 w 103"/>
                  <a:gd name="T5" fmla="*/ 77 h 103"/>
                  <a:gd name="T6" fmla="*/ 26 w 103"/>
                  <a:gd name="T7" fmla="*/ 14 h 103"/>
                  <a:gd name="T8" fmla="*/ 89 w 103"/>
                  <a:gd name="T9" fmla="*/ 2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103">
                    <a:moveTo>
                      <a:pt x="89" y="27"/>
                    </a:moveTo>
                    <a:cubicBezTo>
                      <a:pt x="103" y="48"/>
                      <a:pt x="97" y="76"/>
                      <a:pt x="76" y="89"/>
                    </a:cubicBezTo>
                    <a:cubicBezTo>
                      <a:pt x="55" y="103"/>
                      <a:pt x="27" y="98"/>
                      <a:pt x="14" y="77"/>
                    </a:cubicBezTo>
                    <a:cubicBezTo>
                      <a:pt x="0" y="56"/>
                      <a:pt x="5" y="28"/>
                      <a:pt x="26" y="14"/>
                    </a:cubicBezTo>
                    <a:cubicBezTo>
                      <a:pt x="47" y="0"/>
                      <a:pt x="75" y="6"/>
                      <a:pt x="89" y="27"/>
                    </a:cubicBezTo>
                    <a:close/>
                  </a:path>
                </a:pathLst>
              </a:custGeom>
              <a:solidFill>
                <a:srgbClr val="472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" name="Freeform 1225">
                <a:extLst>
                  <a:ext uri="{FF2B5EF4-FFF2-40B4-BE49-F238E27FC236}">
                    <a16:creationId xmlns:a16="http://schemas.microsoft.com/office/drawing/2014/main" id="{23C3A6E1-78D0-4CC3-9835-3E7259DA3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361" y="1606551"/>
                <a:ext cx="24414" cy="19253"/>
              </a:xfrm>
              <a:custGeom>
                <a:avLst/>
                <a:gdLst>
                  <a:gd name="T0" fmla="*/ 47 w 52"/>
                  <a:gd name="T1" fmla="*/ 6 h 41"/>
                  <a:gd name="T2" fmla="*/ 34 w 52"/>
                  <a:gd name="T3" fmla="*/ 33 h 41"/>
                  <a:gd name="T4" fmla="*/ 5 w 52"/>
                  <a:gd name="T5" fmla="*/ 34 h 41"/>
                  <a:gd name="T6" fmla="*/ 18 w 52"/>
                  <a:gd name="T7" fmla="*/ 8 h 41"/>
                  <a:gd name="T8" fmla="*/ 47 w 52"/>
                  <a:gd name="T9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1">
                    <a:moveTo>
                      <a:pt x="47" y="6"/>
                    </a:moveTo>
                    <a:cubicBezTo>
                      <a:pt x="52" y="13"/>
                      <a:pt x="46" y="25"/>
                      <a:pt x="34" y="33"/>
                    </a:cubicBezTo>
                    <a:cubicBezTo>
                      <a:pt x="22" y="40"/>
                      <a:pt x="9" y="41"/>
                      <a:pt x="5" y="34"/>
                    </a:cubicBezTo>
                    <a:cubicBezTo>
                      <a:pt x="0" y="28"/>
                      <a:pt x="6" y="16"/>
                      <a:pt x="18" y="8"/>
                    </a:cubicBezTo>
                    <a:cubicBezTo>
                      <a:pt x="29" y="0"/>
                      <a:pt x="43" y="0"/>
                      <a:pt x="47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" name="Freeform 1226">
                <a:extLst>
                  <a:ext uri="{FF2B5EF4-FFF2-40B4-BE49-F238E27FC236}">
                    <a16:creationId xmlns:a16="http://schemas.microsoft.com/office/drawing/2014/main" id="{C1F5AFFB-6A5C-4D2C-AE2E-3B4263D97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5235" y="1651608"/>
                <a:ext cx="32949" cy="16871"/>
              </a:xfrm>
              <a:custGeom>
                <a:avLst/>
                <a:gdLst>
                  <a:gd name="T0" fmla="*/ 7 w 70"/>
                  <a:gd name="T1" fmla="*/ 32 h 36"/>
                  <a:gd name="T2" fmla="*/ 7 w 70"/>
                  <a:gd name="T3" fmla="*/ 32 h 36"/>
                  <a:gd name="T4" fmla="*/ 16 w 70"/>
                  <a:gd name="T5" fmla="*/ 21 h 36"/>
                  <a:gd name="T6" fmla="*/ 23 w 70"/>
                  <a:gd name="T7" fmla="*/ 13 h 36"/>
                  <a:gd name="T8" fmla="*/ 31 w 70"/>
                  <a:gd name="T9" fmla="*/ 8 h 36"/>
                  <a:gd name="T10" fmla="*/ 34 w 70"/>
                  <a:gd name="T11" fmla="*/ 8 h 36"/>
                  <a:gd name="T12" fmla="*/ 41 w 70"/>
                  <a:gd name="T13" fmla="*/ 10 h 36"/>
                  <a:gd name="T14" fmla="*/ 53 w 70"/>
                  <a:gd name="T15" fmla="*/ 20 h 36"/>
                  <a:gd name="T16" fmla="*/ 62 w 70"/>
                  <a:gd name="T17" fmla="*/ 33 h 36"/>
                  <a:gd name="T18" fmla="*/ 67 w 70"/>
                  <a:gd name="T19" fmla="*/ 35 h 36"/>
                  <a:gd name="T20" fmla="*/ 69 w 70"/>
                  <a:gd name="T21" fmla="*/ 30 h 36"/>
                  <a:gd name="T22" fmla="*/ 55 w 70"/>
                  <a:gd name="T23" fmla="*/ 11 h 36"/>
                  <a:gd name="T24" fmla="*/ 45 w 70"/>
                  <a:gd name="T25" fmla="*/ 3 h 36"/>
                  <a:gd name="T26" fmla="*/ 34 w 70"/>
                  <a:gd name="T27" fmla="*/ 0 h 36"/>
                  <a:gd name="T28" fmla="*/ 29 w 70"/>
                  <a:gd name="T29" fmla="*/ 1 h 36"/>
                  <a:gd name="T30" fmla="*/ 18 w 70"/>
                  <a:gd name="T31" fmla="*/ 8 h 36"/>
                  <a:gd name="T32" fmla="*/ 6 w 70"/>
                  <a:gd name="T33" fmla="*/ 21 h 36"/>
                  <a:gd name="T34" fmla="*/ 1 w 70"/>
                  <a:gd name="T35" fmla="*/ 28 h 36"/>
                  <a:gd name="T36" fmla="*/ 2 w 70"/>
                  <a:gd name="T37" fmla="*/ 33 h 36"/>
                  <a:gd name="T38" fmla="*/ 7 w 70"/>
                  <a:gd name="T39" fmla="*/ 3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36">
                    <a:moveTo>
                      <a:pt x="7" y="32"/>
                    </a:moveTo>
                    <a:cubicBezTo>
                      <a:pt x="7" y="32"/>
                      <a:pt x="7" y="32"/>
                      <a:pt x="7" y="32"/>
                    </a:cubicBezTo>
                    <a:cubicBezTo>
                      <a:pt x="8" y="32"/>
                      <a:pt x="11" y="27"/>
                      <a:pt x="16" y="21"/>
                    </a:cubicBezTo>
                    <a:cubicBezTo>
                      <a:pt x="18" y="19"/>
                      <a:pt x="21" y="16"/>
                      <a:pt x="23" y="13"/>
                    </a:cubicBezTo>
                    <a:cubicBezTo>
                      <a:pt x="26" y="11"/>
                      <a:pt x="29" y="9"/>
                      <a:pt x="31" y="8"/>
                    </a:cubicBezTo>
                    <a:cubicBezTo>
                      <a:pt x="32" y="8"/>
                      <a:pt x="33" y="8"/>
                      <a:pt x="34" y="8"/>
                    </a:cubicBezTo>
                    <a:cubicBezTo>
                      <a:pt x="36" y="8"/>
                      <a:pt x="39" y="9"/>
                      <a:pt x="41" y="10"/>
                    </a:cubicBezTo>
                    <a:cubicBezTo>
                      <a:pt x="45" y="12"/>
                      <a:pt x="50" y="16"/>
                      <a:pt x="53" y="20"/>
                    </a:cubicBezTo>
                    <a:cubicBezTo>
                      <a:pt x="57" y="25"/>
                      <a:pt x="60" y="29"/>
                      <a:pt x="62" y="33"/>
                    </a:cubicBezTo>
                    <a:cubicBezTo>
                      <a:pt x="63" y="35"/>
                      <a:pt x="65" y="36"/>
                      <a:pt x="67" y="35"/>
                    </a:cubicBezTo>
                    <a:cubicBezTo>
                      <a:pt x="69" y="34"/>
                      <a:pt x="70" y="32"/>
                      <a:pt x="69" y="30"/>
                    </a:cubicBezTo>
                    <a:cubicBezTo>
                      <a:pt x="66" y="24"/>
                      <a:pt x="61" y="17"/>
                      <a:pt x="55" y="11"/>
                    </a:cubicBezTo>
                    <a:cubicBezTo>
                      <a:pt x="52" y="8"/>
                      <a:pt x="49" y="5"/>
                      <a:pt x="45" y="3"/>
                    </a:cubicBezTo>
                    <a:cubicBezTo>
                      <a:pt x="42" y="1"/>
                      <a:pt x="38" y="0"/>
                      <a:pt x="34" y="0"/>
                    </a:cubicBezTo>
                    <a:cubicBezTo>
                      <a:pt x="32" y="0"/>
                      <a:pt x="31" y="0"/>
                      <a:pt x="29" y="1"/>
                    </a:cubicBezTo>
                    <a:cubicBezTo>
                      <a:pt x="25" y="3"/>
                      <a:pt x="21" y="5"/>
                      <a:pt x="18" y="8"/>
                    </a:cubicBezTo>
                    <a:cubicBezTo>
                      <a:pt x="13" y="12"/>
                      <a:pt x="9" y="17"/>
                      <a:pt x="6" y="21"/>
                    </a:cubicBezTo>
                    <a:cubicBezTo>
                      <a:pt x="3" y="25"/>
                      <a:pt x="1" y="28"/>
                      <a:pt x="1" y="28"/>
                    </a:cubicBezTo>
                    <a:cubicBezTo>
                      <a:pt x="0" y="30"/>
                      <a:pt x="0" y="32"/>
                      <a:pt x="2" y="33"/>
                    </a:cubicBezTo>
                    <a:cubicBezTo>
                      <a:pt x="4" y="35"/>
                      <a:pt x="6" y="34"/>
                      <a:pt x="7" y="32"/>
                    </a:cubicBez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" name="Freeform 1227">
                <a:extLst>
                  <a:ext uri="{FF2B5EF4-FFF2-40B4-BE49-F238E27FC236}">
                    <a16:creationId xmlns:a16="http://schemas.microsoft.com/office/drawing/2014/main" id="{157D8860-3B53-46A8-858C-E06AB025A4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7429" y="1664708"/>
                <a:ext cx="12703" cy="5161"/>
              </a:xfrm>
              <a:custGeom>
                <a:avLst/>
                <a:gdLst>
                  <a:gd name="T0" fmla="*/ 27 w 27"/>
                  <a:gd name="T1" fmla="*/ 6 h 11"/>
                  <a:gd name="T2" fmla="*/ 22 w 27"/>
                  <a:gd name="T3" fmla="*/ 11 h 11"/>
                  <a:gd name="T4" fmla="*/ 5 w 27"/>
                  <a:gd name="T5" fmla="*/ 10 h 11"/>
                  <a:gd name="T6" fmla="*/ 0 w 27"/>
                  <a:gd name="T7" fmla="*/ 5 h 11"/>
                  <a:gd name="T8" fmla="*/ 0 w 27"/>
                  <a:gd name="T9" fmla="*/ 5 h 11"/>
                  <a:gd name="T10" fmla="*/ 5 w 27"/>
                  <a:gd name="T11" fmla="*/ 0 h 11"/>
                  <a:gd name="T12" fmla="*/ 22 w 27"/>
                  <a:gd name="T13" fmla="*/ 0 h 11"/>
                  <a:gd name="T14" fmla="*/ 27 w 27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">
                    <a:moveTo>
                      <a:pt x="27" y="6"/>
                    </a:moveTo>
                    <a:cubicBezTo>
                      <a:pt x="27" y="8"/>
                      <a:pt x="25" y="11"/>
                      <a:pt x="22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7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7" y="3"/>
                      <a:pt x="27" y="6"/>
                    </a:cubicBezTo>
                    <a:close/>
                  </a:path>
                </a:pathLst>
              </a:custGeom>
              <a:solidFill>
                <a:srgbClr val="F9F7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" name="Freeform 1228">
                <a:extLst>
                  <a:ext uri="{FF2B5EF4-FFF2-40B4-BE49-F238E27FC236}">
                    <a16:creationId xmlns:a16="http://schemas.microsoft.com/office/drawing/2014/main" id="{0E9252BF-DF44-482C-A16D-16764226D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9516" y="1665700"/>
                <a:ext cx="12703" cy="5161"/>
              </a:xfrm>
              <a:custGeom>
                <a:avLst/>
                <a:gdLst>
                  <a:gd name="T0" fmla="*/ 27 w 27"/>
                  <a:gd name="T1" fmla="*/ 6 h 11"/>
                  <a:gd name="T2" fmla="*/ 22 w 27"/>
                  <a:gd name="T3" fmla="*/ 11 h 11"/>
                  <a:gd name="T4" fmla="*/ 5 w 27"/>
                  <a:gd name="T5" fmla="*/ 10 h 11"/>
                  <a:gd name="T6" fmla="*/ 0 w 27"/>
                  <a:gd name="T7" fmla="*/ 5 h 11"/>
                  <a:gd name="T8" fmla="*/ 0 w 27"/>
                  <a:gd name="T9" fmla="*/ 5 h 11"/>
                  <a:gd name="T10" fmla="*/ 5 w 27"/>
                  <a:gd name="T11" fmla="*/ 0 h 11"/>
                  <a:gd name="T12" fmla="*/ 22 w 27"/>
                  <a:gd name="T13" fmla="*/ 1 h 11"/>
                  <a:gd name="T14" fmla="*/ 27 w 27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">
                    <a:moveTo>
                      <a:pt x="27" y="6"/>
                    </a:moveTo>
                    <a:cubicBezTo>
                      <a:pt x="27" y="9"/>
                      <a:pt x="25" y="11"/>
                      <a:pt x="22" y="11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5" y="1"/>
                      <a:pt x="27" y="3"/>
                      <a:pt x="27" y="6"/>
                    </a:cubicBezTo>
                    <a:close/>
                  </a:path>
                </a:pathLst>
              </a:custGeom>
              <a:solidFill>
                <a:srgbClr val="F9F7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" name="Freeform 1229">
                <a:extLst>
                  <a:ext uri="{FF2B5EF4-FFF2-40B4-BE49-F238E27FC236}">
                    <a16:creationId xmlns:a16="http://schemas.microsoft.com/office/drawing/2014/main" id="{113C1538-C01A-45F1-99E4-F17FDE9C8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5645" y="1604169"/>
                <a:ext cx="65103" cy="75623"/>
              </a:xfrm>
              <a:custGeom>
                <a:avLst/>
                <a:gdLst>
                  <a:gd name="T0" fmla="*/ 0 w 139"/>
                  <a:gd name="T1" fmla="*/ 142 h 161"/>
                  <a:gd name="T2" fmla="*/ 78 w 139"/>
                  <a:gd name="T3" fmla="*/ 141 h 161"/>
                  <a:gd name="T4" fmla="*/ 86 w 139"/>
                  <a:gd name="T5" fmla="*/ 19 h 161"/>
                  <a:gd name="T6" fmla="*/ 17 w 139"/>
                  <a:gd name="T7" fmla="*/ 61 h 161"/>
                  <a:gd name="T8" fmla="*/ 0 w 139"/>
                  <a:gd name="T9" fmla="*/ 142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61">
                    <a:moveTo>
                      <a:pt x="0" y="142"/>
                    </a:moveTo>
                    <a:cubicBezTo>
                      <a:pt x="0" y="142"/>
                      <a:pt x="37" y="161"/>
                      <a:pt x="78" y="141"/>
                    </a:cubicBezTo>
                    <a:cubicBezTo>
                      <a:pt x="119" y="121"/>
                      <a:pt x="139" y="39"/>
                      <a:pt x="86" y="19"/>
                    </a:cubicBezTo>
                    <a:cubicBezTo>
                      <a:pt x="33" y="0"/>
                      <a:pt x="17" y="61"/>
                      <a:pt x="17" y="61"/>
                    </a:cubicBezTo>
                    <a:lnTo>
                      <a:pt x="0" y="142"/>
                    </a:lnTo>
                    <a:close/>
                  </a:path>
                </a:pathLst>
              </a:custGeom>
              <a:solidFill>
                <a:srgbClr val="F9DA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" name="Freeform 1230">
                <a:extLst>
                  <a:ext uri="{FF2B5EF4-FFF2-40B4-BE49-F238E27FC236}">
                    <a16:creationId xmlns:a16="http://schemas.microsoft.com/office/drawing/2014/main" id="{E1275309-C612-460A-B026-F3E33C218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7355" y="1616873"/>
                <a:ext cx="37514" cy="45056"/>
              </a:xfrm>
              <a:custGeom>
                <a:avLst/>
                <a:gdLst>
                  <a:gd name="T0" fmla="*/ 0 w 80"/>
                  <a:gd name="T1" fmla="*/ 90 h 96"/>
                  <a:gd name="T2" fmla="*/ 56 w 80"/>
                  <a:gd name="T3" fmla="*/ 31 h 96"/>
                  <a:gd name="T4" fmla="*/ 43 w 80"/>
                  <a:gd name="T5" fmla="*/ 88 h 96"/>
                  <a:gd name="T6" fmla="*/ 0 w 80"/>
                  <a:gd name="T7" fmla="*/ 9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96">
                    <a:moveTo>
                      <a:pt x="0" y="90"/>
                    </a:moveTo>
                    <a:cubicBezTo>
                      <a:pt x="0" y="90"/>
                      <a:pt x="17" y="0"/>
                      <a:pt x="56" y="31"/>
                    </a:cubicBezTo>
                    <a:cubicBezTo>
                      <a:pt x="80" y="50"/>
                      <a:pt x="66" y="77"/>
                      <a:pt x="43" y="88"/>
                    </a:cubicBezTo>
                    <a:cubicBezTo>
                      <a:pt x="29" y="95"/>
                      <a:pt x="11" y="96"/>
                      <a:pt x="0" y="90"/>
                    </a:cubicBez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" name="Freeform 1231">
                <a:extLst>
                  <a:ext uri="{FF2B5EF4-FFF2-40B4-BE49-F238E27FC236}">
                    <a16:creationId xmlns:a16="http://schemas.microsoft.com/office/drawing/2014/main" id="{A7EDC852-89E2-4D59-BF71-3CD2AE507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7359" y="1637912"/>
                <a:ext cx="37911" cy="28185"/>
              </a:xfrm>
              <a:custGeom>
                <a:avLst/>
                <a:gdLst>
                  <a:gd name="T0" fmla="*/ 0 w 81"/>
                  <a:gd name="T1" fmla="*/ 44 h 60"/>
                  <a:gd name="T2" fmla="*/ 6 w 81"/>
                  <a:gd name="T3" fmla="*/ 22 h 60"/>
                  <a:gd name="T4" fmla="*/ 60 w 81"/>
                  <a:gd name="T5" fmla="*/ 30 h 60"/>
                  <a:gd name="T6" fmla="*/ 0 w 81"/>
                  <a:gd name="T7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" h="60">
                    <a:moveTo>
                      <a:pt x="0" y="44"/>
                    </a:moveTo>
                    <a:cubicBezTo>
                      <a:pt x="6" y="22"/>
                      <a:pt x="6" y="22"/>
                      <a:pt x="6" y="22"/>
                    </a:cubicBezTo>
                    <a:cubicBezTo>
                      <a:pt x="6" y="22"/>
                      <a:pt x="81" y="0"/>
                      <a:pt x="60" y="30"/>
                    </a:cubicBezTo>
                    <a:cubicBezTo>
                      <a:pt x="39" y="60"/>
                      <a:pt x="0" y="44"/>
                      <a:pt x="0" y="44"/>
                    </a:cubicBezTo>
                    <a:close/>
                  </a:path>
                </a:pathLst>
              </a:custGeom>
              <a:solidFill>
                <a:srgbClr val="E5B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" name="Freeform 1232">
                <a:extLst>
                  <a:ext uri="{FF2B5EF4-FFF2-40B4-BE49-F238E27FC236}">
                    <a16:creationId xmlns:a16="http://schemas.microsoft.com/office/drawing/2014/main" id="{60230C5F-56A1-485C-A89F-183BA2C70E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702" y="1603773"/>
                <a:ext cx="64706" cy="76021"/>
              </a:xfrm>
              <a:custGeom>
                <a:avLst/>
                <a:gdLst>
                  <a:gd name="T0" fmla="*/ 138 w 138"/>
                  <a:gd name="T1" fmla="*/ 143 h 162"/>
                  <a:gd name="T2" fmla="*/ 60 w 138"/>
                  <a:gd name="T3" fmla="*/ 141 h 162"/>
                  <a:gd name="T4" fmla="*/ 53 w 138"/>
                  <a:gd name="T5" fmla="*/ 19 h 162"/>
                  <a:gd name="T6" fmla="*/ 122 w 138"/>
                  <a:gd name="T7" fmla="*/ 61 h 162"/>
                  <a:gd name="T8" fmla="*/ 138 w 138"/>
                  <a:gd name="T9" fmla="*/ 14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62">
                    <a:moveTo>
                      <a:pt x="138" y="143"/>
                    </a:moveTo>
                    <a:cubicBezTo>
                      <a:pt x="138" y="143"/>
                      <a:pt x="101" y="162"/>
                      <a:pt x="60" y="141"/>
                    </a:cubicBezTo>
                    <a:cubicBezTo>
                      <a:pt x="19" y="121"/>
                      <a:pt x="0" y="38"/>
                      <a:pt x="53" y="19"/>
                    </a:cubicBezTo>
                    <a:cubicBezTo>
                      <a:pt x="107" y="0"/>
                      <a:pt x="122" y="61"/>
                      <a:pt x="122" y="61"/>
                    </a:cubicBezTo>
                    <a:lnTo>
                      <a:pt x="138" y="143"/>
                    </a:lnTo>
                    <a:close/>
                  </a:path>
                </a:pathLst>
              </a:custGeom>
              <a:solidFill>
                <a:srgbClr val="F9DA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" name="Freeform 1233">
                <a:extLst>
                  <a:ext uri="{FF2B5EF4-FFF2-40B4-BE49-F238E27FC236}">
                    <a16:creationId xmlns:a16="http://schemas.microsoft.com/office/drawing/2014/main" id="{FA393DA8-6B5F-4297-BCBB-37E787D1C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5779" y="1616873"/>
                <a:ext cx="36918" cy="44461"/>
              </a:xfrm>
              <a:custGeom>
                <a:avLst/>
                <a:gdLst>
                  <a:gd name="T0" fmla="*/ 79 w 79"/>
                  <a:gd name="T1" fmla="*/ 90 h 95"/>
                  <a:gd name="T2" fmla="*/ 24 w 79"/>
                  <a:gd name="T3" fmla="*/ 30 h 95"/>
                  <a:gd name="T4" fmla="*/ 36 w 79"/>
                  <a:gd name="T5" fmla="*/ 87 h 95"/>
                  <a:gd name="T6" fmla="*/ 79 w 79"/>
                  <a:gd name="T7" fmla="*/ 9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9" h="95">
                    <a:moveTo>
                      <a:pt x="79" y="90"/>
                    </a:moveTo>
                    <a:cubicBezTo>
                      <a:pt x="79" y="90"/>
                      <a:pt x="64" y="0"/>
                      <a:pt x="24" y="30"/>
                    </a:cubicBezTo>
                    <a:cubicBezTo>
                      <a:pt x="0" y="49"/>
                      <a:pt x="14" y="76"/>
                      <a:pt x="36" y="87"/>
                    </a:cubicBezTo>
                    <a:cubicBezTo>
                      <a:pt x="50" y="94"/>
                      <a:pt x="68" y="95"/>
                      <a:pt x="79" y="90"/>
                    </a:cubicBezTo>
                    <a:close/>
                  </a:path>
                </a:pathLst>
              </a:custGeom>
              <a:solidFill>
                <a:srgbClr val="F7C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" name="Freeform 1234">
                <a:extLst>
                  <a:ext uri="{FF2B5EF4-FFF2-40B4-BE49-F238E27FC236}">
                    <a16:creationId xmlns:a16="http://schemas.microsoft.com/office/drawing/2014/main" id="{C58D8C4B-A5BC-47F8-AD97-E997462F1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5187" y="1636126"/>
                <a:ext cx="37514" cy="28185"/>
              </a:xfrm>
              <a:custGeom>
                <a:avLst/>
                <a:gdLst>
                  <a:gd name="T0" fmla="*/ 80 w 80"/>
                  <a:gd name="T1" fmla="*/ 45 h 60"/>
                  <a:gd name="T2" fmla="*/ 74 w 80"/>
                  <a:gd name="T3" fmla="*/ 22 h 60"/>
                  <a:gd name="T4" fmla="*/ 20 w 80"/>
                  <a:gd name="T5" fmla="*/ 30 h 60"/>
                  <a:gd name="T6" fmla="*/ 80 w 80"/>
                  <a:gd name="T7" fmla="*/ 4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60">
                    <a:moveTo>
                      <a:pt x="80" y="45"/>
                    </a:moveTo>
                    <a:cubicBezTo>
                      <a:pt x="74" y="22"/>
                      <a:pt x="74" y="22"/>
                      <a:pt x="74" y="22"/>
                    </a:cubicBezTo>
                    <a:cubicBezTo>
                      <a:pt x="74" y="22"/>
                      <a:pt x="0" y="0"/>
                      <a:pt x="20" y="30"/>
                    </a:cubicBezTo>
                    <a:cubicBezTo>
                      <a:pt x="41" y="60"/>
                      <a:pt x="80" y="45"/>
                      <a:pt x="80" y="45"/>
                    </a:cubicBezTo>
                    <a:close/>
                  </a:path>
                </a:pathLst>
              </a:custGeom>
              <a:solidFill>
                <a:srgbClr val="E5B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" name="Freeform 1235">
                <a:extLst>
                  <a:ext uri="{FF2B5EF4-FFF2-40B4-BE49-F238E27FC236}">
                    <a16:creationId xmlns:a16="http://schemas.microsoft.com/office/drawing/2014/main" id="{FB1337DA-48E2-4194-9ECD-CCEE719E81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8050" y="1698449"/>
                <a:ext cx="88128" cy="21635"/>
              </a:xfrm>
              <a:custGeom>
                <a:avLst/>
                <a:gdLst>
                  <a:gd name="T0" fmla="*/ 89 w 188"/>
                  <a:gd name="T1" fmla="*/ 35 h 46"/>
                  <a:gd name="T2" fmla="*/ 62 w 188"/>
                  <a:gd name="T3" fmla="*/ 33 h 46"/>
                  <a:gd name="T4" fmla="*/ 4 w 188"/>
                  <a:gd name="T5" fmla="*/ 19 h 46"/>
                  <a:gd name="T6" fmla="*/ 1 w 188"/>
                  <a:gd name="T7" fmla="*/ 12 h 46"/>
                  <a:gd name="T8" fmla="*/ 8 w 188"/>
                  <a:gd name="T9" fmla="*/ 9 h 46"/>
                  <a:gd name="T10" fmla="*/ 179 w 188"/>
                  <a:gd name="T11" fmla="*/ 2 h 46"/>
                  <a:gd name="T12" fmla="*/ 186 w 188"/>
                  <a:gd name="T13" fmla="*/ 4 h 46"/>
                  <a:gd name="T14" fmla="*/ 184 w 188"/>
                  <a:gd name="T15" fmla="*/ 11 h 46"/>
                  <a:gd name="T16" fmla="*/ 89 w 188"/>
                  <a:gd name="T17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46">
                    <a:moveTo>
                      <a:pt x="89" y="35"/>
                    </a:moveTo>
                    <a:cubicBezTo>
                      <a:pt x="79" y="35"/>
                      <a:pt x="70" y="34"/>
                      <a:pt x="62" y="33"/>
                    </a:cubicBezTo>
                    <a:cubicBezTo>
                      <a:pt x="28" y="29"/>
                      <a:pt x="5" y="20"/>
                      <a:pt x="4" y="19"/>
                    </a:cubicBezTo>
                    <a:cubicBezTo>
                      <a:pt x="1" y="18"/>
                      <a:pt x="0" y="15"/>
                      <a:pt x="1" y="12"/>
                    </a:cubicBezTo>
                    <a:cubicBezTo>
                      <a:pt x="2" y="9"/>
                      <a:pt x="5" y="8"/>
                      <a:pt x="8" y="9"/>
                    </a:cubicBezTo>
                    <a:cubicBezTo>
                      <a:pt x="9" y="10"/>
                      <a:pt x="100" y="46"/>
                      <a:pt x="179" y="2"/>
                    </a:cubicBezTo>
                    <a:cubicBezTo>
                      <a:pt x="182" y="0"/>
                      <a:pt x="185" y="1"/>
                      <a:pt x="186" y="4"/>
                    </a:cubicBezTo>
                    <a:cubicBezTo>
                      <a:pt x="188" y="7"/>
                      <a:pt x="187" y="10"/>
                      <a:pt x="184" y="11"/>
                    </a:cubicBezTo>
                    <a:cubicBezTo>
                      <a:pt x="152" y="29"/>
                      <a:pt x="118" y="35"/>
                      <a:pt x="89" y="35"/>
                    </a:cubicBezTo>
                    <a:close/>
                  </a:path>
                </a:pathLst>
              </a:custGeom>
              <a:solidFill>
                <a:srgbClr val="F4C7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" name="Freeform 1236">
                <a:extLst>
                  <a:ext uri="{FF2B5EF4-FFF2-40B4-BE49-F238E27FC236}">
                    <a16:creationId xmlns:a16="http://schemas.microsoft.com/office/drawing/2014/main" id="{2AC00FF8-441E-4B82-936B-F797412D2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809" y="1424538"/>
                <a:ext cx="289790" cy="194716"/>
              </a:xfrm>
              <a:custGeom>
                <a:avLst/>
                <a:gdLst>
                  <a:gd name="T0" fmla="*/ 611 w 618"/>
                  <a:gd name="T1" fmla="*/ 284 h 415"/>
                  <a:gd name="T2" fmla="*/ 611 w 618"/>
                  <a:gd name="T3" fmla="*/ 284 h 415"/>
                  <a:gd name="T4" fmla="*/ 337 w 618"/>
                  <a:gd name="T5" fmla="*/ 2 h 415"/>
                  <a:gd name="T6" fmla="*/ 127 w 618"/>
                  <a:gd name="T7" fmla="*/ 65 h 415"/>
                  <a:gd name="T8" fmla="*/ 130 w 618"/>
                  <a:gd name="T9" fmla="*/ 14 h 415"/>
                  <a:gd name="T10" fmla="*/ 114 w 618"/>
                  <a:gd name="T11" fmla="*/ 58 h 415"/>
                  <a:gd name="T12" fmla="*/ 58 w 618"/>
                  <a:gd name="T13" fmla="*/ 37 h 415"/>
                  <a:gd name="T14" fmla="*/ 99 w 618"/>
                  <a:gd name="T15" fmla="*/ 68 h 415"/>
                  <a:gd name="T16" fmla="*/ 44 w 618"/>
                  <a:gd name="T17" fmla="*/ 97 h 415"/>
                  <a:gd name="T18" fmla="*/ 0 w 618"/>
                  <a:gd name="T19" fmla="*/ 323 h 415"/>
                  <a:gd name="T20" fmla="*/ 2 w 618"/>
                  <a:gd name="T21" fmla="*/ 399 h 415"/>
                  <a:gd name="T22" fmla="*/ 26 w 618"/>
                  <a:gd name="T23" fmla="*/ 415 h 415"/>
                  <a:gd name="T24" fmla="*/ 67 w 618"/>
                  <a:gd name="T25" fmla="*/ 298 h 415"/>
                  <a:gd name="T26" fmla="*/ 323 w 618"/>
                  <a:gd name="T27" fmla="*/ 318 h 415"/>
                  <a:gd name="T28" fmla="*/ 342 w 618"/>
                  <a:gd name="T29" fmla="*/ 318 h 415"/>
                  <a:gd name="T30" fmla="*/ 349 w 618"/>
                  <a:gd name="T31" fmla="*/ 260 h 415"/>
                  <a:gd name="T32" fmla="*/ 371 w 618"/>
                  <a:gd name="T33" fmla="*/ 317 h 415"/>
                  <a:gd name="T34" fmla="*/ 414 w 618"/>
                  <a:gd name="T35" fmla="*/ 315 h 415"/>
                  <a:gd name="T36" fmla="*/ 406 w 618"/>
                  <a:gd name="T37" fmla="*/ 236 h 415"/>
                  <a:gd name="T38" fmla="*/ 447 w 618"/>
                  <a:gd name="T39" fmla="*/ 312 h 415"/>
                  <a:gd name="T40" fmla="*/ 549 w 618"/>
                  <a:gd name="T41" fmla="*/ 298 h 415"/>
                  <a:gd name="T42" fmla="*/ 585 w 618"/>
                  <a:gd name="T43" fmla="*/ 412 h 415"/>
                  <a:gd name="T44" fmla="*/ 609 w 618"/>
                  <a:gd name="T45" fmla="*/ 399 h 415"/>
                  <a:gd name="T46" fmla="*/ 612 w 618"/>
                  <a:gd name="T47" fmla="*/ 323 h 415"/>
                  <a:gd name="T48" fmla="*/ 611 w 618"/>
                  <a:gd name="T49" fmla="*/ 284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18" h="415">
                    <a:moveTo>
                      <a:pt x="611" y="284"/>
                    </a:moveTo>
                    <a:cubicBezTo>
                      <a:pt x="611" y="284"/>
                      <a:pt x="611" y="284"/>
                      <a:pt x="611" y="284"/>
                    </a:cubicBezTo>
                    <a:cubicBezTo>
                      <a:pt x="611" y="284"/>
                      <a:pt x="618" y="8"/>
                      <a:pt x="337" y="2"/>
                    </a:cubicBezTo>
                    <a:cubicBezTo>
                      <a:pt x="267" y="1"/>
                      <a:pt x="183" y="0"/>
                      <a:pt x="127" y="65"/>
                    </a:cubicBezTo>
                    <a:cubicBezTo>
                      <a:pt x="124" y="54"/>
                      <a:pt x="124" y="37"/>
                      <a:pt x="130" y="14"/>
                    </a:cubicBezTo>
                    <a:cubicBezTo>
                      <a:pt x="130" y="14"/>
                      <a:pt x="115" y="31"/>
                      <a:pt x="114" y="58"/>
                    </a:cubicBezTo>
                    <a:cubicBezTo>
                      <a:pt x="103" y="48"/>
                      <a:pt x="85" y="38"/>
                      <a:pt x="58" y="37"/>
                    </a:cubicBezTo>
                    <a:cubicBezTo>
                      <a:pt x="58" y="37"/>
                      <a:pt x="86" y="41"/>
                      <a:pt x="99" y="68"/>
                    </a:cubicBezTo>
                    <a:cubicBezTo>
                      <a:pt x="83" y="70"/>
                      <a:pt x="61" y="77"/>
                      <a:pt x="44" y="97"/>
                    </a:cubicBezTo>
                    <a:cubicBezTo>
                      <a:pt x="25" y="118"/>
                      <a:pt x="0" y="187"/>
                      <a:pt x="0" y="323"/>
                    </a:cubicBezTo>
                    <a:cubicBezTo>
                      <a:pt x="0" y="348"/>
                      <a:pt x="0" y="374"/>
                      <a:pt x="2" y="399"/>
                    </a:cubicBezTo>
                    <a:cubicBezTo>
                      <a:pt x="12" y="403"/>
                      <a:pt x="15" y="404"/>
                      <a:pt x="26" y="415"/>
                    </a:cubicBezTo>
                    <a:cubicBezTo>
                      <a:pt x="27" y="359"/>
                      <a:pt x="67" y="298"/>
                      <a:pt x="67" y="298"/>
                    </a:cubicBezTo>
                    <a:cubicBezTo>
                      <a:pt x="67" y="298"/>
                      <a:pt x="155" y="318"/>
                      <a:pt x="323" y="318"/>
                    </a:cubicBezTo>
                    <a:cubicBezTo>
                      <a:pt x="330" y="318"/>
                      <a:pt x="336" y="318"/>
                      <a:pt x="342" y="318"/>
                    </a:cubicBezTo>
                    <a:cubicBezTo>
                      <a:pt x="342" y="318"/>
                      <a:pt x="355" y="303"/>
                      <a:pt x="349" y="260"/>
                    </a:cubicBezTo>
                    <a:cubicBezTo>
                      <a:pt x="349" y="260"/>
                      <a:pt x="373" y="281"/>
                      <a:pt x="371" y="317"/>
                    </a:cubicBezTo>
                    <a:cubicBezTo>
                      <a:pt x="386" y="317"/>
                      <a:pt x="400" y="316"/>
                      <a:pt x="414" y="315"/>
                    </a:cubicBezTo>
                    <a:cubicBezTo>
                      <a:pt x="421" y="287"/>
                      <a:pt x="406" y="236"/>
                      <a:pt x="406" y="236"/>
                    </a:cubicBezTo>
                    <a:cubicBezTo>
                      <a:pt x="443" y="259"/>
                      <a:pt x="447" y="312"/>
                      <a:pt x="447" y="312"/>
                    </a:cubicBezTo>
                    <a:cubicBezTo>
                      <a:pt x="488" y="308"/>
                      <a:pt x="522" y="303"/>
                      <a:pt x="549" y="298"/>
                    </a:cubicBezTo>
                    <a:cubicBezTo>
                      <a:pt x="549" y="298"/>
                      <a:pt x="579" y="347"/>
                      <a:pt x="585" y="412"/>
                    </a:cubicBezTo>
                    <a:cubicBezTo>
                      <a:pt x="591" y="406"/>
                      <a:pt x="599" y="401"/>
                      <a:pt x="609" y="399"/>
                    </a:cubicBezTo>
                    <a:cubicBezTo>
                      <a:pt x="611" y="372"/>
                      <a:pt x="612" y="351"/>
                      <a:pt x="612" y="323"/>
                    </a:cubicBezTo>
                    <a:cubicBezTo>
                      <a:pt x="612" y="310"/>
                      <a:pt x="612" y="296"/>
                      <a:pt x="611" y="284"/>
                    </a:cubicBezTo>
                    <a:close/>
                  </a:path>
                </a:pathLst>
              </a:custGeom>
              <a:solidFill>
                <a:srgbClr val="6B46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" name="Freeform 1237">
                <a:extLst>
                  <a:ext uri="{FF2B5EF4-FFF2-40B4-BE49-F238E27FC236}">
                    <a16:creationId xmlns:a16="http://schemas.microsoft.com/office/drawing/2014/main" id="{40A53836-B987-4627-936C-738DB045D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8203" y="1585506"/>
                <a:ext cx="286018" cy="80585"/>
              </a:xfrm>
              <a:custGeom>
                <a:avLst/>
                <a:gdLst>
                  <a:gd name="T0" fmla="*/ 608 w 610"/>
                  <a:gd name="T1" fmla="*/ 56 h 172"/>
                  <a:gd name="T2" fmla="*/ 610 w 610"/>
                  <a:gd name="T3" fmla="*/ 35 h 172"/>
                  <a:gd name="T4" fmla="*/ 535 w 610"/>
                  <a:gd name="T5" fmla="*/ 66 h 172"/>
                  <a:gd name="T6" fmla="*/ 451 w 610"/>
                  <a:gd name="T7" fmla="*/ 0 h 172"/>
                  <a:gd name="T8" fmla="*/ 369 w 610"/>
                  <a:gd name="T9" fmla="*/ 62 h 172"/>
                  <a:gd name="T10" fmla="*/ 307 w 610"/>
                  <a:gd name="T11" fmla="*/ 46 h 172"/>
                  <a:gd name="T12" fmla="*/ 246 w 610"/>
                  <a:gd name="T13" fmla="*/ 61 h 172"/>
                  <a:gd name="T14" fmla="*/ 164 w 610"/>
                  <a:gd name="T15" fmla="*/ 0 h 172"/>
                  <a:gd name="T16" fmla="*/ 80 w 610"/>
                  <a:gd name="T17" fmla="*/ 68 h 172"/>
                  <a:gd name="T18" fmla="*/ 0 w 610"/>
                  <a:gd name="T19" fmla="*/ 35 h 172"/>
                  <a:gd name="T20" fmla="*/ 1 w 610"/>
                  <a:gd name="T21" fmla="*/ 56 h 172"/>
                  <a:gd name="T22" fmla="*/ 1 w 610"/>
                  <a:gd name="T23" fmla="*/ 56 h 172"/>
                  <a:gd name="T24" fmla="*/ 78 w 610"/>
                  <a:gd name="T25" fmla="*/ 87 h 172"/>
                  <a:gd name="T26" fmla="*/ 164 w 610"/>
                  <a:gd name="T27" fmla="*/ 172 h 172"/>
                  <a:gd name="T28" fmla="*/ 250 w 610"/>
                  <a:gd name="T29" fmla="*/ 86 h 172"/>
                  <a:gd name="T30" fmla="*/ 250 w 610"/>
                  <a:gd name="T31" fmla="*/ 82 h 172"/>
                  <a:gd name="T32" fmla="*/ 307 w 610"/>
                  <a:gd name="T33" fmla="*/ 65 h 172"/>
                  <a:gd name="T34" fmla="*/ 366 w 610"/>
                  <a:gd name="T35" fmla="*/ 82 h 172"/>
                  <a:gd name="T36" fmla="*/ 366 w 610"/>
                  <a:gd name="T37" fmla="*/ 86 h 172"/>
                  <a:gd name="T38" fmla="*/ 451 w 610"/>
                  <a:gd name="T39" fmla="*/ 172 h 172"/>
                  <a:gd name="T40" fmla="*/ 537 w 610"/>
                  <a:gd name="T41" fmla="*/ 86 h 172"/>
                  <a:gd name="T42" fmla="*/ 537 w 610"/>
                  <a:gd name="T43" fmla="*/ 85 h 172"/>
                  <a:gd name="T44" fmla="*/ 608 w 610"/>
                  <a:gd name="T45" fmla="*/ 56 h 172"/>
                  <a:gd name="T46" fmla="*/ 164 w 610"/>
                  <a:gd name="T47" fmla="*/ 153 h 172"/>
                  <a:gd name="T48" fmla="*/ 97 w 610"/>
                  <a:gd name="T49" fmla="*/ 86 h 172"/>
                  <a:gd name="T50" fmla="*/ 164 w 610"/>
                  <a:gd name="T51" fmla="*/ 19 h 172"/>
                  <a:gd name="T52" fmla="*/ 231 w 610"/>
                  <a:gd name="T53" fmla="*/ 86 h 172"/>
                  <a:gd name="T54" fmla="*/ 164 w 610"/>
                  <a:gd name="T55" fmla="*/ 153 h 172"/>
                  <a:gd name="T56" fmla="*/ 451 w 610"/>
                  <a:gd name="T57" fmla="*/ 153 h 172"/>
                  <a:gd name="T58" fmla="*/ 384 w 610"/>
                  <a:gd name="T59" fmla="*/ 86 h 172"/>
                  <a:gd name="T60" fmla="*/ 451 w 610"/>
                  <a:gd name="T61" fmla="*/ 19 h 172"/>
                  <a:gd name="T62" fmla="*/ 519 w 610"/>
                  <a:gd name="T63" fmla="*/ 86 h 172"/>
                  <a:gd name="T64" fmla="*/ 451 w 610"/>
                  <a:gd name="T65" fmla="*/ 153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0" h="172">
                    <a:moveTo>
                      <a:pt x="608" y="56"/>
                    </a:moveTo>
                    <a:cubicBezTo>
                      <a:pt x="609" y="49"/>
                      <a:pt x="609" y="42"/>
                      <a:pt x="610" y="35"/>
                    </a:cubicBezTo>
                    <a:cubicBezTo>
                      <a:pt x="535" y="66"/>
                      <a:pt x="535" y="66"/>
                      <a:pt x="535" y="66"/>
                    </a:cubicBezTo>
                    <a:cubicBezTo>
                      <a:pt x="526" y="28"/>
                      <a:pt x="492" y="0"/>
                      <a:pt x="451" y="0"/>
                    </a:cubicBezTo>
                    <a:cubicBezTo>
                      <a:pt x="413" y="0"/>
                      <a:pt x="380" y="26"/>
                      <a:pt x="369" y="62"/>
                    </a:cubicBezTo>
                    <a:cubicBezTo>
                      <a:pt x="358" y="54"/>
                      <a:pt x="337" y="46"/>
                      <a:pt x="307" y="46"/>
                    </a:cubicBezTo>
                    <a:cubicBezTo>
                      <a:pt x="277" y="46"/>
                      <a:pt x="258" y="54"/>
                      <a:pt x="246" y="61"/>
                    </a:cubicBezTo>
                    <a:cubicBezTo>
                      <a:pt x="236" y="26"/>
                      <a:pt x="203" y="0"/>
                      <a:pt x="164" y="0"/>
                    </a:cubicBezTo>
                    <a:cubicBezTo>
                      <a:pt x="123" y="0"/>
                      <a:pt x="89" y="29"/>
                      <a:pt x="80" y="68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42"/>
                      <a:pt x="1" y="49"/>
                      <a:pt x="1" y="56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78" y="87"/>
                      <a:pt x="78" y="87"/>
                      <a:pt x="78" y="87"/>
                    </a:cubicBezTo>
                    <a:cubicBezTo>
                      <a:pt x="79" y="134"/>
                      <a:pt x="117" y="172"/>
                      <a:pt x="164" y="172"/>
                    </a:cubicBezTo>
                    <a:cubicBezTo>
                      <a:pt x="211" y="172"/>
                      <a:pt x="250" y="133"/>
                      <a:pt x="250" y="86"/>
                    </a:cubicBezTo>
                    <a:cubicBezTo>
                      <a:pt x="250" y="84"/>
                      <a:pt x="250" y="83"/>
                      <a:pt x="250" y="82"/>
                    </a:cubicBezTo>
                    <a:cubicBezTo>
                      <a:pt x="255" y="77"/>
                      <a:pt x="271" y="65"/>
                      <a:pt x="307" y="65"/>
                    </a:cubicBezTo>
                    <a:cubicBezTo>
                      <a:pt x="343" y="65"/>
                      <a:pt x="360" y="77"/>
                      <a:pt x="366" y="82"/>
                    </a:cubicBezTo>
                    <a:cubicBezTo>
                      <a:pt x="366" y="83"/>
                      <a:pt x="366" y="85"/>
                      <a:pt x="366" y="86"/>
                    </a:cubicBezTo>
                    <a:cubicBezTo>
                      <a:pt x="366" y="133"/>
                      <a:pt x="404" y="172"/>
                      <a:pt x="451" y="172"/>
                    </a:cubicBezTo>
                    <a:cubicBezTo>
                      <a:pt x="499" y="172"/>
                      <a:pt x="537" y="133"/>
                      <a:pt x="537" y="86"/>
                    </a:cubicBezTo>
                    <a:cubicBezTo>
                      <a:pt x="537" y="85"/>
                      <a:pt x="537" y="85"/>
                      <a:pt x="537" y="85"/>
                    </a:cubicBezTo>
                    <a:cubicBezTo>
                      <a:pt x="608" y="56"/>
                      <a:pt x="608" y="56"/>
                      <a:pt x="608" y="56"/>
                    </a:cubicBezTo>
                    <a:close/>
                    <a:moveTo>
                      <a:pt x="164" y="153"/>
                    </a:moveTo>
                    <a:cubicBezTo>
                      <a:pt x="127" y="153"/>
                      <a:pt x="97" y="123"/>
                      <a:pt x="97" y="86"/>
                    </a:cubicBezTo>
                    <a:cubicBezTo>
                      <a:pt x="97" y="49"/>
                      <a:pt x="127" y="19"/>
                      <a:pt x="164" y="19"/>
                    </a:cubicBezTo>
                    <a:cubicBezTo>
                      <a:pt x="201" y="19"/>
                      <a:pt x="231" y="49"/>
                      <a:pt x="231" y="86"/>
                    </a:cubicBezTo>
                    <a:cubicBezTo>
                      <a:pt x="231" y="123"/>
                      <a:pt x="201" y="153"/>
                      <a:pt x="164" y="153"/>
                    </a:cubicBezTo>
                    <a:close/>
                    <a:moveTo>
                      <a:pt x="451" y="153"/>
                    </a:moveTo>
                    <a:cubicBezTo>
                      <a:pt x="414" y="153"/>
                      <a:pt x="384" y="123"/>
                      <a:pt x="384" y="86"/>
                    </a:cubicBezTo>
                    <a:cubicBezTo>
                      <a:pt x="384" y="49"/>
                      <a:pt x="414" y="19"/>
                      <a:pt x="451" y="19"/>
                    </a:cubicBezTo>
                    <a:cubicBezTo>
                      <a:pt x="488" y="19"/>
                      <a:pt x="519" y="49"/>
                      <a:pt x="519" y="86"/>
                    </a:cubicBezTo>
                    <a:cubicBezTo>
                      <a:pt x="519" y="123"/>
                      <a:pt x="488" y="153"/>
                      <a:pt x="451" y="153"/>
                    </a:cubicBezTo>
                    <a:close/>
                  </a:path>
                </a:pathLst>
              </a:custGeom>
              <a:solidFill>
                <a:srgbClr val="2E32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11" name="Freeform 451">
              <a:extLst>
                <a:ext uri="{FF2B5EF4-FFF2-40B4-BE49-F238E27FC236}">
                  <a16:creationId xmlns:a16="http://schemas.microsoft.com/office/drawing/2014/main" id="{C6F19A17-0EC5-4CE5-8852-5818729F7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8035" y="5035485"/>
              <a:ext cx="124291" cy="328737"/>
            </a:xfrm>
            <a:custGeom>
              <a:avLst/>
              <a:gdLst>
                <a:gd name="T0" fmla="*/ 62 w 162"/>
                <a:gd name="T1" fmla="*/ 18 h 429"/>
                <a:gd name="T2" fmla="*/ 6 w 162"/>
                <a:gd name="T3" fmla="*/ 207 h 429"/>
                <a:gd name="T4" fmla="*/ 162 w 162"/>
                <a:gd name="T5" fmla="*/ 429 h 429"/>
                <a:gd name="T6" fmla="*/ 108 w 162"/>
                <a:gd name="T7" fmla="*/ 233 h 429"/>
                <a:gd name="T8" fmla="*/ 110 w 162"/>
                <a:gd name="T9" fmla="*/ 25 h 429"/>
                <a:gd name="T10" fmla="*/ 62 w 162"/>
                <a:gd name="T11" fmla="*/ 1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429">
                  <a:moveTo>
                    <a:pt x="62" y="18"/>
                  </a:moveTo>
                  <a:cubicBezTo>
                    <a:pt x="62" y="18"/>
                    <a:pt x="0" y="70"/>
                    <a:pt x="6" y="207"/>
                  </a:cubicBezTo>
                  <a:cubicBezTo>
                    <a:pt x="13" y="343"/>
                    <a:pt x="56" y="409"/>
                    <a:pt x="162" y="429"/>
                  </a:cubicBezTo>
                  <a:cubicBezTo>
                    <a:pt x="162" y="429"/>
                    <a:pt x="134" y="324"/>
                    <a:pt x="108" y="233"/>
                  </a:cubicBezTo>
                  <a:cubicBezTo>
                    <a:pt x="90" y="168"/>
                    <a:pt x="82" y="93"/>
                    <a:pt x="110" y="25"/>
                  </a:cubicBezTo>
                  <a:cubicBezTo>
                    <a:pt x="110" y="25"/>
                    <a:pt x="97" y="0"/>
                    <a:pt x="62" y="18"/>
                  </a:cubicBezTo>
                  <a:close/>
                </a:path>
              </a:pathLst>
            </a:custGeom>
            <a:solidFill>
              <a:srgbClr val="4C3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46" name="文本框 145">
            <a:extLst>
              <a:ext uri="{FF2B5EF4-FFF2-40B4-BE49-F238E27FC236}">
                <a16:creationId xmlns:a16="http://schemas.microsoft.com/office/drawing/2014/main" id="{B7E64F3E-189C-4F5D-B95E-222A0A5E4FA8}"/>
              </a:ext>
            </a:extLst>
          </p:cNvPr>
          <p:cNvSpPr txBox="1"/>
          <p:nvPr/>
        </p:nvSpPr>
        <p:spPr>
          <a:xfrm>
            <a:off x="8040623" y="6147904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rgbClr val="E2963B"/>
                </a:solidFill>
                <a:latin typeface="+mj-ea"/>
                <a:ea typeface="+mj-ea"/>
              </a:rPr>
              <a:t>学生开心</a:t>
            </a:r>
          </a:p>
        </p:txBody>
      </p:sp>
      <p:grpSp>
        <p:nvGrpSpPr>
          <p:cNvPr id="25" name="组合 24"/>
          <p:cNvGrpSpPr/>
          <p:nvPr/>
        </p:nvGrpSpPr>
        <p:grpSpPr>
          <a:xfrm>
            <a:off x="2049450" y="498102"/>
            <a:ext cx="2872902" cy="541728"/>
            <a:chOff x="1700171" y="746810"/>
            <a:chExt cx="2872902" cy="541728"/>
          </a:xfrm>
        </p:grpSpPr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0D3EE6BC-6221-4383-A0C7-424EA6E06AC9}"/>
                </a:ext>
              </a:extLst>
            </p:cNvPr>
            <p:cNvSpPr txBox="1"/>
            <p:nvPr/>
          </p:nvSpPr>
          <p:spPr>
            <a:xfrm>
              <a:off x="1700171" y="826873"/>
              <a:ext cx="28729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600" dirty="0">
                  <a:solidFill>
                    <a:srgbClr val="92D050"/>
                  </a:solidFill>
                  <a:latin typeface="+mn-ea"/>
                </a:rPr>
                <a:t>以微信               公众号为入口</a:t>
              </a:r>
              <a:endParaRPr lang="en-US" altLang="zh-CN" sz="1600" dirty="0">
                <a:solidFill>
                  <a:srgbClr val="92D050"/>
                </a:solidFill>
                <a:latin typeface="+mn-ea"/>
              </a:endParaRPr>
            </a:p>
          </p:txBody>
        </p:sp>
        <p:grpSp>
          <p:nvGrpSpPr>
            <p:cNvPr id="19" name="组合 18"/>
            <p:cNvGrpSpPr/>
            <p:nvPr/>
          </p:nvGrpSpPr>
          <p:grpSpPr>
            <a:xfrm>
              <a:off x="2527870" y="746810"/>
              <a:ext cx="612000" cy="468000"/>
              <a:chOff x="2757722" y="582838"/>
              <a:chExt cx="812929" cy="640781"/>
            </a:xfrm>
          </p:grpSpPr>
          <p:sp>
            <p:nvSpPr>
              <p:cNvPr id="183" name="Freeform 12"/>
              <p:cNvSpPr>
                <a:spLocks/>
              </p:cNvSpPr>
              <p:nvPr/>
            </p:nvSpPr>
            <p:spPr bwMode="black">
              <a:xfrm>
                <a:off x="2757722" y="582838"/>
                <a:ext cx="812929" cy="640781"/>
              </a:xfrm>
              <a:custGeom>
                <a:avLst/>
                <a:gdLst/>
                <a:ahLst/>
                <a:cxnLst/>
                <a:rect l="l" t="t" r="r" b="b"/>
                <a:pathLst>
                  <a:path w="611218" h="481979">
                    <a:moveTo>
                      <a:pt x="224745" y="94707"/>
                    </a:moveTo>
                    <a:cubicBezTo>
                      <a:pt x="347961" y="94707"/>
                      <a:pt x="448505" y="171589"/>
                      <a:pt x="448505" y="266213"/>
                    </a:cubicBezTo>
                    <a:cubicBezTo>
                      <a:pt x="448505" y="360837"/>
                      <a:pt x="347961" y="436734"/>
                      <a:pt x="224745" y="436734"/>
                    </a:cubicBezTo>
                    <a:cubicBezTo>
                      <a:pt x="202074" y="436734"/>
                      <a:pt x="181373" y="434763"/>
                      <a:pt x="161659" y="429834"/>
                    </a:cubicBezTo>
                    <a:cubicBezTo>
                      <a:pt x="135044" y="478132"/>
                      <a:pt x="86744" y="488974"/>
                      <a:pt x="44358" y="478132"/>
                    </a:cubicBezTo>
                    <a:cubicBezTo>
                      <a:pt x="69986" y="455462"/>
                      <a:pt x="92658" y="434763"/>
                      <a:pt x="109416" y="413078"/>
                    </a:cubicBezTo>
                    <a:cubicBezTo>
                      <a:pt x="43372" y="382522"/>
                      <a:pt x="0" y="328310"/>
                      <a:pt x="0" y="266213"/>
                    </a:cubicBezTo>
                    <a:cubicBezTo>
                      <a:pt x="0" y="171589"/>
                      <a:pt x="100544" y="94707"/>
                      <a:pt x="224745" y="94707"/>
                    </a:cubicBezTo>
                    <a:close/>
                    <a:moveTo>
                      <a:pt x="386440" y="0"/>
                    </a:moveTo>
                    <a:cubicBezTo>
                      <a:pt x="510659" y="0"/>
                      <a:pt x="611218" y="76830"/>
                      <a:pt x="611218" y="170405"/>
                    </a:cubicBezTo>
                    <a:cubicBezTo>
                      <a:pt x="611218" y="232460"/>
                      <a:pt x="566854" y="287620"/>
                      <a:pt x="501787" y="317170"/>
                    </a:cubicBezTo>
                    <a:cubicBezTo>
                      <a:pt x="518546" y="338840"/>
                      <a:pt x="541221" y="360510"/>
                      <a:pt x="566854" y="382180"/>
                    </a:cubicBezTo>
                    <a:cubicBezTo>
                      <a:pt x="523476" y="393015"/>
                      <a:pt x="481083" y="383165"/>
                      <a:pt x="454465" y="334900"/>
                    </a:cubicBezTo>
                    <a:cubicBezTo>
                      <a:pt x="547137" y="154645"/>
                      <a:pt x="301656" y="47280"/>
                      <a:pt x="201097" y="73875"/>
                    </a:cubicBezTo>
                    <a:cubicBezTo>
                      <a:pt x="241518" y="29550"/>
                      <a:pt x="309542" y="0"/>
                      <a:pt x="386440" y="0"/>
                    </a:cubicBez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/>
            </p:spPr>
            <p:txBody>
              <a:bodyPr vert="horz" wrap="square" lIns="93243" tIns="46620" rIns="93243" bIns="466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椭圆 17"/>
              <p:cNvSpPr/>
              <p:nvPr/>
            </p:nvSpPr>
            <p:spPr>
              <a:xfrm>
                <a:off x="2891708" y="871935"/>
                <a:ext cx="88334" cy="8833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4" name="椭圆 183"/>
              <p:cNvSpPr/>
              <p:nvPr/>
            </p:nvSpPr>
            <p:spPr>
              <a:xfrm>
                <a:off x="3114028" y="871935"/>
                <a:ext cx="88334" cy="8833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168" name="Freeform 879">
            <a:extLst>
              <a:ext uri="{FF2B5EF4-FFF2-40B4-BE49-F238E27FC236}">
                <a16:creationId xmlns:a16="http://schemas.microsoft.com/office/drawing/2014/main" id="{2E95B80D-F503-4848-8197-37D0CE56F155}"/>
              </a:ext>
            </a:extLst>
          </p:cNvPr>
          <p:cNvSpPr>
            <a:spLocks noEditPoints="1"/>
          </p:cNvSpPr>
          <p:nvPr/>
        </p:nvSpPr>
        <p:spPr bwMode="auto">
          <a:xfrm>
            <a:off x="4387046" y="1395427"/>
            <a:ext cx="396000" cy="396000"/>
          </a:xfrm>
          <a:custGeom>
            <a:avLst/>
            <a:gdLst>
              <a:gd name="T0" fmla="*/ 85 w 170"/>
              <a:gd name="T1" fmla="*/ 0 h 170"/>
              <a:gd name="T2" fmla="*/ 0 w 170"/>
              <a:gd name="T3" fmla="*/ 86 h 170"/>
              <a:gd name="T4" fmla="*/ 85 w 170"/>
              <a:gd name="T5" fmla="*/ 170 h 170"/>
              <a:gd name="T6" fmla="*/ 145 w 170"/>
              <a:gd name="T7" fmla="*/ 145 h 170"/>
              <a:gd name="T8" fmla="*/ 145 w 170"/>
              <a:gd name="T9" fmla="*/ 25 h 170"/>
              <a:gd name="T10" fmla="*/ 85 w 170"/>
              <a:gd name="T11" fmla="*/ 155 h 170"/>
              <a:gd name="T12" fmla="*/ 15 w 170"/>
              <a:gd name="T13" fmla="*/ 86 h 170"/>
              <a:gd name="T14" fmla="*/ 85 w 170"/>
              <a:gd name="T15" fmla="*/ 15 h 170"/>
              <a:gd name="T16" fmla="*/ 155 w 170"/>
              <a:gd name="T17" fmla="*/ 85 h 170"/>
              <a:gd name="T18" fmla="*/ 139 w 170"/>
              <a:gd name="T19" fmla="*/ 69 h 170"/>
              <a:gd name="T20" fmla="*/ 121 w 170"/>
              <a:gd name="T21" fmla="*/ 45 h 170"/>
              <a:gd name="T22" fmla="*/ 134 w 170"/>
              <a:gd name="T23" fmla="*/ 70 h 170"/>
              <a:gd name="T24" fmla="*/ 136 w 170"/>
              <a:gd name="T25" fmla="*/ 88 h 170"/>
              <a:gd name="T26" fmla="*/ 85 w 170"/>
              <a:gd name="T27" fmla="*/ 136 h 170"/>
              <a:gd name="T28" fmla="*/ 47 w 170"/>
              <a:gd name="T29" fmla="*/ 119 h 170"/>
              <a:gd name="T30" fmla="*/ 41 w 170"/>
              <a:gd name="T31" fmla="*/ 109 h 170"/>
              <a:gd name="T32" fmla="*/ 34 w 170"/>
              <a:gd name="T33" fmla="*/ 91 h 170"/>
              <a:gd name="T34" fmla="*/ 35 w 170"/>
              <a:gd name="T35" fmla="*/ 72 h 170"/>
              <a:gd name="T36" fmla="*/ 53 w 170"/>
              <a:gd name="T37" fmla="*/ 63 h 170"/>
              <a:gd name="T38" fmla="*/ 57 w 170"/>
              <a:gd name="T39" fmla="*/ 113 h 170"/>
              <a:gd name="T40" fmla="*/ 69 w 170"/>
              <a:gd name="T41" fmla="*/ 121 h 170"/>
              <a:gd name="T42" fmla="*/ 88 w 170"/>
              <a:gd name="T43" fmla="*/ 124 h 170"/>
              <a:gd name="T44" fmla="*/ 124 w 170"/>
              <a:gd name="T45" fmla="*/ 85 h 170"/>
              <a:gd name="T46" fmla="*/ 109 w 170"/>
              <a:gd name="T47" fmla="*/ 57 h 170"/>
              <a:gd name="T48" fmla="*/ 119 w 170"/>
              <a:gd name="T49" fmla="*/ 85 h 170"/>
              <a:gd name="T50" fmla="*/ 89 w 170"/>
              <a:gd name="T51" fmla="*/ 119 h 170"/>
              <a:gd name="T52" fmla="*/ 71 w 170"/>
              <a:gd name="T53" fmla="*/ 116 h 170"/>
              <a:gd name="T54" fmla="*/ 51 w 170"/>
              <a:gd name="T55" fmla="*/ 85 h 170"/>
              <a:gd name="T56" fmla="*/ 75 w 170"/>
              <a:gd name="T57" fmla="*/ 85 h 170"/>
              <a:gd name="T58" fmla="*/ 85 w 170"/>
              <a:gd name="T59" fmla="*/ 95 h 170"/>
              <a:gd name="T60" fmla="*/ 85 w 170"/>
              <a:gd name="T61" fmla="*/ 75 h 170"/>
              <a:gd name="T62" fmla="*/ 39 w 170"/>
              <a:gd name="T63" fmla="*/ 39 h 170"/>
              <a:gd name="T64" fmla="*/ 40 w 170"/>
              <a:gd name="T65" fmla="*/ 50 h 170"/>
              <a:gd name="T66" fmla="*/ 22 w 170"/>
              <a:gd name="T67" fmla="*/ 81 h 170"/>
              <a:gd name="T68" fmla="*/ 35 w 170"/>
              <a:gd name="T69" fmla="*/ 112 h 170"/>
              <a:gd name="T70" fmla="*/ 41 w 170"/>
              <a:gd name="T71" fmla="*/ 123 h 170"/>
              <a:gd name="T72" fmla="*/ 45 w 170"/>
              <a:gd name="T73" fmla="*/ 125 h 170"/>
              <a:gd name="T74" fmla="*/ 125 w 170"/>
              <a:gd name="T75" fmla="*/ 125 h 170"/>
              <a:gd name="T76" fmla="*/ 148 w 170"/>
              <a:gd name="T77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0" h="170">
                <a:moveTo>
                  <a:pt x="145" y="25"/>
                </a:moveTo>
                <a:cubicBezTo>
                  <a:pt x="128" y="9"/>
                  <a:pt x="107" y="0"/>
                  <a:pt x="85" y="0"/>
                </a:cubicBezTo>
                <a:cubicBezTo>
                  <a:pt x="63" y="0"/>
                  <a:pt x="42" y="9"/>
                  <a:pt x="25" y="25"/>
                </a:cubicBezTo>
                <a:cubicBezTo>
                  <a:pt x="8" y="42"/>
                  <a:pt x="0" y="64"/>
                  <a:pt x="0" y="86"/>
                </a:cubicBezTo>
                <a:cubicBezTo>
                  <a:pt x="0" y="107"/>
                  <a:pt x="9" y="129"/>
                  <a:pt x="25" y="145"/>
                </a:cubicBezTo>
                <a:cubicBezTo>
                  <a:pt x="42" y="161"/>
                  <a:pt x="63" y="170"/>
                  <a:pt x="85" y="170"/>
                </a:cubicBezTo>
                <a:cubicBezTo>
                  <a:pt x="85" y="170"/>
                  <a:pt x="85" y="170"/>
                  <a:pt x="85" y="170"/>
                </a:cubicBezTo>
                <a:cubicBezTo>
                  <a:pt x="107" y="170"/>
                  <a:pt x="128" y="161"/>
                  <a:pt x="145" y="145"/>
                </a:cubicBezTo>
                <a:cubicBezTo>
                  <a:pt x="161" y="128"/>
                  <a:pt x="170" y="107"/>
                  <a:pt x="170" y="85"/>
                </a:cubicBezTo>
                <a:cubicBezTo>
                  <a:pt x="170" y="63"/>
                  <a:pt x="161" y="42"/>
                  <a:pt x="145" y="25"/>
                </a:cubicBezTo>
                <a:close/>
                <a:moveTo>
                  <a:pt x="135" y="135"/>
                </a:moveTo>
                <a:cubicBezTo>
                  <a:pt x="121" y="148"/>
                  <a:pt x="103" y="155"/>
                  <a:pt x="85" y="155"/>
                </a:cubicBezTo>
                <a:cubicBezTo>
                  <a:pt x="67" y="155"/>
                  <a:pt x="49" y="148"/>
                  <a:pt x="35" y="135"/>
                </a:cubicBezTo>
                <a:cubicBezTo>
                  <a:pt x="22" y="121"/>
                  <a:pt x="15" y="103"/>
                  <a:pt x="15" y="86"/>
                </a:cubicBezTo>
                <a:cubicBezTo>
                  <a:pt x="15" y="67"/>
                  <a:pt x="22" y="49"/>
                  <a:pt x="35" y="35"/>
                </a:cubicBezTo>
                <a:cubicBezTo>
                  <a:pt x="49" y="22"/>
                  <a:pt x="67" y="15"/>
                  <a:pt x="85" y="15"/>
                </a:cubicBezTo>
                <a:cubicBezTo>
                  <a:pt x="103" y="15"/>
                  <a:pt x="121" y="22"/>
                  <a:pt x="135" y="35"/>
                </a:cubicBezTo>
                <a:cubicBezTo>
                  <a:pt x="148" y="49"/>
                  <a:pt x="155" y="67"/>
                  <a:pt x="155" y="85"/>
                </a:cubicBezTo>
                <a:cubicBezTo>
                  <a:pt x="155" y="103"/>
                  <a:pt x="148" y="121"/>
                  <a:pt x="135" y="135"/>
                </a:cubicBezTo>
                <a:close/>
                <a:moveTo>
                  <a:pt x="139" y="69"/>
                </a:moveTo>
                <a:cubicBezTo>
                  <a:pt x="136" y="60"/>
                  <a:pt x="132" y="52"/>
                  <a:pt x="125" y="45"/>
                </a:cubicBezTo>
                <a:cubicBezTo>
                  <a:pt x="124" y="44"/>
                  <a:pt x="122" y="44"/>
                  <a:pt x="121" y="45"/>
                </a:cubicBezTo>
                <a:cubicBezTo>
                  <a:pt x="120" y="46"/>
                  <a:pt x="120" y="48"/>
                  <a:pt x="121" y="49"/>
                </a:cubicBezTo>
                <a:cubicBezTo>
                  <a:pt x="127" y="55"/>
                  <a:pt x="132" y="62"/>
                  <a:pt x="134" y="70"/>
                </a:cubicBezTo>
                <a:cubicBezTo>
                  <a:pt x="131" y="71"/>
                  <a:pt x="129" y="75"/>
                  <a:pt x="129" y="79"/>
                </a:cubicBezTo>
                <a:cubicBezTo>
                  <a:pt x="129" y="83"/>
                  <a:pt x="132" y="87"/>
                  <a:pt x="136" y="88"/>
                </a:cubicBezTo>
                <a:cubicBezTo>
                  <a:pt x="135" y="100"/>
                  <a:pt x="131" y="112"/>
                  <a:pt x="121" y="121"/>
                </a:cubicBezTo>
                <a:cubicBezTo>
                  <a:pt x="111" y="131"/>
                  <a:pt x="98" y="136"/>
                  <a:pt x="85" y="136"/>
                </a:cubicBezTo>
                <a:cubicBezTo>
                  <a:pt x="72" y="136"/>
                  <a:pt x="59" y="131"/>
                  <a:pt x="49" y="121"/>
                </a:cubicBezTo>
                <a:cubicBezTo>
                  <a:pt x="48" y="121"/>
                  <a:pt x="47" y="120"/>
                  <a:pt x="47" y="119"/>
                </a:cubicBezTo>
                <a:cubicBezTo>
                  <a:pt x="47" y="118"/>
                  <a:pt x="48" y="117"/>
                  <a:pt x="48" y="116"/>
                </a:cubicBezTo>
                <a:cubicBezTo>
                  <a:pt x="48" y="112"/>
                  <a:pt x="45" y="109"/>
                  <a:pt x="41" y="109"/>
                </a:cubicBezTo>
                <a:cubicBezTo>
                  <a:pt x="41" y="109"/>
                  <a:pt x="40" y="109"/>
                  <a:pt x="40" y="109"/>
                </a:cubicBezTo>
                <a:cubicBezTo>
                  <a:pt x="37" y="103"/>
                  <a:pt x="35" y="97"/>
                  <a:pt x="34" y="91"/>
                </a:cubicBezTo>
                <a:cubicBezTo>
                  <a:pt x="38" y="90"/>
                  <a:pt x="41" y="86"/>
                  <a:pt x="41" y="81"/>
                </a:cubicBezTo>
                <a:cubicBezTo>
                  <a:pt x="41" y="77"/>
                  <a:pt x="39" y="74"/>
                  <a:pt x="35" y="72"/>
                </a:cubicBezTo>
                <a:cubicBezTo>
                  <a:pt x="37" y="66"/>
                  <a:pt x="40" y="60"/>
                  <a:pt x="44" y="54"/>
                </a:cubicBezTo>
                <a:cubicBezTo>
                  <a:pt x="53" y="63"/>
                  <a:pt x="53" y="63"/>
                  <a:pt x="53" y="63"/>
                </a:cubicBezTo>
                <a:cubicBezTo>
                  <a:pt x="48" y="70"/>
                  <a:pt x="46" y="77"/>
                  <a:pt x="46" y="85"/>
                </a:cubicBezTo>
                <a:cubicBezTo>
                  <a:pt x="46" y="95"/>
                  <a:pt x="50" y="105"/>
                  <a:pt x="57" y="113"/>
                </a:cubicBezTo>
                <a:cubicBezTo>
                  <a:pt x="61" y="116"/>
                  <a:pt x="65" y="119"/>
                  <a:pt x="69" y="121"/>
                </a:cubicBezTo>
                <a:cubicBezTo>
                  <a:pt x="69" y="121"/>
                  <a:pt x="69" y="121"/>
                  <a:pt x="69" y="121"/>
                </a:cubicBezTo>
                <a:cubicBezTo>
                  <a:pt x="69" y="126"/>
                  <a:pt x="74" y="131"/>
                  <a:pt x="79" y="131"/>
                </a:cubicBezTo>
                <a:cubicBezTo>
                  <a:pt x="83" y="131"/>
                  <a:pt x="87" y="128"/>
                  <a:pt x="88" y="124"/>
                </a:cubicBezTo>
                <a:cubicBezTo>
                  <a:pt x="97" y="123"/>
                  <a:pt x="106" y="119"/>
                  <a:pt x="113" y="113"/>
                </a:cubicBezTo>
                <a:cubicBezTo>
                  <a:pt x="120" y="105"/>
                  <a:pt x="124" y="95"/>
                  <a:pt x="124" y="85"/>
                </a:cubicBezTo>
                <a:cubicBezTo>
                  <a:pt x="124" y="75"/>
                  <a:pt x="120" y="65"/>
                  <a:pt x="113" y="57"/>
                </a:cubicBezTo>
                <a:cubicBezTo>
                  <a:pt x="112" y="56"/>
                  <a:pt x="110" y="56"/>
                  <a:pt x="109" y="57"/>
                </a:cubicBezTo>
                <a:cubicBezTo>
                  <a:pt x="108" y="58"/>
                  <a:pt x="108" y="60"/>
                  <a:pt x="109" y="61"/>
                </a:cubicBezTo>
                <a:cubicBezTo>
                  <a:pt x="116" y="68"/>
                  <a:pt x="119" y="76"/>
                  <a:pt x="119" y="85"/>
                </a:cubicBezTo>
                <a:cubicBezTo>
                  <a:pt x="119" y="94"/>
                  <a:pt x="116" y="102"/>
                  <a:pt x="109" y="109"/>
                </a:cubicBezTo>
                <a:cubicBezTo>
                  <a:pt x="103" y="115"/>
                  <a:pt x="96" y="118"/>
                  <a:pt x="89" y="119"/>
                </a:cubicBezTo>
                <a:cubicBezTo>
                  <a:pt x="88" y="114"/>
                  <a:pt x="84" y="111"/>
                  <a:pt x="79" y="111"/>
                </a:cubicBezTo>
                <a:cubicBezTo>
                  <a:pt x="75" y="111"/>
                  <a:pt x="72" y="113"/>
                  <a:pt x="71" y="116"/>
                </a:cubicBezTo>
                <a:cubicBezTo>
                  <a:pt x="67" y="114"/>
                  <a:pt x="64" y="112"/>
                  <a:pt x="61" y="109"/>
                </a:cubicBezTo>
                <a:cubicBezTo>
                  <a:pt x="54" y="102"/>
                  <a:pt x="51" y="94"/>
                  <a:pt x="51" y="85"/>
                </a:cubicBezTo>
                <a:cubicBezTo>
                  <a:pt x="51" y="79"/>
                  <a:pt x="53" y="72"/>
                  <a:pt x="56" y="66"/>
                </a:cubicBezTo>
                <a:cubicBezTo>
                  <a:pt x="75" y="85"/>
                  <a:pt x="75" y="85"/>
                  <a:pt x="75" y="85"/>
                </a:cubicBezTo>
                <a:cubicBezTo>
                  <a:pt x="75" y="85"/>
                  <a:pt x="75" y="85"/>
                  <a:pt x="75" y="85"/>
                </a:cubicBezTo>
                <a:cubicBezTo>
                  <a:pt x="75" y="90"/>
                  <a:pt x="79" y="95"/>
                  <a:pt x="85" y="95"/>
                </a:cubicBezTo>
                <a:cubicBezTo>
                  <a:pt x="90" y="95"/>
                  <a:pt x="94" y="90"/>
                  <a:pt x="94" y="85"/>
                </a:cubicBezTo>
                <a:cubicBezTo>
                  <a:pt x="94" y="80"/>
                  <a:pt x="90" y="75"/>
                  <a:pt x="85" y="75"/>
                </a:cubicBezTo>
                <a:cubicBezTo>
                  <a:pt x="49" y="39"/>
                  <a:pt x="49" y="39"/>
                  <a:pt x="49" y="39"/>
                </a:cubicBezTo>
                <a:cubicBezTo>
                  <a:pt x="46" y="36"/>
                  <a:pt x="42" y="36"/>
                  <a:pt x="39" y="39"/>
                </a:cubicBezTo>
                <a:cubicBezTo>
                  <a:pt x="36" y="42"/>
                  <a:pt x="36" y="46"/>
                  <a:pt x="39" y="49"/>
                </a:cubicBezTo>
                <a:cubicBezTo>
                  <a:pt x="40" y="50"/>
                  <a:pt x="40" y="50"/>
                  <a:pt x="40" y="50"/>
                </a:cubicBezTo>
                <a:cubicBezTo>
                  <a:pt x="36" y="57"/>
                  <a:pt x="32" y="64"/>
                  <a:pt x="30" y="71"/>
                </a:cubicBezTo>
                <a:cubicBezTo>
                  <a:pt x="25" y="72"/>
                  <a:pt x="22" y="76"/>
                  <a:pt x="22" y="81"/>
                </a:cubicBezTo>
                <a:cubicBezTo>
                  <a:pt x="22" y="86"/>
                  <a:pt x="25" y="90"/>
                  <a:pt x="29" y="91"/>
                </a:cubicBezTo>
                <a:cubicBezTo>
                  <a:pt x="30" y="98"/>
                  <a:pt x="32" y="105"/>
                  <a:pt x="35" y="112"/>
                </a:cubicBezTo>
                <a:cubicBezTo>
                  <a:pt x="35" y="113"/>
                  <a:pt x="34" y="114"/>
                  <a:pt x="34" y="116"/>
                </a:cubicBezTo>
                <a:cubicBezTo>
                  <a:pt x="34" y="120"/>
                  <a:pt x="37" y="123"/>
                  <a:pt x="41" y="123"/>
                </a:cubicBezTo>
                <a:cubicBezTo>
                  <a:pt x="42" y="123"/>
                  <a:pt x="42" y="123"/>
                  <a:pt x="43" y="123"/>
                </a:cubicBezTo>
                <a:cubicBezTo>
                  <a:pt x="44" y="123"/>
                  <a:pt x="44" y="124"/>
                  <a:pt x="45" y="125"/>
                </a:cubicBezTo>
                <a:cubicBezTo>
                  <a:pt x="56" y="136"/>
                  <a:pt x="71" y="141"/>
                  <a:pt x="85" y="141"/>
                </a:cubicBezTo>
                <a:cubicBezTo>
                  <a:pt x="99" y="141"/>
                  <a:pt x="114" y="136"/>
                  <a:pt x="125" y="125"/>
                </a:cubicBezTo>
                <a:cubicBezTo>
                  <a:pt x="135" y="115"/>
                  <a:pt x="141" y="102"/>
                  <a:pt x="141" y="88"/>
                </a:cubicBezTo>
                <a:cubicBezTo>
                  <a:pt x="145" y="87"/>
                  <a:pt x="148" y="83"/>
                  <a:pt x="148" y="79"/>
                </a:cubicBezTo>
                <a:cubicBezTo>
                  <a:pt x="148" y="73"/>
                  <a:pt x="144" y="69"/>
                  <a:pt x="139" y="69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xtLst/>
        </p:spPr>
        <p:txBody>
          <a:bodyPr lIns="68580" tIns="34290" rIns="68580" bIns="34290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zh-CN" altLang="en-US" sz="900">
              <a:solidFill>
                <a:schemeClr val="tx1">
                  <a:lumMod val="65000"/>
                  <a:lumOff val="35000"/>
                </a:schemeClr>
              </a:solidFill>
              <a:latin typeface="Calibri"/>
            </a:endParaRPr>
          </a:p>
        </p:txBody>
      </p:sp>
      <p:grpSp>
        <p:nvGrpSpPr>
          <p:cNvPr id="169" name="组合 168">
            <a:extLst>
              <a:ext uri="{FF2B5EF4-FFF2-40B4-BE49-F238E27FC236}">
                <a16:creationId xmlns:a16="http://schemas.microsoft.com/office/drawing/2014/main" id="{299C3CD4-8A11-4598-B9EB-500FCAA081B4}"/>
              </a:ext>
            </a:extLst>
          </p:cNvPr>
          <p:cNvGrpSpPr/>
          <p:nvPr/>
        </p:nvGrpSpPr>
        <p:grpSpPr>
          <a:xfrm>
            <a:off x="2890281" y="1401234"/>
            <a:ext cx="396000" cy="396000"/>
            <a:chOff x="6822123" y="3918903"/>
            <a:chExt cx="315912" cy="333375"/>
          </a:xfrm>
          <a:solidFill>
            <a:schemeClr val="accent5">
              <a:lumMod val="75000"/>
            </a:schemeClr>
          </a:solidFill>
        </p:grpSpPr>
        <p:sp>
          <p:nvSpPr>
            <p:cNvPr id="170" name="Freeform 861">
              <a:extLst>
                <a:ext uri="{FF2B5EF4-FFF2-40B4-BE49-F238E27FC236}">
                  <a16:creationId xmlns:a16="http://schemas.microsoft.com/office/drawing/2014/main" id="{0F077BA8-6D12-4F04-9869-E6002884F4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2123" y="3918903"/>
              <a:ext cx="315912" cy="296862"/>
            </a:xfrm>
            <a:custGeom>
              <a:avLst/>
              <a:gdLst>
                <a:gd name="T0" fmla="*/ 82 w 164"/>
                <a:gd name="T1" fmla="*/ 40 h 155"/>
                <a:gd name="T2" fmla="*/ 124 w 164"/>
                <a:gd name="T3" fmla="*/ 82 h 155"/>
                <a:gd name="T4" fmla="*/ 113 w 164"/>
                <a:gd name="T5" fmla="*/ 116 h 155"/>
                <a:gd name="T6" fmla="*/ 135 w 164"/>
                <a:gd name="T7" fmla="*/ 82 h 155"/>
                <a:gd name="T8" fmla="*/ 82 w 164"/>
                <a:gd name="T9" fmla="*/ 29 h 155"/>
                <a:gd name="T10" fmla="*/ 82 w 164"/>
                <a:gd name="T11" fmla="*/ 29 h 155"/>
                <a:gd name="T12" fmla="*/ 29 w 164"/>
                <a:gd name="T13" fmla="*/ 82 h 155"/>
                <a:gd name="T14" fmla="*/ 52 w 164"/>
                <a:gd name="T15" fmla="*/ 116 h 155"/>
                <a:gd name="T16" fmla="*/ 40 w 164"/>
                <a:gd name="T17" fmla="*/ 82 h 155"/>
                <a:gd name="T18" fmla="*/ 82 w 164"/>
                <a:gd name="T19" fmla="*/ 40 h 155"/>
                <a:gd name="T20" fmla="*/ 82 w 164"/>
                <a:gd name="T21" fmla="*/ 0 h 155"/>
                <a:gd name="T22" fmla="*/ 0 w 164"/>
                <a:gd name="T23" fmla="*/ 82 h 155"/>
                <a:gd name="T24" fmla="*/ 8 w 164"/>
                <a:gd name="T25" fmla="*/ 116 h 155"/>
                <a:gd name="T26" fmla="*/ 57 w 164"/>
                <a:gd name="T27" fmla="*/ 155 h 155"/>
                <a:gd name="T28" fmla="*/ 55 w 164"/>
                <a:gd name="T29" fmla="*/ 152 h 155"/>
                <a:gd name="T30" fmla="*/ 18 w 164"/>
                <a:gd name="T31" fmla="*/ 112 h 155"/>
                <a:gd name="T32" fmla="*/ 11 w 164"/>
                <a:gd name="T33" fmla="*/ 82 h 155"/>
                <a:gd name="T34" fmla="*/ 82 w 164"/>
                <a:gd name="T35" fmla="*/ 11 h 155"/>
                <a:gd name="T36" fmla="*/ 153 w 164"/>
                <a:gd name="T37" fmla="*/ 82 h 155"/>
                <a:gd name="T38" fmla="*/ 110 w 164"/>
                <a:gd name="T39" fmla="*/ 152 h 155"/>
                <a:gd name="T40" fmla="*/ 109 w 164"/>
                <a:gd name="T41" fmla="*/ 155 h 155"/>
                <a:gd name="T42" fmla="*/ 164 w 164"/>
                <a:gd name="T43" fmla="*/ 82 h 155"/>
                <a:gd name="T44" fmla="*/ 82 w 164"/>
                <a:gd name="T4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4" h="155">
                  <a:moveTo>
                    <a:pt x="82" y="40"/>
                  </a:moveTo>
                  <a:cubicBezTo>
                    <a:pt x="105" y="40"/>
                    <a:pt x="124" y="59"/>
                    <a:pt x="124" y="82"/>
                  </a:cubicBezTo>
                  <a:cubicBezTo>
                    <a:pt x="124" y="95"/>
                    <a:pt x="119" y="106"/>
                    <a:pt x="113" y="116"/>
                  </a:cubicBezTo>
                  <a:cubicBezTo>
                    <a:pt x="123" y="111"/>
                    <a:pt x="135" y="100"/>
                    <a:pt x="135" y="82"/>
                  </a:cubicBezTo>
                  <a:cubicBezTo>
                    <a:pt x="135" y="53"/>
                    <a:pt x="11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53" y="29"/>
                    <a:pt x="29" y="53"/>
                    <a:pt x="29" y="82"/>
                  </a:cubicBezTo>
                  <a:cubicBezTo>
                    <a:pt x="29" y="100"/>
                    <a:pt x="41" y="111"/>
                    <a:pt x="52" y="116"/>
                  </a:cubicBezTo>
                  <a:cubicBezTo>
                    <a:pt x="45" y="106"/>
                    <a:pt x="40" y="95"/>
                    <a:pt x="40" y="82"/>
                  </a:cubicBezTo>
                  <a:cubicBezTo>
                    <a:pt x="40" y="59"/>
                    <a:pt x="59" y="40"/>
                    <a:pt x="82" y="40"/>
                  </a:cubicBezTo>
                  <a:close/>
                  <a:moveTo>
                    <a:pt x="82" y="0"/>
                  </a:moveTo>
                  <a:cubicBezTo>
                    <a:pt x="37" y="0"/>
                    <a:pt x="0" y="37"/>
                    <a:pt x="0" y="82"/>
                  </a:cubicBezTo>
                  <a:cubicBezTo>
                    <a:pt x="0" y="94"/>
                    <a:pt x="3" y="106"/>
                    <a:pt x="8" y="116"/>
                  </a:cubicBezTo>
                  <a:cubicBezTo>
                    <a:pt x="17" y="137"/>
                    <a:pt x="35" y="150"/>
                    <a:pt x="57" y="155"/>
                  </a:cubicBezTo>
                  <a:cubicBezTo>
                    <a:pt x="55" y="152"/>
                    <a:pt x="55" y="152"/>
                    <a:pt x="55" y="152"/>
                  </a:cubicBezTo>
                  <a:cubicBezTo>
                    <a:pt x="39" y="144"/>
                    <a:pt x="25" y="128"/>
                    <a:pt x="18" y="112"/>
                  </a:cubicBezTo>
                  <a:cubicBezTo>
                    <a:pt x="14" y="103"/>
                    <a:pt x="11" y="93"/>
                    <a:pt x="11" y="82"/>
                  </a:cubicBezTo>
                  <a:cubicBezTo>
                    <a:pt x="11" y="43"/>
                    <a:pt x="43" y="12"/>
                    <a:pt x="82" y="11"/>
                  </a:cubicBezTo>
                  <a:cubicBezTo>
                    <a:pt x="121" y="12"/>
                    <a:pt x="153" y="43"/>
                    <a:pt x="153" y="82"/>
                  </a:cubicBezTo>
                  <a:cubicBezTo>
                    <a:pt x="153" y="111"/>
                    <a:pt x="135" y="140"/>
                    <a:pt x="110" y="152"/>
                  </a:cubicBezTo>
                  <a:cubicBezTo>
                    <a:pt x="109" y="155"/>
                    <a:pt x="109" y="155"/>
                    <a:pt x="109" y="155"/>
                  </a:cubicBezTo>
                  <a:cubicBezTo>
                    <a:pt x="141" y="146"/>
                    <a:pt x="164" y="118"/>
                    <a:pt x="164" y="82"/>
                  </a:cubicBezTo>
                  <a:cubicBezTo>
                    <a:pt x="164" y="37"/>
                    <a:pt x="127" y="0"/>
                    <a:pt x="82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  <p:sp>
          <p:nvSpPr>
            <p:cNvPr id="171" name="Freeform 862">
              <a:extLst>
                <a:ext uri="{FF2B5EF4-FFF2-40B4-BE49-F238E27FC236}">
                  <a16:creationId xmlns:a16="http://schemas.microsoft.com/office/drawing/2014/main" id="{2C3C6B94-7C73-4BA0-B82E-1665E3BEF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073" y="4101465"/>
              <a:ext cx="100012" cy="150813"/>
            </a:xfrm>
            <a:custGeom>
              <a:avLst/>
              <a:gdLst>
                <a:gd name="T0" fmla="*/ 50 w 52"/>
                <a:gd name="T1" fmla="*/ 12 h 79"/>
                <a:gd name="T2" fmla="*/ 36 w 52"/>
                <a:gd name="T3" fmla="*/ 77 h 79"/>
                <a:gd name="T4" fmla="*/ 26 w 52"/>
                <a:gd name="T5" fmla="*/ 79 h 79"/>
                <a:gd name="T6" fmla="*/ 16 w 52"/>
                <a:gd name="T7" fmla="*/ 77 h 79"/>
                <a:gd name="T8" fmla="*/ 2 w 52"/>
                <a:gd name="T9" fmla="*/ 12 h 79"/>
                <a:gd name="T10" fmla="*/ 26 w 52"/>
                <a:gd name="T11" fmla="*/ 0 h 79"/>
                <a:gd name="T12" fmla="*/ 50 w 52"/>
                <a:gd name="T13" fmla="*/ 1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79">
                  <a:moveTo>
                    <a:pt x="50" y="12"/>
                  </a:moveTo>
                  <a:cubicBezTo>
                    <a:pt x="52" y="41"/>
                    <a:pt x="36" y="77"/>
                    <a:pt x="36" y="77"/>
                  </a:cubicBezTo>
                  <a:cubicBezTo>
                    <a:pt x="36" y="77"/>
                    <a:pt x="32" y="79"/>
                    <a:pt x="26" y="79"/>
                  </a:cubicBezTo>
                  <a:cubicBezTo>
                    <a:pt x="20" y="79"/>
                    <a:pt x="16" y="77"/>
                    <a:pt x="16" y="77"/>
                  </a:cubicBezTo>
                  <a:cubicBezTo>
                    <a:pt x="16" y="77"/>
                    <a:pt x="0" y="41"/>
                    <a:pt x="2" y="12"/>
                  </a:cubicBezTo>
                  <a:cubicBezTo>
                    <a:pt x="2" y="12"/>
                    <a:pt x="6" y="0"/>
                    <a:pt x="26" y="0"/>
                  </a:cubicBezTo>
                  <a:cubicBezTo>
                    <a:pt x="46" y="0"/>
                    <a:pt x="50" y="12"/>
                    <a:pt x="50" y="1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  <p:sp>
          <p:nvSpPr>
            <p:cNvPr id="172" name="Oval 863">
              <a:extLst>
                <a:ext uri="{FF2B5EF4-FFF2-40B4-BE49-F238E27FC236}">
                  <a16:creationId xmlns:a16="http://schemas.microsoft.com/office/drawing/2014/main" id="{0F1418EF-F1D4-46E4-BBA8-0C9B57D0DB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5948" y="4020503"/>
              <a:ext cx="68262" cy="69850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</p:grpSp>
      <p:grpSp>
        <p:nvGrpSpPr>
          <p:cNvPr id="174" name="组合 173">
            <a:extLst>
              <a:ext uri="{FF2B5EF4-FFF2-40B4-BE49-F238E27FC236}">
                <a16:creationId xmlns:a16="http://schemas.microsoft.com/office/drawing/2014/main" id="{23D42E95-1BD9-489A-895E-A3E4B2BA7AEF}"/>
              </a:ext>
            </a:extLst>
          </p:cNvPr>
          <p:cNvGrpSpPr/>
          <p:nvPr/>
        </p:nvGrpSpPr>
        <p:grpSpPr>
          <a:xfrm flipH="1">
            <a:off x="7305912" y="1407723"/>
            <a:ext cx="432000" cy="396000"/>
            <a:chOff x="6795135" y="1423353"/>
            <a:chExt cx="387350" cy="314325"/>
          </a:xfrm>
          <a:solidFill>
            <a:schemeClr val="accent1">
              <a:lumMod val="50000"/>
            </a:schemeClr>
          </a:solidFill>
        </p:grpSpPr>
        <p:sp>
          <p:nvSpPr>
            <p:cNvPr id="175" name="Freeform 786">
              <a:extLst>
                <a:ext uri="{FF2B5EF4-FFF2-40B4-BE49-F238E27FC236}">
                  <a16:creationId xmlns:a16="http://schemas.microsoft.com/office/drawing/2014/main" id="{9410A762-EEC2-4B5C-A073-1B68FF9D67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3410" y="1647190"/>
              <a:ext cx="219075" cy="85725"/>
            </a:xfrm>
            <a:custGeom>
              <a:avLst/>
              <a:gdLst>
                <a:gd name="T0" fmla="*/ 105 w 114"/>
                <a:gd name="T1" fmla="*/ 4 h 45"/>
                <a:gd name="T2" fmla="*/ 85 w 114"/>
                <a:gd name="T3" fmla="*/ 4 h 45"/>
                <a:gd name="T4" fmla="*/ 69 w 114"/>
                <a:gd name="T5" fmla="*/ 11 h 45"/>
                <a:gd name="T6" fmla="*/ 64 w 114"/>
                <a:gd name="T7" fmla="*/ 12 h 45"/>
                <a:gd name="T8" fmla="*/ 69 w 114"/>
                <a:gd name="T9" fmla="*/ 20 h 45"/>
                <a:gd name="T10" fmla="*/ 65 w 114"/>
                <a:gd name="T11" fmla="*/ 27 h 45"/>
                <a:gd name="T12" fmla="*/ 58 w 114"/>
                <a:gd name="T13" fmla="*/ 8 h 45"/>
                <a:gd name="T14" fmla="*/ 63 w 114"/>
                <a:gd name="T15" fmla="*/ 15 h 45"/>
                <a:gd name="T16" fmla="*/ 58 w 114"/>
                <a:gd name="T17" fmla="*/ 16 h 45"/>
                <a:gd name="T18" fmla="*/ 63 w 114"/>
                <a:gd name="T19" fmla="*/ 24 h 45"/>
                <a:gd name="T20" fmla="*/ 58 w 114"/>
                <a:gd name="T21" fmla="*/ 30 h 45"/>
                <a:gd name="T22" fmla="*/ 52 w 114"/>
                <a:gd name="T23" fmla="*/ 12 h 45"/>
                <a:gd name="T24" fmla="*/ 56 w 114"/>
                <a:gd name="T25" fmla="*/ 19 h 45"/>
                <a:gd name="T26" fmla="*/ 52 w 114"/>
                <a:gd name="T27" fmla="*/ 20 h 45"/>
                <a:gd name="T28" fmla="*/ 56 w 114"/>
                <a:gd name="T29" fmla="*/ 28 h 45"/>
                <a:gd name="T30" fmla="*/ 46 w 114"/>
                <a:gd name="T31" fmla="*/ 11 h 45"/>
                <a:gd name="T32" fmla="*/ 45 w 114"/>
                <a:gd name="T33" fmla="*/ 16 h 45"/>
                <a:gd name="T34" fmla="*/ 50 w 114"/>
                <a:gd name="T35" fmla="*/ 23 h 45"/>
                <a:gd name="T36" fmla="*/ 45 w 114"/>
                <a:gd name="T37" fmla="*/ 24 h 45"/>
                <a:gd name="T38" fmla="*/ 17 w 114"/>
                <a:gd name="T39" fmla="*/ 30 h 45"/>
                <a:gd name="T40" fmla="*/ 23 w 114"/>
                <a:gd name="T41" fmla="*/ 24 h 45"/>
                <a:gd name="T42" fmla="*/ 24 w 114"/>
                <a:gd name="T43" fmla="*/ 19 h 45"/>
                <a:gd name="T44" fmla="*/ 21 w 114"/>
                <a:gd name="T45" fmla="*/ 12 h 45"/>
                <a:gd name="T46" fmla="*/ 25 w 114"/>
                <a:gd name="T47" fmla="*/ 11 h 45"/>
                <a:gd name="T48" fmla="*/ 25 w 114"/>
                <a:gd name="T49" fmla="*/ 26 h 45"/>
                <a:gd name="T50" fmla="*/ 30 w 114"/>
                <a:gd name="T51" fmla="*/ 20 h 45"/>
                <a:gd name="T52" fmla="*/ 31 w 114"/>
                <a:gd name="T53" fmla="*/ 15 h 45"/>
                <a:gd name="T54" fmla="*/ 28 w 114"/>
                <a:gd name="T55" fmla="*/ 8 h 45"/>
                <a:gd name="T56" fmla="*/ 36 w 114"/>
                <a:gd name="T57" fmla="*/ 30 h 45"/>
                <a:gd name="T58" fmla="*/ 32 w 114"/>
                <a:gd name="T59" fmla="*/ 22 h 45"/>
                <a:gd name="T60" fmla="*/ 37 w 114"/>
                <a:gd name="T61" fmla="*/ 16 h 45"/>
                <a:gd name="T62" fmla="*/ 38 w 114"/>
                <a:gd name="T63" fmla="*/ 11 h 45"/>
                <a:gd name="T64" fmla="*/ 38 w 114"/>
                <a:gd name="T65" fmla="*/ 28 h 45"/>
                <a:gd name="T66" fmla="*/ 43 w 114"/>
                <a:gd name="T67" fmla="*/ 26 h 45"/>
                <a:gd name="T68" fmla="*/ 39 w 114"/>
                <a:gd name="T69" fmla="*/ 19 h 45"/>
                <a:gd name="T70" fmla="*/ 44 w 114"/>
                <a:gd name="T71" fmla="*/ 12 h 45"/>
                <a:gd name="T72" fmla="*/ 71 w 114"/>
                <a:gd name="T73" fmla="*/ 43 h 45"/>
                <a:gd name="T74" fmla="*/ 71 w 114"/>
                <a:gd name="T75" fmla="*/ 33 h 45"/>
                <a:gd name="T76" fmla="*/ 76 w 114"/>
                <a:gd name="T77" fmla="*/ 27 h 45"/>
                <a:gd name="T78" fmla="*/ 71 w 114"/>
                <a:gd name="T79" fmla="*/ 20 h 45"/>
                <a:gd name="T80" fmla="*/ 76 w 114"/>
                <a:gd name="T81" fmla="*/ 19 h 45"/>
                <a:gd name="T82" fmla="*/ 71 w 114"/>
                <a:gd name="T83" fmla="*/ 11 h 45"/>
                <a:gd name="T84" fmla="*/ 71 w 114"/>
                <a:gd name="T85" fmla="*/ 3 h 45"/>
                <a:gd name="T86" fmla="*/ 79 w 114"/>
                <a:gd name="T87" fmla="*/ 31 h 45"/>
                <a:gd name="T88" fmla="*/ 83 w 114"/>
                <a:gd name="T89" fmla="*/ 24 h 45"/>
                <a:gd name="T90" fmla="*/ 82 w 114"/>
                <a:gd name="T91" fmla="*/ 19 h 45"/>
                <a:gd name="T92" fmla="*/ 77 w 114"/>
                <a:gd name="T93" fmla="*/ 12 h 45"/>
                <a:gd name="T94" fmla="*/ 81 w 114"/>
                <a:gd name="T95" fmla="*/ 11 h 45"/>
                <a:gd name="T96" fmla="*/ 85 w 114"/>
                <a:gd name="T97" fmla="*/ 27 h 45"/>
                <a:gd name="T98" fmla="*/ 89 w 114"/>
                <a:gd name="T99" fmla="*/ 20 h 45"/>
                <a:gd name="T100" fmla="*/ 88 w 114"/>
                <a:gd name="T101" fmla="*/ 15 h 45"/>
                <a:gd name="T102" fmla="*/ 83 w 114"/>
                <a:gd name="T103" fmla="*/ 8 h 45"/>
                <a:gd name="T104" fmla="*/ 97 w 114"/>
                <a:gd name="T105" fmla="*/ 31 h 45"/>
                <a:gd name="T106" fmla="*/ 91 w 114"/>
                <a:gd name="T107" fmla="*/ 23 h 45"/>
                <a:gd name="T108" fmla="*/ 95 w 114"/>
                <a:gd name="T109" fmla="*/ 16 h 45"/>
                <a:gd name="T110" fmla="*/ 94 w 114"/>
                <a:gd name="T111" fmla="*/ 11 h 45"/>
                <a:gd name="T112" fmla="*/ 89 w 114"/>
                <a:gd name="T113" fmla="*/ 5 h 45"/>
                <a:gd name="T114" fmla="*/ 101 w 114"/>
                <a:gd name="T115" fmla="*/ 4 h 45"/>
                <a:gd name="T116" fmla="*/ 101 w 114"/>
                <a:gd name="T117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45">
                  <a:moveTo>
                    <a:pt x="16" y="0"/>
                  </a:moveTo>
                  <a:cubicBezTo>
                    <a:pt x="13" y="0"/>
                    <a:pt x="11" y="2"/>
                    <a:pt x="10" y="4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3"/>
                    <a:pt x="3" y="45"/>
                    <a:pt x="6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12" y="45"/>
                    <a:pt x="114" y="43"/>
                    <a:pt x="113" y="41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4" y="2"/>
                    <a:pt x="101" y="0"/>
                    <a:pt x="99" y="0"/>
                  </a:cubicBezTo>
                  <a:lnTo>
                    <a:pt x="16" y="0"/>
                  </a:lnTo>
                  <a:close/>
                  <a:moveTo>
                    <a:pt x="79" y="3"/>
                  </a:moveTo>
                  <a:cubicBezTo>
                    <a:pt x="79" y="3"/>
                    <a:pt x="79" y="2"/>
                    <a:pt x="80" y="2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4" y="2"/>
                    <a:pt x="84" y="3"/>
                    <a:pt x="85" y="3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5"/>
                    <a:pt x="84" y="5"/>
                    <a:pt x="83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0" y="5"/>
                    <a:pt x="79" y="5"/>
                    <a:pt x="79" y="4"/>
                  </a:cubicBezTo>
                  <a:lnTo>
                    <a:pt x="79" y="3"/>
                  </a:lnTo>
                  <a:close/>
                  <a:moveTo>
                    <a:pt x="64" y="8"/>
                  </a:moveTo>
                  <a:cubicBezTo>
                    <a:pt x="69" y="8"/>
                    <a:pt x="69" y="8"/>
                    <a:pt x="69" y="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4" y="11"/>
                    <a:pt x="64" y="11"/>
                    <a:pt x="64" y="11"/>
                  </a:cubicBezTo>
                  <a:lnTo>
                    <a:pt x="64" y="8"/>
                  </a:lnTo>
                  <a:close/>
                  <a:moveTo>
                    <a:pt x="64" y="12"/>
                  </a:moveTo>
                  <a:cubicBezTo>
                    <a:pt x="69" y="12"/>
                    <a:pt x="69" y="12"/>
                    <a:pt x="69" y="12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5" y="15"/>
                    <a:pt x="65" y="15"/>
                    <a:pt x="65" y="15"/>
                  </a:cubicBezTo>
                  <a:lnTo>
                    <a:pt x="64" y="12"/>
                  </a:lnTo>
                  <a:close/>
                  <a:moveTo>
                    <a:pt x="65" y="16"/>
                  </a:moveTo>
                  <a:cubicBezTo>
                    <a:pt x="69" y="16"/>
                    <a:pt x="69" y="16"/>
                    <a:pt x="69" y="16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5" y="19"/>
                    <a:pt x="65" y="19"/>
                    <a:pt x="65" y="19"/>
                  </a:cubicBezTo>
                  <a:lnTo>
                    <a:pt x="65" y="16"/>
                  </a:lnTo>
                  <a:close/>
                  <a:moveTo>
                    <a:pt x="65" y="20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65" y="23"/>
                    <a:pt x="65" y="23"/>
                    <a:pt x="65" y="23"/>
                  </a:cubicBezTo>
                  <a:lnTo>
                    <a:pt x="65" y="20"/>
                  </a:lnTo>
                  <a:close/>
                  <a:moveTo>
                    <a:pt x="65" y="24"/>
                  </a:moveTo>
                  <a:cubicBezTo>
                    <a:pt x="70" y="24"/>
                    <a:pt x="70" y="24"/>
                    <a:pt x="70" y="24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65" y="27"/>
                    <a:pt x="65" y="27"/>
                    <a:pt x="65" y="27"/>
                  </a:cubicBezTo>
                  <a:lnTo>
                    <a:pt x="65" y="24"/>
                  </a:lnTo>
                  <a:close/>
                  <a:moveTo>
                    <a:pt x="65" y="28"/>
                  </a:moveTo>
                  <a:cubicBezTo>
                    <a:pt x="70" y="28"/>
                    <a:pt x="70" y="28"/>
                    <a:pt x="70" y="2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65" y="28"/>
                  </a:lnTo>
                  <a:close/>
                  <a:moveTo>
                    <a:pt x="58" y="8"/>
                  </a:moveTo>
                  <a:cubicBezTo>
                    <a:pt x="63" y="8"/>
                    <a:pt x="63" y="8"/>
                    <a:pt x="63" y="8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58" y="11"/>
                    <a:pt x="58" y="11"/>
                    <a:pt x="58" y="11"/>
                  </a:cubicBezTo>
                  <a:lnTo>
                    <a:pt x="58" y="8"/>
                  </a:lnTo>
                  <a:close/>
                  <a:moveTo>
                    <a:pt x="58" y="12"/>
                  </a:moveTo>
                  <a:cubicBezTo>
                    <a:pt x="63" y="12"/>
                    <a:pt x="63" y="12"/>
                    <a:pt x="63" y="12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58" y="15"/>
                    <a:pt x="58" y="15"/>
                    <a:pt x="58" y="15"/>
                  </a:cubicBezTo>
                  <a:lnTo>
                    <a:pt x="58" y="12"/>
                  </a:lnTo>
                  <a:close/>
                  <a:moveTo>
                    <a:pt x="58" y="16"/>
                  </a:moveTo>
                  <a:cubicBezTo>
                    <a:pt x="63" y="16"/>
                    <a:pt x="63" y="16"/>
                    <a:pt x="63" y="16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58" y="19"/>
                    <a:pt x="58" y="19"/>
                    <a:pt x="58" y="19"/>
                  </a:cubicBezTo>
                  <a:lnTo>
                    <a:pt x="58" y="16"/>
                  </a:lnTo>
                  <a:close/>
                  <a:moveTo>
                    <a:pt x="58" y="20"/>
                  </a:moveTo>
                  <a:cubicBezTo>
                    <a:pt x="63" y="20"/>
                    <a:pt x="63" y="20"/>
                    <a:pt x="63" y="20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58" y="23"/>
                    <a:pt x="58" y="23"/>
                    <a:pt x="58" y="23"/>
                  </a:cubicBezTo>
                  <a:lnTo>
                    <a:pt x="58" y="20"/>
                  </a:lnTo>
                  <a:close/>
                  <a:moveTo>
                    <a:pt x="58" y="24"/>
                  </a:moveTo>
                  <a:cubicBezTo>
                    <a:pt x="63" y="24"/>
                    <a:pt x="63" y="24"/>
                    <a:pt x="63" y="24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58" y="27"/>
                    <a:pt x="58" y="27"/>
                    <a:pt x="58" y="27"/>
                  </a:cubicBezTo>
                  <a:lnTo>
                    <a:pt x="58" y="24"/>
                  </a:lnTo>
                  <a:close/>
                  <a:moveTo>
                    <a:pt x="58" y="28"/>
                  </a:moveTo>
                  <a:cubicBezTo>
                    <a:pt x="63" y="28"/>
                    <a:pt x="63" y="28"/>
                    <a:pt x="63" y="28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58" y="30"/>
                    <a:pt x="58" y="30"/>
                    <a:pt x="58" y="30"/>
                  </a:cubicBezTo>
                  <a:lnTo>
                    <a:pt x="58" y="28"/>
                  </a:lnTo>
                  <a:close/>
                  <a:moveTo>
                    <a:pt x="52" y="8"/>
                  </a:moveTo>
                  <a:cubicBezTo>
                    <a:pt x="57" y="8"/>
                    <a:pt x="57" y="8"/>
                    <a:pt x="57" y="8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2" y="11"/>
                    <a:pt x="52" y="11"/>
                    <a:pt x="52" y="11"/>
                  </a:cubicBezTo>
                  <a:lnTo>
                    <a:pt x="52" y="8"/>
                  </a:lnTo>
                  <a:close/>
                  <a:moveTo>
                    <a:pt x="52" y="12"/>
                  </a:moveTo>
                  <a:cubicBezTo>
                    <a:pt x="56" y="12"/>
                    <a:pt x="56" y="12"/>
                    <a:pt x="56" y="12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2" y="15"/>
                    <a:pt x="52" y="15"/>
                    <a:pt x="52" y="15"/>
                  </a:cubicBezTo>
                  <a:lnTo>
                    <a:pt x="52" y="12"/>
                  </a:lnTo>
                  <a:close/>
                  <a:moveTo>
                    <a:pt x="52" y="16"/>
                  </a:moveTo>
                  <a:cubicBezTo>
                    <a:pt x="56" y="16"/>
                    <a:pt x="56" y="16"/>
                    <a:pt x="56" y="16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2" y="19"/>
                    <a:pt x="52" y="19"/>
                    <a:pt x="52" y="19"/>
                  </a:cubicBezTo>
                  <a:lnTo>
                    <a:pt x="52" y="16"/>
                  </a:lnTo>
                  <a:close/>
                  <a:moveTo>
                    <a:pt x="52" y="20"/>
                  </a:moveTo>
                  <a:cubicBezTo>
                    <a:pt x="56" y="20"/>
                    <a:pt x="56" y="20"/>
                    <a:pt x="56" y="20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2" y="23"/>
                    <a:pt x="52" y="23"/>
                    <a:pt x="52" y="23"/>
                  </a:cubicBezTo>
                  <a:lnTo>
                    <a:pt x="52" y="20"/>
                  </a:lnTo>
                  <a:close/>
                  <a:moveTo>
                    <a:pt x="52" y="24"/>
                  </a:moveTo>
                  <a:cubicBezTo>
                    <a:pt x="56" y="24"/>
                    <a:pt x="56" y="24"/>
                    <a:pt x="56" y="24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1" y="26"/>
                    <a:pt x="51" y="26"/>
                    <a:pt x="51" y="26"/>
                  </a:cubicBezTo>
                  <a:lnTo>
                    <a:pt x="52" y="24"/>
                  </a:lnTo>
                  <a:close/>
                  <a:moveTo>
                    <a:pt x="51" y="28"/>
                  </a:moveTo>
                  <a:cubicBezTo>
                    <a:pt x="56" y="28"/>
                    <a:pt x="56" y="28"/>
                    <a:pt x="56" y="28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1" y="30"/>
                    <a:pt x="51" y="30"/>
                    <a:pt x="51" y="30"/>
                  </a:cubicBezTo>
                  <a:lnTo>
                    <a:pt x="51" y="28"/>
                  </a:lnTo>
                  <a:close/>
                  <a:moveTo>
                    <a:pt x="46" y="8"/>
                  </a:moveTo>
                  <a:cubicBezTo>
                    <a:pt x="50" y="8"/>
                    <a:pt x="50" y="8"/>
                    <a:pt x="50" y="8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6" y="11"/>
                    <a:pt x="46" y="11"/>
                    <a:pt x="46" y="11"/>
                  </a:cubicBezTo>
                  <a:lnTo>
                    <a:pt x="46" y="8"/>
                  </a:lnTo>
                  <a:close/>
                  <a:moveTo>
                    <a:pt x="46" y="12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46" y="15"/>
                    <a:pt x="46" y="15"/>
                    <a:pt x="46" y="15"/>
                  </a:cubicBezTo>
                  <a:lnTo>
                    <a:pt x="46" y="12"/>
                  </a:lnTo>
                  <a:close/>
                  <a:moveTo>
                    <a:pt x="45" y="16"/>
                  </a:moveTo>
                  <a:cubicBezTo>
                    <a:pt x="50" y="16"/>
                    <a:pt x="50" y="16"/>
                    <a:pt x="50" y="16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5" y="19"/>
                    <a:pt x="45" y="19"/>
                    <a:pt x="45" y="19"/>
                  </a:cubicBezTo>
                  <a:lnTo>
                    <a:pt x="45" y="16"/>
                  </a:lnTo>
                  <a:close/>
                  <a:moveTo>
                    <a:pt x="45" y="20"/>
                  </a:moveTo>
                  <a:cubicBezTo>
                    <a:pt x="50" y="20"/>
                    <a:pt x="50" y="20"/>
                    <a:pt x="50" y="20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45" y="23"/>
                    <a:pt x="45" y="23"/>
                    <a:pt x="45" y="23"/>
                  </a:cubicBezTo>
                  <a:lnTo>
                    <a:pt x="45" y="20"/>
                  </a:lnTo>
                  <a:close/>
                  <a:moveTo>
                    <a:pt x="45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45" y="26"/>
                    <a:pt x="45" y="26"/>
                    <a:pt x="45" y="26"/>
                  </a:cubicBezTo>
                  <a:lnTo>
                    <a:pt x="45" y="24"/>
                  </a:lnTo>
                  <a:close/>
                  <a:moveTo>
                    <a:pt x="45" y="28"/>
                  </a:moveTo>
                  <a:cubicBezTo>
                    <a:pt x="50" y="28"/>
                    <a:pt x="50" y="28"/>
                    <a:pt x="50" y="28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4" y="30"/>
                    <a:pt x="44" y="30"/>
                    <a:pt x="44" y="30"/>
                  </a:cubicBezTo>
                  <a:lnTo>
                    <a:pt x="45" y="28"/>
                  </a:lnTo>
                  <a:close/>
                  <a:moveTo>
                    <a:pt x="22" y="30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3" y="27"/>
                    <a:pt x="23" y="27"/>
                    <a:pt x="23" y="27"/>
                  </a:cubicBezTo>
                  <a:lnTo>
                    <a:pt x="22" y="30"/>
                  </a:lnTo>
                  <a:close/>
                  <a:moveTo>
                    <a:pt x="23" y="26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23" y="24"/>
                    <a:pt x="23" y="24"/>
                    <a:pt x="23" y="24"/>
                  </a:cubicBezTo>
                  <a:lnTo>
                    <a:pt x="23" y="26"/>
                  </a:lnTo>
                  <a:close/>
                  <a:moveTo>
                    <a:pt x="23" y="22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20"/>
                    <a:pt x="24" y="20"/>
                    <a:pt x="24" y="20"/>
                  </a:cubicBezTo>
                  <a:lnTo>
                    <a:pt x="23" y="22"/>
                  </a:lnTo>
                  <a:close/>
                  <a:moveTo>
                    <a:pt x="24" y="19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5" y="16"/>
                    <a:pt x="25" y="16"/>
                    <a:pt x="25" y="16"/>
                  </a:cubicBezTo>
                  <a:lnTo>
                    <a:pt x="24" y="19"/>
                  </a:lnTo>
                  <a:close/>
                  <a:moveTo>
                    <a:pt x="25" y="15"/>
                  </a:moveTo>
                  <a:cubicBezTo>
                    <a:pt x="20" y="15"/>
                    <a:pt x="20" y="15"/>
                    <a:pt x="20" y="15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5" y="12"/>
                    <a:pt x="25" y="12"/>
                    <a:pt x="25" y="12"/>
                  </a:cubicBezTo>
                  <a:lnTo>
                    <a:pt x="25" y="15"/>
                  </a:lnTo>
                  <a:close/>
                  <a:moveTo>
                    <a:pt x="25" y="11"/>
                  </a:moveTo>
                  <a:cubicBezTo>
                    <a:pt x="21" y="11"/>
                    <a:pt x="21" y="11"/>
                    <a:pt x="21" y="11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6" y="8"/>
                    <a:pt x="26" y="8"/>
                    <a:pt x="26" y="8"/>
                  </a:cubicBezTo>
                  <a:lnTo>
                    <a:pt x="25" y="11"/>
                  </a:lnTo>
                  <a:close/>
                  <a:moveTo>
                    <a:pt x="29" y="30"/>
                  </a:moveTo>
                  <a:cubicBezTo>
                    <a:pt x="24" y="30"/>
                    <a:pt x="24" y="30"/>
                    <a:pt x="24" y="30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9" y="28"/>
                    <a:pt x="29" y="28"/>
                    <a:pt x="29" y="28"/>
                  </a:cubicBezTo>
                  <a:lnTo>
                    <a:pt x="29" y="30"/>
                  </a:lnTo>
                  <a:close/>
                  <a:moveTo>
                    <a:pt x="29" y="26"/>
                  </a:moveTo>
                  <a:cubicBezTo>
                    <a:pt x="25" y="26"/>
                    <a:pt x="25" y="26"/>
                    <a:pt x="25" y="26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26"/>
                  </a:lnTo>
                  <a:close/>
                  <a:moveTo>
                    <a:pt x="30" y="22"/>
                  </a:moveTo>
                  <a:cubicBezTo>
                    <a:pt x="25" y="22"/>
                    <a:pt x="25" y="22"/>
                    <a:pt x="25" y="22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30" y="20"/>
                    <a:pt x="30" y="20"/>
                    <a:pt x="30" y="20"/>
                  </a:cubicBezTo>
                  <a:lnTo>
                    <a:pt x="30" y="22"/>
                  </a:lnTo>
                  <a:close/>
                  <a:moveTo>
                    <a:pt x="31" y="19"/>
                  </a:moveTo>
                  <a:cubicBezTo>
                    <a:pt x="26" y="19"/>
                    <a:pt x="26" y="19"/>
                    <a:pt x="26" y="19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31" y="16"/>
                    <a:pt x="31" y="16"/>
                    <a:pt x="31" y="16"/>
                  </a:cubicBezTo>
                  <a:lnTo>
                    <a:pt x="31" y="19"/>
                  </a:lnTo>
                  <a:close/>
                  <a:moveTo>
                    <a:pt x="31" y="15"/>
                  </a:moveTo>
                  <a:cubicBezTo>
                    <a:pt x="26" y="15"/>
                    <a:pt x="26" y="15"/>
                    <a:pt x="26" y="15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1" y="12"/>
                    <a:pt x="31" y="12"/>
                    <a:pt x="31" y="12"/>
                  </a:cubicBezTo>
                  <a:lnTo>
                    <a:pt x="31" y="15"/>
                  </a:lnTo>
                  <a:close/>
                  <a:moveTo>
                    <a:pt x="32" y="11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32" y="8"/>
                    <a:pt x="32" y="8"/>
                    <a:pt x="32" y="8"/>
                  </a:cubicBezTo>
                  <a:lnTo>
                    <a:pt x="32" y="11"/>
                  </a:lnTo>
                  <a:close/>
                  <a:moveTo>
                    <a:pt x="36" y="30"/>
                  </a:moveTo>
                  <a:cubicBezTo>
                    <a:pt x="31" y="30"/>
                    <a:pt x="31" y="30"/>
                    <a:pt x="31" y="30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6" y="28"/>
                    <a:pt x="36" y="28"/>
                    <a:pt x="36" y="28"/>
                  </a:cubicBezTo>
                  <a:lnTo>
                    <a:pt x="36" y="30"/>
                  </a:lnTo>
                  <a:close/>
                  <a:moveTo>
                    <a:pt x="36" y="26"/>
                  </a:moveTo>
                  <a:cubicBezTo>
                    <a:pt x="31" y="26"/>
                    <a:pt x="31" y="26"/>
                    <a:pt x="31" y="26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6" y="24"/>
                    <a:pt x="36" y="24"/>
                    <a:pt x="36" y="24"/>
                  </a:cubicBezTo>
                  <a:lnTo>
                    <a:pt x="36" y="26"/>
                  </a:lnTo>
                  <a:close/>
                  <a:moveTo>
                    <a:pt x="37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7" y="20"/>
                    <a:pt x="37" y="20"/>
                    <a:pt x="37" y="20"/>
                  </a:cubicBezTo>
                  <a:lnTo>
                    <a:pt x="37" y="22"/>
                  </a:lnTo>
                  <a:close/>
                  <a:moveTo>
                    <a:pt x="37" y="19"/>
                  </a:moveTo>
                  <a:cubicBezTo>
                    <a:pt x="32" y="19"/>
                    <a:pt x="32" y="19"/>
                    <a:pt x="32" y="19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7" y="16"/>
                    <a:pt x="37" y="16"/>
                    <a:pt x="37" y="16"/>
                  </a:cubicBezTo>
                  <a:lnTo>
                    <a:pt x="37" y="19"/>
                  </a:lnTo>
                  <a:close/>
                  <a:moveTo>
                    <a:pt x="37" y="15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8" y="12"/>
                    <a:pt x="38" y="12"/>
                    <a:pt x="38" y="12"/>
                  </a:cubicBezTo>
                  <a:lnTo>
                    <a:pt x="37" y="15"/>
                  </a:lnTo>
                  <a:close/>
                  <a:moveTo>
                    <a:pt x="38" y="11"/>
                  </a:moveTo>
                  <a:cubicBezTo>
                    <a:pt x="33" y="11"/>
                    <a:pt x="33" y="11"/>
                    <a:pt x="33" y="11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8" y="11"/>
                  </a:lnTo>
                  <a:close/>
                  <a:moveTo>
                    <a:pt x="43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43" y="28"/>
                    <a:pt x="43" y="28"/>
                    <a:pt x="43" y="28"/>
                  </a:cubicBezTo>
                  <a:lnTo>
                    <a:pt x="43" y="30"/>
                  </a:lnTo>
                  <a:close/>
                  <a:moveTo>
                    <a:pt x="43" y="26"/>
                  </a:moveTo>
                  <a:cubicBezTo>
                    <a:pt x="38" y="26"/>
                    <a:pt x="38" y="26"/>
                    <a:pt x="38" y="26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43" y="24"/>
                    <a:pt x="43" y="24"/>
                    <a:pt x="43" y="24"/>
                  </a:cubicBezTo>
                  <a:lnTo>
                    <a:pt x="43" y="26"/>
                  </a:lnTo>
                  <a:close/>
                  <a:moveTo>
                    <a:pt x="43" y="23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43" y="20"/>
                    <a:pt x="43" y="20"/>
                    <a:pt x="43" y="20"/>
                  </a:cubicBezTo>
                  <a:lnTo>
                    <a:pt x="43" y="23"/>
                  </a:lnTo>
                  <a:close/>
                  <a:moveTo>
                    <a:pt x="43" y="19"/>
                  </a:moveTo>
                  <a:cubicBezTo>
                    <a:pt x="39" y="19"/>
                    <a:pt x="39" y="19"/>
                    <a:pt x="39" y="19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4" y="16"/>
                    <a:pt x="44" y="16"/>
                    <a:pt x="44" y="16"/>
                  </a:cubicBezTo>
                  <a:lnTo>
                    <a:pt x="43" y="19"/>
                  </a:lnTo>
                  <a:close/>
                  <a:moveTo>
                    <a:pt x="44" y="15"/>
                  </a:moveTo>
                  <a:cubicBezTo>
                    <a:pt x="39" y="15"/>
                    <a:pt x="39" y="15"/>
                    <a:pt x="39" y="15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4" y="12"/>
                    <a:pt x="44" y="12"/>
                    <a:pt x="44" y="12"/>
                  </a:cubicBezTo>
                  <a:lnTo>
                    <a:pt x="44" y="15"/>
                  </a:lnTo>
                  <a:close/>
                  <a:moveTo>
                    <a:pt x="44" y="11"/>
                  </a:moveTo>
                  <a:cubicBezTo>
                    <a:pt x="40" y="11"/>
                    <a:pt x="40" y="11"/>
                    <a:pt x="40" y="11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4" y="8"/>
                    <a:pt x="44" y="8"/>
                    <a:pt x="44" y="8"/>
                  </a:cubicBezTo>
                  <a:lnTo>
                    <a:pt x="44" y="11"/>
                  </a:lnTo>
                  <a:close/>
                  <a:moveTo>
                    <a:pt x="71" y="43"/>
                  </a:moveTo>
                  <a:cubicBezTo>
                    <a:pt x="71" y="44"/>
                    <a:pt x="71" y="44"/>
                    <a:pt x="70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4"/>
                    <a:pt x="43" y="44"/>
                    <a:pt x="43" y="4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2"/>
                    <a:pt x="44" y="32"/>
                    <a:pt x="45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70" y="32"/>
                    <a:pt x="71" y="32"/>
                    <a:pt x="71" y="33"/>
                  </a:cubicBezTo>
                  <a:lnTo>
                    <a:pt x="71" y="43"/>
                  </a:lnTo>
                  <a:close/>
                  <a:moveTo>
                    <a:pt x="77" y="31"/>
                  </a:moveTo>
                  <a:cubicBezTo>
                    <a:pt x="72" y="31"/>
                    <a:pt x="72" y="31"/>
                    <a:pt x="72" y="31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7" y="28"/>
                    <a:pt x="77" y="28"/>
                    <a:pt x="77" y="28"/>
                  </a:cubicBezTo>
                  <a:lnTo>
                    <a:pt x="77" y="31"/>
                  </a:lnTo>
                  <a:close/>
                  <a:moveTo>
                    <a:pt x="76" y="27"/>
                  </a:moveTo>
                  <a:cubicBezTo>
                    <a:pt x="72" y="27"/>
                    <a:pt x="72" y="27"/>
                    <a:pt x="72" y="27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6" y="24"/>
                    <a:pt x="76" y="24"/>
                    <a:pt x="76" y="24"/>
                  </a:cubicBezTo>
                  <a:lnTo>
                    <a:pt x="76" y="27"/>
                  </a:lnTo>
                  <a:close/>
                  <a:moveTo>
                    <a:pt x="76" y="23"/>
                  </a:moveTo>
                  <a:cubicBezTo>
                    <a:pt x="71" y="23"/>
                    <a:pt x="71" y="23"/>
                    <a:pt x="71" y="23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6" y="20"/>
                    <a:pt x="76" y="20"/>
                    <a:pt x="76" y="20"/>
                  </a:cubicBezTo>
                  <a:lnTo>
                    <a:pt x="76" y="23"/>
                  </a:lnTo>
                  <a:close/>
                  <a:moveTo>
                    <a:pt x="76" y="19"/>
                  </a:moveTo>
                  <a:cubicBezTo>
                    <a:pt x="71" y="19"/>
                    <a:pt x="71" y="19"/>
                    <a:pt x="71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6" y="16"/>
                    <a:pt x="76" y="16"/>
                    <a:pt x="76" y="16"/>
                  </a:cubicBezTo>
                  <a:lnTo>
                    <a:pt x="76" y="19"/>
                  </a:lnTo>
                  <a:close/>
                  <a:moveTo>
                    <a:pt x="75" y="15"/>
                  </a:moveTo>
                  <a:cubicBezTo>
                    <a:pt x="71" y="15"/>
                    <a:pt x="71" y="15"/>
                    <a:pt x="71" y="15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5" y="12"/>
                    <a:pt x="75" y="12"/>
                    <a:pt x="75" y="12"/>
                  </a:cubicBezTo>
                  <a:lnTo>
                    <a:pt x="75" y="15"/>
                  </a:lnTo>
                  <a:close/>
                  <a:moveTo>
                    <a:pt x="75" y="11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5" y="8"/>
                    <a:pt x="75" y="8"/>
                    <a:pt x="75" y="8"/>
                  </a:cubicBezTo>
                  <a:lnTo>
                    <a:pt x="75" y="11"/>
                  </a:lnTo>
                  <a:close/>
                  <a:moveTo>
                    <a:pt x="75" y="5"/>
                  </a:move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1" y="5"/>
                    <a:pt x="71" y="4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71" y="3"/>
                    <a:pt x="71" y="2"/>
                    <a:pt x="72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6" y="2"/>
                    <a:pt x="76" y="3"/>
                    <a:pt x="76" y="3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5"/>
                    <a:pt x="76" y="5"/>
                    <a:pt x="75" y="5"/>
                  </a:cubicBezTo>
                  <a:close/>
                  <a:moveTo>
                    <a:pt x="84" y="31"/>
                  </a:moveTo>
                  <a:cubicBezTo>
                    <a:pt x="79" y="31"/>
                    <a:pt x="79" y="31"/>
                    <a:pt x="79" y="31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83" y="28"/>
                    <a:pt x="83" y="28"/>
                    <a:pt x="83" y="28"/>
                  </a:cubicBezTo>
                  <a:lnTo>
                    <a:pt x="84" y="31"/>
                  </a:lnTo>
                  <a:close/>
                  <a:moveTo>
                    <a:pt x="83" y="27"/>
                  </a:moveTo>
                  <a:cubicBezTo>
                    <a:pt x="78" y="27"/>
                    <a:pt x="78" y="27"/>
                    <a:pt x="78" y="27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83" y="24"/>
                    <a:pt x="83" y="24"/>
                    <a:pt x="83" y="24"/>
                  </a:cubicBezTo>
                  <a:lnTo>
                    <a:pt x="83" y="27"/>
                  </a:lnTo>
                  <a:close/>
                  <a:moveTo>
                    <a:pt x="83" y="23"/>
                  </a:moveTo>
                  <a:cubicBezTo>
                    <a:pt x="78" y="23"/>
                    <a:pt x="78" y="23"/>
                    <a:pt x="78" y="23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82" y="20"/>
                    <a:pt x="82" y="20"/>
                    <a:pt x="82" y="20"/>
                  </a:cubicBezTo>
                  <a:lnTo>
                    <a:pt x="83" y="23"/>
                  </a:lnTo>
                  <a:close/>
                  <a:moveTo>
                    <a:pt x="82" y="19"/>
                  </a:moveTo>
                  <a:cubicBezTo>
                    <a:pt x="78" y="19"/>
                    <a:pt x="78" y="19"/>
                    <a:pt x="78" y="19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82" y="16"/>
                    <a:pt x="82" y="16"/>
                    <a:pt x="82" y="16"/>
                  </a:cubicBezTo>
                  <a:lnTo>
                    <a:pt x="82" y="19"/>
                  </a:lnTo>
                  <a:close/>
                  <a:moveTo>
                    <a:pt x="82" y="15"/>
                  </a:moveTo>
                  <a:cubicBezTo>
                    <a:pt x="77" y="15"/>
                    <a:pt x="77" y="15"/>
                    <a:pt x="77" y="15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81" y="12"/>
                    <a:pt x="81" y="12"/>
                    <a:pt x="81" y="12"/>
                  </a:cubicBezTo>
                  <a:lnTo>
                    <a:pt x="82" y="15"/>
                  </a:lnTo>
                  <a:close/>
                  <a:moveTo>
                    <a:pt x="81" y="11"/>
                  </a:moveTo>
                  <a:cubicBezTo>
                    <a:pt x="77" y="11"/>
                    <a:pt x="77" y="11"/>
                    <a:pt x="77" y="11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81" y="8"/>
                    <a:pt x="81" y="8"/>
                    <a:pt x="81" y="8"/>
                  </a:cubicBezTo>
                  <a:lnTo>
                    <a:pt x="81" y="11"/>
                  </a:lnTo>
                  <a:close/>
                  <a:moveTo>
                    <a:pt x="90" y="31"/>
                  </a:moveTo>
                  <a:cubicBezTo>
                    <a:pt x="85" y="31"/>
                    <a:pt x="85" y="31"/>
                    <a:pt x="85" y="31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90" y="28"/>
                    <a:pt x="90" y="28"/>
                    <a:pt x="90" y="28"/>
                  </a:cubicBezTo>
                  <a:lnTo>
                    <a:pt x="90" y="31"/>
                  </a:lnTo>
                  <a:close/>
                  <a:moveTo>
                    <a:pt x="90" y="27"/>
                  </a:moveTo>
                  <a:cubicBezTo>
                    <a:pt x="85" y="27"/>
                    <a:pt x="85" y="27"/>
                    <a:pt x="85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9" y="24"/>
                    <a:pt x="89" y="24"/>
                    <a:pt x="89" y="24"/>
                  </a:cubicBezTo>
                  <a:lnTo>
                    <a:pt x="90" y="27"/>
                  </a:lnTo>
                  <a:close/>
                  <a:moveTo>
                    <a:pt x="89" y="23"/>
                  </a:moveTo>
                  <a:cubicBezTo>
                    <a:pt x="84" y="23"/>
                    <a:pt x="84" y="23"/>
                    <a:pt x="84" y="23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9" y="20"/>
                    <a:pt x="89" y="20"/>
                    <a:pt x="89" y="20"/>
                  </a:cubicBezTo>
                  <a:lnTo>
                    <a:pt x="89" y="23"/>
                  </a:lnTo>
                  <a:close/>
                  <a:moveTo>
                    <a:pt x="89" y="19"/>
                  </a:moveTo>
                  <a:cubicBezTo>
                    <a:pt x="84" y="19"/>
                    <a:pt x="84" y="19"/>
                    <a:pt x="84" y="19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8" y="16"/>
                    <a:pt x="88" y="16"/>
                    <a:pt x="88" y="16"/>
                  </a:cubicBezTo>
                  <a:lnTo>
                    <a:pt x="89" y="19"/>
                  </a:lnTo>
                  <a:close/>
                  <a:moveTo>
                    <a:pt x="88" y="15"/>
                  </a:moveTo>
                  <a:cubicBezTo>
                    <a:pt x="84" y="15"/>
                    <a:pt x="84" y="15"/>
                    <a:pt x="84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8" y="12"/>
                    <a:pt x="88" y="12"/>
                    <a:pt x="88" y="12"/>
                  </a:cubicBezTo>
                  <a:lnTo>
                    <a:pt x="88" y="15"/>
                  </a:lnTo>
                  <a:close/>
                  <a:moveTo>
                    <a:pt x="88" y="11"/>
                  </a:moveTo>
                  <a:cubicBezTo>
                    <a:pt x="83" y="11"/>
                    <a:pt x="83" y="11"/>
                    <a:pt x="83" y="11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7" y="8"/>
                    <a:pt x="87" y="8"/>
                    <a:pt x="87" y="8"/>
                  </a:cubicBezTo>
                  <a:lnTo>
                    <a:pt x="88" y="11"/>
                  </a:lnTo>
                  <a:close/>
                  <a:moveTo>
                    <a:pt x="97" y="31"/>
                  </a:moveTo>
                  <a:cubicBezTo>
                    <a:pt x="92" y="31"/>
                    <a:pt x="92" y="31"/>
                    <a:pt x="92" y="31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7" y="28"/>
                    <a:pt x="97" y="28"/>
                    <a:pt x="97" y="28"/>
                  </a:cubicBezTo>
                  <a:lnTo>
                    <a:pt x="97" y="31"/>
                  </a:lnTo>
                  <a:close/>
                  <a:moveTo>
                    <a:pt x="97" y="27"/>
                  </a:moveTo>
                  <a:cubicBezTo>
                    <a:pt x="92" y="27"/>
                    <a:pt x="92" y="27"/>
                    <a:pt x="92" y="27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6" y="24"/>
                    <a:pt x="96" y="24"/>
                    <a:pt x="96" y="24"/>
                  </a:cubicBezTo>
                  <a:lnTo>
                    <a:pt x="97" y="27"/>
                  </a:lnTo>
                  <a:close/>
                  <a:moveTo>
                    <a:pt x="96" y="23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5" y="20"/>
                    <a:pt x="95" y="20"/>
                    <a:pt x="95" y="20"/>
                  </a:cubicBezTo>
                  <a:lnTo>
                    <a:pt x="96" y="23"/>
                  </a:lnTo>
                  <a:close/>
                  <a:moveTo>
                    <a:pt x="95" y="19"/>
                  </a:moveTo>
                  <a:cubicBezTo>
                    <a:pt x="90" y="19"/>
                    <a:pt x="90" y="19"/>
                    <a:pt x="90" y="19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5" y="16"/>
                    <a:pt x="95" y="16"/>
                    <a:pt x="95" y="16"/>
                  </a:cubicBezTo>
                  <a:lnTo>
                    <a:pt x="95" y="19"/>
                  </a:lnTo>
                  <a:close/>
                  <a:moveTo>
                    <a:pt x="94" y="15"/>
                  </a:moveTo>
                  <a:cubicBezTo>
                    <a:pt x="90" y="15"/>
                    <a:pt x="90" y="15"/>
                    <a:pt x="90" y="15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4" y="12"/>
                    <a:pt x="94" y="12"/>
                    <a:pt x="94" y="12"/>
                  </a:cubicBezTo>
                  <a:lnTo>
                    <a:pt x="94" y="15"/>
                  </a:lnTo>
                  <a:close/>
                  <a:moveTo>
                    <a:pt x="94" y="11"/>
                  </a:moveTo>
                  <a:cubicBezTo>
                    <a:pt x="89" y="11"/>
                    <a:pt x="89" y="11"/>
                    <a:pt x="89" y="11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4" y="11"/>
                  </a:lnTo>
                  <a:close/>
                  <a:moveTo>
                    <a:pt x="93" y="4"/>
                  </a:moveTo>
                  <a:cubicBezTo>
                    <a:pt x="93" y="5"/>
                    <a:pt x="92" y="5"/>
                    <a:pt x="91" y="5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8" y="5"/>
                    <a:pt x="87" y="5"/>
                    <a:pt x="87" y="4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2"/>
                    <a:pt x="88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2" y="2"/>
                    <a:pt x="92" y="3"/>
                    <a:pt x="92" y="3"/>
                  </a:cubicBezTo>
                  <a:lnTo>
                    <a:pt x="93" y="4"/>
                  </a:lnTo>
                  <a:close/>
                  <a:moveTo>
                    <a:pt x="101" y="4"/>
                  </a:moveTo>
                  <a:cubicBezTo>
                    <a:pt x="101" y="5"/>
                    <a:pt x="100" y="5"/>
                    <a:pt x="100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6" y="5"/>
                    <a:pt x="95" y="5"/>
                    <a:pt x="95" y="4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5" y="3"/>
                    <a:pt x="95" y="2"/>
                    <a:pt x="96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100" y="2"/>
                    <a:pt x="100" y="3"/>
                    <a:pt x="101" y="3"/>
                  </a:cubicBezTo>
                  <a:lnTo>
                    <a:pt x="101" y="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  <p:sp>
          <p:nvSpPr>
            <p:cNvPr id="176" name="Freeform 787">
              <a:extLst>
                <a:ext uri="{FF2B5EF4-FFF2-40B4-BE49-F238E27FC236}">
                  <a16:creationId xmlns:a16="http://schemas.microsoft.com/office/drawing/2014/main" id="{B28EBFF2-32E5-48AB-9471-132F6A49C4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5635" y="1518603"/>
              <a:ext cx="174625" cy="123825"/>
            </a:xfrm>
            <a:custGeom>
              <a:avLst/>
              <a:gdLst>
                <a:gd name="T0" fmla="*/ 89 w 91"/>
                <a:gd name="T1" fmla="*/ 0 h 65"/>
                <a:gd name="T2" fmla="*/ 2 w 91"/>
                <a:gd name="T3" fmla="*/ 0 h 65"/>
                <a:gd name="T4" fmla="*/ 0 w 91"/>
                <a:gd name="T5" fmla="*/ 2 h 65"/>
                <a:gd name="T6" fmla="*/ 0 w 91"/>
                <a:gd name="T7" fmla="*/ 63 h 65"/>
                <a:gd name="T8" fmla="*/ 2 w 91"/>
                <a:gd name="T9" fmla="*/ 65 h 65"/>
                <a:gd name="T10" fmla="*/ 89 w 91"/>
                <a:gd name="T11" fmla="*/ 65 h 65"/>
                <a:gd name="T12" fmla="*/ 91 w 91"/>
                <a:gd name="T13" fmla="*/ 63 h 65"/>
                <a:gd name="T14" fmla="*/ 91 w 91"/>
                <a:gd name="T15" fmla="*/ 2 h 65"/>
                <a:gd name="T16" fmla="*/ 89 w 91"/>
                <a:gd name="T17" fmla="*/ 0 h 65"/>
                <a:gd name="T18" fmla="*/ 87 w 91"/>
                <a:gd name="T19" fmla="*/ 59 h 65"/>
                <a:gd name="T20" fmla="*/ 85 w 91"/>
                <a:gd name="T21" fmla="*/ 61 h 65"/>
                <a:gd name="T22" fmla="*/ 6 w 91"/>
                <a:gd name="T23" fmla="*/ 61 h 65"/>
                <a:gd name="T24" fmla="*/ 4 w 91"/>
                <a:gd name="T25" fmla="*/ 59 h 65"/>
                <a:gd name="T26" fmla="*/ 4 w 91"/>
                <a:gd name="T27" fmla="*/ 6 h 65"/>
                <a:gd name="T28" fmla="*/ 6 w 91"/>
                <a:gd name="T29" fmla="*/ 4 h 65"/>
                <a:gd name="T30" fmla="*/ 85 w 91"/>
                <a:gd name="T31" fmla="*/ 4 h 65"/>
                <a:gd name="T32" fmla="*/ 87 w 91"/>
                <a:gd name="T33" fmla="*/ 6 h 65"/>
                <a:gd name="T34" fmla="*/ 87 w 91"/>
                <a:gd name="T3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65">
                  <a:moveTo>
                    <a:pt x="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1" y="65"/>
                    <a:pt x="2" y="65"/>
                  </a:cubicBezTo>
                  <a:cubicBezTo>
                    <a:pt x="89" y="65"/>
                    <a:pt x="89" y="65"/>
                    <a:pt x="89" y="65"/>
                  </a:cubicBezTo>
                  <a:cubicBezTo>
                    <a:pt x="90" y="65"/>
                    <a:pt x="91" y="64"/>
                    <a:pt x="91" y="63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9" y="0"/>
                  </a:cubicBezTo>
                  <a:close/>
                  <a:moveTo>
                    <a:pt x="87" y="59"/>
                  </a:moveTo>
                  <a:cubicBezTo>
                    <a:pt x="87" y="60"/>
                    <a:pt x="86" y="61"/>
                    <a:pt x="85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0"/>
                    <a:pt x="4" y="59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6" y="4"/>
                    <a:pt x="87" y="5"/>
                    <a:pt x="87" y="6"/>
                  </a:cubicBezTo>
                  <a:lnTo>
                    <a:pt x="87" y="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  <p:sp>
          <p:nvSpPr>
            <p:cNvPr id="177" name="Freeform 788">
              <a:extLst>
                <a:ext uri="{FF2B5EF4-FFF2-40B4-BE49-F238E27FC236}">
                  <a16:creationId xmlns:a16="http://schemas.microsoft.com/office/drawing/2014/main" id="{596DCDC1-F3D6-43A2-85BA-BAE373FAF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8173" y="1732915"/>
              <a:ext cx="206375" cy="4763"/>
            </a:xfrm>
            <a:custGeom>
              <a:avLst/>
              <a:gdLst>
                <a:gd name="T0" fmla="*/ 107 w 107"/>
                <a:gd name="T1" fmla="*/ 2 h 2"/>
                <a:gd name="T2" fmla="*/ 106 w 107"/>
                <a:gd name="T3" fmla="*/ 2 h 2"/>
                <a:gd name="T4" fmla="*/ 2 w 107"/>
                <a:gd name="T5" fmla="*/ 2 h 2"/>
                <a:gd name="T6" fmla="*/ 0 w 107"/>
                <a:gd name="T7" fmla="*/ 2 h 2"/>
                <a:gd name="T8" fmla="*/ 0 w 107"/>
                <a:gd name="T9" fmla="*/ 1 h 2"/>
                <a:gd name="T10" fmla="*/ 2 w 107"/>
                <a:gd name="T11" fmla="*/ 0 h 2"/>
                <a:gd name="T12" fmla="*/ 106 w 107"/>
                <a:gd name="T13" fmla="*/ 0 h 2"/>
                <a:gd name="T14" fmla="*/ 107 w 107"/>
                <a:gd name="T15" fmla="*/ 1 h 2"/>
                <a:gd name="T16" fmla="*/ 107 w 107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2">
                  <a:moveTo>
                    <a:pt x="107" y="2"/>
                  </a:moveTo>
                  <a:cubicBezTo>
                    <a:pt x="107" y="2"/>
                    <a:pt x="107" y="2"/>
                    <a:pt x="106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0"/>
                    <a:pt x="107" y="1"/>
                    <a:pt x="107" y="1"/>
                  </a:cubicBezTo>
                  <a:lnTo>
                    <a:pt x="107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  <p:sp>
          <p:nvSpPr>
            <p:cNvPr id="178" name="Freeform 789">
              <a:extLst>
                <a:ext uri="{FF2B5EF4-FFF2-40B4-BE49-F238E27FC236}">
                  <a16:creationId xmlns:a16="http://schemas.microsoft.com/office/drawing/2014/main" id="{88BB062D-2B05-4815-9C4F-75E194DD3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1510" y="1532890"/>
              <a:ext cx="68263" cy="60325"/>
            </a:xfrm>
            <a:custGeom>
              <a:avLst/>
              <a:gdLst>
                <a:gd name="T0" fmla="*/ 0 w 36"/>
                <a:gd name="T1" fmla="*/ 32 h 32"/>
                <a:gd name="T2" fmla="*/ 0 w 36"/>
                <a:gd name="T3" fmla="*/ 1 h 32"/>
                <a:gd name="T4" fmla="*/ 36 w 36"/>
                <a:gd name="T5" fmla="*/ 2 h 32"/>
                <a:gd name="T6" fmla="*/ 3 w 36"/>
                <a:gd name="T7" fmla="*/ 5 h 32"/>
                <a:gd name="T8" fmla="*/ 0 w 36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2">
                  <a:moveTo>
                    <a:pt x="0" y="32"/>
                  </a:moveTo>
                  <a:cubicBezTo>
                    <a:pt x="0" y="32"/>
                    <a:pt x="0" y="3"/>
                    <a:pt x="0" y="1"/>
                  </a:cubicBezTo>
                  <a:cubicBezTo>
                    <a:pt x="1" y="0"/>
                    <a:pt x="36" y="2"/>
                    <a:pt x="36" y="2"/>
                  </a:cubicBezTo>
                  <a:cubicBezTo>
                    <a:pt x="36" y="2"/>
                    <a:pt x="4" y="3"/>
                    <a:pt x="3" y="5"/>
                  </a:cubicBezTo>
                  <a:cubicBezTo>
                    <a:pt x="2" y="7"/>
                    <a:pt x="0" y="32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  <p:sp>
          <p:nvSpPr>
            <p:cNvPr id="179" name="Freeform 790">
              <a:extLst>
                <a:ext uri="{FF2B5EF4-FFF2-40B4-BE49-F238E27FC236}">
                  <a16:creationId xmlns:a16="http://schemas.microsoft.com/office/drawing/2014/main" id="{0049A066-2499-4C81-9980-0B6F4F22E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123" y="1567815"/>
              <a:ext cx="71437" cy="61913"/>
            </a:xfrm>
            <a:custGeom>
              <a:avLst/>
              <a:gdLst>
                <a:gd name="T0" fmla="*/ 37 w 37"/>
                <a:gd name="T1" fmla="*/ 0 h 32"/>
                <a:gd name="T2" fmla="*/ 36 w 37"/>
                <a:gd name="T3" fmla="*/ 30 h 32"/>
                <a:gd name="T4" fmla="*/ 0 w 37"/>
                <a:gd name="T5" fmla="*/ 30 h 32"/>
                <a:gd name="T6" fmla="*/ 33 w 37"/>
                <a:gd name="T7" fmla="*/ 27 h 32"/>
                <a:gd name="T8" fmla="*/ 37 w 37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2">
                  <a:moveTo>
                    <a:pt x="37" y="0"/>
                  </a:moveTo>
                  <a:cubicBezTo>
                    <a:pt x="37" y="0"/>
                    <a:pt x="37" y="29"/>
                    <a:pt x="36" y="30"/>
                  </a:cubicBezTo>
                  <a:cubicBezTo>
                    <a:pt x="36" y="32"/>
                    <a:pt x="0" y="30"/>
                    <a:pt x="0" y="30"/>
                  </a:cubicBezTo>
                  <a:cubicBezTo>
                    <a:pt x="0" y="30"/>
                    <a:pt x="32" y="29"/>
                    <a:pt x="33" y="27"/>
                  </a:cubicBezTo>
                  <a:cubicBezTo>
                    <a:pt x="34" y="25"/>
                    <a:pt x="37" y="0"/>
                    <a:pt x="37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  <p:sp>
          <p:nvSpPr>
            <p:cNvPr id="180" name="Freeform 791">
              <a:extLst>
                <a:ext uri="{FF2B5EF4-FFF2-40B4-BE49-F238E27FC236}">
                  <a16:creationId xmlns:a16="http://schemas.microsoft.com/office/drawing/2014/main" id="{DC9CE868-026F-4DA0-AD6D-D1A77B5135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5135" y="1423353"/>
              <a:ext cx="296863" cy="309562"/>
            </a:xfrm>
            <a:custGeom>
              <a:avLst/>
              <a:gdLst>
                <a:gd name="T0" fmla="*/ 84 w 154"/>
                <a:gd name="T1" fmla="*/ 137 h 162"/>
                <a:gd name="T2" fmla="*/ 84 w 154"/>
                <a:gd name="T3" fmla="*/ 130 h 162"/>
                <a:gd name="T4" fmla="*/ 93 w 154"/>
                <a:gd name="T5" fmla="*/ 102 h 162"/>
                <a:gd name="T6" fmla="*/ 93 w 154"/>
                <a:gd name="T7" fmla="*/ 84 h 162"/>
                <a:gd name="T8" fmla="*/ 84 w 154"/>
                <a:gd name="T9" fmla="*/ 61 h 162"/>
                <a:gd name="T10" fmla="*/ 84 w 154"/>
                <a:gd name="T11" fmla="*/ 54 h 162"/>
                <a:gd name="T12" fmla="*/ 104 w 154"/>
                <a:gd name="T13" fmla="*/ 38 h 162"/>
                <a:gd name="T14" fmla="*/ 108 w 154"/>
                <a:gd name="T15" fmla="*/ 30 h 162"/>
                <a:gd name="T16" fmla="*/ 134 w 154"/>
                <a:gd name="T17" fmla="*/ 45 h 162"/>
                <a:gd name="T18" fmla="*/ 134 w 154"/>
                <a:gd name="T19" fmla="*/ 28 h 162"/>
                <a:gd name="T20" fmla="*/ 154 w 154"/>
                <a:gd name="T21" fmla="*/ 45 h 162"/>
                <a:gd name="T22" fmla="*/ 137 w 154"/>
                <a:gd name="T23" fmla="*/ 22 h 162"/>
                <a:gd name="T24" fmla="*/ 30 w 154"/>
                <a:gd name="T25" fmla="*/ 18 h 162"/>
                <a:gd name="T26" fmla="*/ 9 w 154"/>
                <a:gd name="T27" fmla="*/ 43 h 162"/>
                <a:gd name="T28" fmla="*/ 12 w 154"/>
                <a:gd name="T29" fmla="*/ 125 h 162"/>
                <a:gd name="T30" fmla="*/ 81 w 154"/>
                <a:gd name="T31" fmla="*/ 162 h 162"/>
                <a:gd name="T32" fmla="*/ 124 w 154"/>
                <a:gd name="T33" fmla="*/ 20 h 162"/>
                <a:gd name="T34" fmla="*/ 125 w 154"/>
                <a:gd name="T35" fmla="*/ 20 h 162"/>
                <a:gd name="T36" fmla="*/ 98 w 154"/>
                <a:gd name="T37" fmla="*/ 10 h 162"/>
                <a:gd name="T38" fmla="*/ 91 w 154"/>
                <a:gd name="T39" fmla="*/ 11 h 162"/>
                <a:gd name="T40" fmla="*/ 84 w 154"/>
                <a:gd name="T41" fmla="*/ 6 h 162"/>
                <a:gd name="T42" fmla="*/ 48 w 154"/>
                <a:gd name="T43" fmla="*/ 22 h 162"/>
                <a:gd name="T44" fmla="*/ 48 w 154"/>
                <a:gd name="T45" fmla="*/ 104 h 162"/>
                <a:gd name="T46" fmla="*/ 47 w 154"/>
                <a:gd name="T47" fmla="*/ 84 h 162"/>
                <a:gd name="T48" fmla="*/ 36 w 154"/>
                <a:gd name="T49" fmla="*/ 55 h 162"/>
                <a:gd name="T50" fmla="*/ 29 w 154"/>
                <a:gd name="T51" fmla="*/ 78 h 162"/>
                <a:gd name="T52" fmla="*/ 54 w 154"/>
                <a:gd name="T53" fmla="*/ 132 h 162"/>
                <a:gd name="T54" fmla="*/ 38 w 154"/>
                <a:gd name="T55" fmla="*/ 113 h 162"/>
                <a:gd name="T56" fmla="*/ 44 w 154"/>
                <a:gd name="T57" fmla="*/ 28 h 162"/>
                <a:gd name="T58" fmla="*/ 49 w 154"/>
                <a:gd name="T59" fmla="*/ 52 h 162"/>
                <a:gd name="T60" fmla="*/ 37 w 154"/>
                <a:gd name="T61" fmla="*/ 20 h 162"/>
                <a:gd name="T62" fmla="*/ 31 w 154"/>
                <a:gd name="T63" fmla="*/ 25 h 162"/>
                <a:gd name="T64" fmla="*/ 28 w 154"/>
                <a:gd name="T65" fmla="*/ 46 h 162"/>
                <a:gd name="T66" fmla="*/ 28 w 154"/>
                <a:gd name="T67" fmla="*/ 28 h 162"/>
                <a:gd name="T68" fmla="*/ 22 w 154"/>
                <a:gd name="T69" fmla="*/ 78 h 162"/>
                <a:gd name="T70" fmla="*/ 6 w 154"/>
                <a:gd name="T71" fmla="*/ 84 h 162"/>
                <a:gd name="T72" fmla="*/ 25 w 154"/>
                <a:gd name="T73" fmla="*/ 111 h 162"/>
                <a:gd name="T74" fmla="*/ 28 w 154"/>
                <a:gd name="T75" fmla="*/ 134 h 162"/>
                <a:gd name="T76" fmla="*/ 37 w 154"/>
                <a:gd name="T77" fmla="*/ 135 h 162"/>
                <a:gd name="T78" fmla="*/ 37 w 154"/>
                <a:gd name="T79" fmla="*/ 142 h 162"/>
                <a:gd name="T80" fmla="*/ 48 w 154"/>
                <a:gd name="T81" fmla="*/ 149 h 162"/>
                <a:gd name="T82" fmla="*/ 56 w 154"/>
                <a:gd name="T83" fmla="*/ 138 h 162"/>
                <a:gd name="T84" fmla="*/ 78 w 154"/>
                <a:gd name="T85" fmla="*/ 156 h 162"/>
                <a:gd name="T86" fmla="*/ 78 w 154"/>
                <a:gd name="T87" fmla="*/ 137 h 162"/>
                <a:gd name="T88" fmla="*/ 61 w 154"/>
                <a:gd name="T89" fmla="*/ 131 h 162"/>
                <a:gd name="T90" fmla="*/ 78 w 154"/>
                <a:gd name="T91" fmla="*/ 108 h 162"/>
                <a:gd name="T92" fmla="*/ 54 w 154"/>
                <a:gd name="T93" fmla="*/ 103 h 162"/>
                <a:gd name="T94" fmla="*/ 78 w 154"/>
                <a:gd name="T95" fmla="*/ 101 h 162"/>
                <a:gd name="T96" fmla="*/ 54 w 154"/>
                <a:gd name="T97" fmla="*/ 59 h 162"/>
                <a:gd name="T98" fmla="*/ 78 w 154"/>
                <a:gd name="T99" fmla="*/ 54 h 162"/>
                <a:gd name="T100" fmla="*/ 78 w 154"/>
                <a:gd name="T101" fmla="*/ 32 h 162"/>
                <a:gd name="T102" fmla="*/ 71 w 154"/>
                <a:gd name="T103" fmla="*/ 11 h 162"/>
                <a:gd name="T104" fmla="*/ 63 w 154"/>
                <a:gd name="T105" fmla="*/ 2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4" h="162">
                  <a:moveTo>
                    <a:pt x="81" y="162"/>
                  </a:moveTo>
                  <a:cubicBezTo>
                    <a:pt x="84" y="150"/>
                    <a:pt x="84" y="150"/>
                    <a:pt x="84" y="150"/>
                  </a:cubicBezTo>
                  <a:cubicBezTo>
                    <a:pt x="84" y="137"/>
                    <a:pt x="84" y="137"/>
                    <a:pt x="84" y="137"/>
                  </a:cubicBezTo>
                  <a:cubicBezTo>
                    <a:pt x="85" y="137"/>
                    <a:pt x="86" y="137"/>
                    <a:pt x="87" y="137"/>
                  </a:cubicBezTo>
                  <a:cubicBezTo>
                    <a:pt x="89" y="130"/>
                    <a:pt x="89" y="130"/>
                    <a:pt x="89" y="130"/>
                  </a:cubicBezTo>
                  <a:cubicBezTo>
                    <a:pt x="87" y="130"/>
                    <a:pt x="86" y="130"/>
                    <a:pt x="84" y="130"/>
                  </a:cubicBezTo>
                  <a:cubicBezTo>
                    <a:pt x="84" y="108"/>
                    <a:pt x="84" y="108"/>
                    <a:pt x="84" y="108"/>
                  </a:cubicBezTo>
                  <a:cubicBezTo>
                    <a:pt x="87" y="108"/>
                    <a:pt x="90" y="108"/>
                    <a:pt x="93" y="108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0" y="102"/>
                    <a:pt x="87" y="101"/>
                    <a:pt x="84" y="101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93" y="84"/>
                    <a:pt x="93" y="84"/>
                    <a:pt x="93" y="84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7" y="60"/>
                    <a:pt x="90" y="60"/>
                    <a:pt x="93" y="60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0" y="54"/>
                    <a:pt x="87" y="54"/>
                    <a:pt x="84" y="54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90" y="32"/>
                    <a:pt x="96" y="31"/>
                    <a:pt x="101" y="31"/>
                  </a:cubicBezTo>
                  <a:cubicBezTo>
                    <a:pt x="102" y="33"/>
                    <a:pt x="103" y="35"/>
                    <a:pt x="104" y="38"/>
                  </a:cubicBezTo>
                  <a:cubicBezTo>
                    <a:pt x="104" y="40"/>
                    <a:pt x="105" y="42"/>
                    <a:pt x="105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1" y="39"/>
                    <a:pt x="109" y="34"/>
                    <a:pt x="108" y="30"/>
                  </a:cubicBezTo>
                  <a:cubicBezTo>
                    <a:pt x="111" y="29"/>
                    <a:pt x="115" y="29"/>
                    <a:pt x="118" y="28"/>
                  </a:cubicBezTo>
                  <a:cubicBezTo>
                    <a:pt x="122" y="33"/>
                    <a:pt x="125" y="39"/>
                    <a:pt x="127" y="45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31" y="38"/>
                    <a:pt x="128" y="32"/>
                    <a:pt x="125" y="26"/>
                  </a:cubicBezTo>
                  <a:cubicBezTo>
                    <a:pt x="127" y="26"/>
                    <a:pt x="129" y="25"/>
                    <a:pt x="131" y="25"/>
                  </a:cubicBezTo>
                  <a:cubicBezTo>
                    <a:pt x="132" y="26"/>
                    <a:pt x="133" y="27"/>
                    <a:pt x="134" y="28"/>
                  </a:cubicBezTo>
                  <a:cubicBezTo>
                    <a:pt x="138" y="32"/>
                    <a:pt x="142" y="36"/>
                    <a:pt x="145" y="41"/>
                  </a:cubicBezTo>
                  <a:cubicBezTo>
                    <a:pt x="142" y="42"/>
                    <a:pt x="140" y="44"/>
                    <a:pt x="137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44"/>
                    <a:pt x="153" y="43"/>
                    <a:pt x="153" y="43"/>
                  </a:cubicBezTo>
                  <a:cubicBezTo>
                    <a:pt x="152" y="41"/>
                    <a:pt x="151" y="39"/>
                    <a:pt x="150" y="37"/>
                  </a:cubicBezTo>
                  <a:cubicBezTo>
                    <a:pt x="146" y="32"/>
                    <a:pt x="142" y="27"/>
                    <a:pt x="137" y="22"/>
                  </a:cubicBezTo>
                  <a:cubicBezTo>
                    <a:pt x="136" y="21"/>
                    <a:pt x="134" y="19"/>
                    <a:pt x="132" y="18"/>
                  </a:cubicBezTo>
                  <a:cubicBezTo>
                    <a:pt x="118" y="6"/>
                    <a:pt x="100" y="0"/>
                    <a:pt x="81" y="0"/>
                  </a:cubicBezTo>
                  <a:cubicBezTo>
                    <a:pt x="62" y="0"/>
                    <a:pt x="44" y="6"/>
                    <a:pt x="30" y="18"/>
                  </a:cubicBezTo>
                  <a:cubicBezTo>
                    <a:pt x="28" y="19"/>
                    <a:pt x="26" y="21"/>
                    <a:pt x="25" y="22"/>
                  </a:cubicBezTo>
                  <a:cubicBezTo>
                    <a:pt x="20" y="27"/>
                    <a:pt x="16" y="32"/>
                    <a:pt x="12" y="37"/>
                  </a:cubicBezTo>
                  <a:cubicBezTo>
                    <a:pt x="11" y="39"/>
                    <a:pt x="10" y="41"/>
                    <a:pt x="9" y="43"/>
                  </a:cubicBezTo>
                  <a:cubicBezTo>
                    <a:pt x="3" y="54"/>
                    <a:pt x="0" y="67"/>
                    <a:pt x="0" y="81"/>
                  </a:cubicBezTo>
                  <a:cubicBezTo>
                    <a:pt x="0" y="95"/>
                    <a:pt x="3" y="108"/>
                    <a:pt x="9" y="119"/>
                  </a:cubicBezTo>
                  <a:cubicBezTo>
                    <a:pt x="10" y="121"/>
                    <a:pt x="11" y="123"/>
                    <a:pt x="12" y="125"/>
                  </a:cubicBezTo>
                  <a:cubicBezTo>
                    <a:pt x="16" y="130"/>
                    <a:pt x="20" y="135"/>
                    <a:pt x="25" y="140"/>
                  </a:cubicBezTo>
                  <a:cubicBezTo>
                    <a:pt x="26" y="141"/>
                    <a:pt x="28" y="143"/>
                    <a:pt x="30" y="144"/>
                  </a:cubicBezTo>
                  <a:cubicBezTo>
                    <a:pt x="44" y="156"/>
                    <a:pt x="62" y="162"/>
                    <a:pt x="81" y="162"/>
                  </a:cubicBezTo>
                  <a:cubicBezTo>
                    <a:pt x="81" y="162"/>
                    <a:pt x="81" y="162"/>
                    <a:pt x="81" y="162"/>
                  </a:cubicBezTo>
                  <a:close/>
                  <a:moveTo>
                    <a:pt x="125" y="20"/>
                  </a:moveTo>
                  <a:cubicBezTo>
                    <a:pt x="125" y="20"/>
                    <a:pt x="124" y="20"/>
                    <a:pt x="124" y="20"/>
                  </a:cubicBezTo>
                  <a:cubicBezTo>
                    <a:pt x="123" y="21"/>
                    <a:pt x="122" y="21"/>
                    <a:pt x="121" y="21"/>
                  </a:cubicBezTo>
                  <a:cubicBezTo>
                    <a:pt x="119" y="18"/>
                    <a:pt x="116" y="16"/>
                    <a:pt x="114" y="13"/>
                  </a:cubicBezTo>
                  <a:cubicBezTo>
                    <a:pt x="118" y="15"/>
                    <a:pt x="121" y="17"/>
                    <a:pt x="125" y="20"/>
                  </a:cubicBezTo>
                  <a:close/>
                  <a:moveTo>
                    <a:pt x="114" y="22"/>
                  </a:moveTo>
                  <a:cubicBezTo>
                    <a:pt x="111" y="23"/>
                    <a:pt x="108" y="23"/>
                    <a:pt x="106" y="24"/>
                  </a:cubicBezTo>
                  <a:cubicBezTo>
                    <a:pt x="103" y="18"/>
                    <a:pt x="101" y="14"/>
                    <a:pt x="98" y="10"/>
                  </a:cubicBezTo>
                  <a:cubicBezTo>
                    <a:pt x="104" y="13"/>
                    <a:pt x="109" y="17"/>
                    <a:pt x="114" y="22"/>
                  </a:cubicBezTo>
                  <a:close/>
                  <a:moveTo>
                    <a:pt x="84" y="6"/>
                  </a:moveTo>
                  <a:cubicBezTo>
                    <a:pt x="86" y="7"/>
                    <a:pt x="89" y="9"/>
                    <a:pt x="91" y="11"/>
                  </a:cubicBezTo>
                  <a:cubicBezTo>
                    <a:pt x="94" y="14"/>
                    <a:pt x="97" y="19"/>
                    <a:pt x="99" y="25"/>
                  </a:cubicBezTo>
                  <a:cubicBezTo>
                    <a:pt x="94" y="25"/>
                    <a:pt x="89" y="25"/>
                    <a:pt x="84" y="25"/>
                  </a:cubicBezTo>
                  <a:lnTo>
                    <a:pt x="84" y="6"/>
                  </a:lnTo>
                  <a:close/>
                  <a:moveTo>
                    <a:pt x="64" y="10"/>
                  </a:moveTo>
                  <a:cubicBezTo>
                    <a:pt x="61" y="14"/>
                    <a:pt x="59" y="18"/>
                    <a:pt x="56" y="24"/>
                  </a:cubicBezTo>
                  <a:cubicBezTo>
                    <a:pt x="54" y="23"/>
                    <a:pt x="51" y="23"/>
                    <a:pt x="48" y="22"/>
                  </a:cubicBezTo>
                  <a:cubicBezTo>
                    <a:pt x="53" y="17"/>
                    <a:pt x="58" y="13"/>
                    <a:pt x="64" y="10"/>
                  </a:cubicBezTo>
                  <a:close/>
                  <a:moveTo>
                    <a:pt x="47" y="84"/>
                  </a:moveTo>
                  <a:cubicBezTo>
                    <a:pt x="47" y="91"/>
                    <a:pt x="48" y="98"/>
                    <a:pt x="48" y="104"/>
                  </a:cubicBezTo>
                  <a:cubicBezTo>
                    <a:pt x="42" y="105"/>
                    <a:pt x="37" y="107"/>
                    <a:pt x="32" y="108"/>
                  </a:cubicBezTo>
                  <a:cubicBezTo>
                    <a:pt x="30" y="101"/>
                    <a:pt x="29" y="92"/>
                    <a:pt x="29" y="84"/>
                  </a:cubicBezTo>
                  <a:lnTo>
                    <a:pt x="47" y="84"/>
                  </a:lnTo>
                  <a:close/>
                  <a:moveTo>
                    <a:pt x="29" y="78"/>
                  </a:moveTo>
                  <a:cubicBezTo>
                    <a:pt x="29" y="69"/>
                    <a:pt x="30" y="61"/>
                    <a:pt x="32" y="54"/>
                  </a:cubicBezTo>
                  <a:cubicBezTo>
                    <a:pt x="33" y="54"/>
                    <a:pt x="35" y="55"/>
                    <a:pt x="36" y="55"/>
                  </a:cubicBezTo>
                  <a:cubicBezTo>
                    <a:pt x="40" y="56"/>
                    <a:pt x="44" y="57"/>
                    <a:pt x="48" y="58"/>
                  </a:cubicBezTo>
                  <a:cubicBezTo>
                    <a:pt x="48" y="64"/>
                    <a:pt x="47" y="71"/>
                    <a:pt x="47" y="78"/>
                  </a:cubicBezTo>
                  <a:lnTo>
                    <a:pt x="29" y="78"/>
                  </a:lnTo>
                  <a:close/>
                  <a:moveTo>
                    <a:pt x="38" y="113"/>
                  </a:moveTo>
                  <a:cubicBezTo>
                    <a:pt x="42" y="112"/>
                    <a:pt x="45" y="111"/>
                    <a:pt x="49" y="110"/>
                  </a:cubicBezTo>
                  <a:cubicBezTo>
                    <a:pt x="50" y="118"/>
                    <a:pt x="52" y="126"/>
                    <a:pt x="54" y="132"/>
                  </a:cubicBezTo>
                  <a:cubicBezTo>
                    <a:pt x="51" y="133"/>
                    <a:pt x="47" y="133"/>
                    <a:pt x="44" y="134"/>
                  </a:cubicBezTo>
                  <a:cubicBezTo>
                    <a:pt x="40" y="128"/>
                    <a:pt x="36" y="121"/>
                    <a:pt x="34" y="114"/>
                  </a:cubicBezTo>
                  <a:cubicBezTo>
                    <a:pt x="35" y="114"/>
                    <a:pt x="37" y="113"/>
                    <a:pt x="38" y="113"/>
                  </a:cubicBezTo>
                  <a:close/>
                  <a:moveTo>
                    <a:pt x="49" y="52"/>
                  </a:moveTo>
                  <a:cubicBezTo>
                    <a:pt x="44" y="51"/>
                    <a:pt x="38" y="49"/>
                    <a:pt x="34" y="48"/>
                  </a:cubicBezTo>
                  <a:cubicBezTo>
                    <a:pt x="36" y="40"/>
                    <a:pt x="40" y="34"/>
                    <a:pt x="44" y="28"/>
                  </a:cubicBezTo>
                  <a:cubicBezTo>
                    <a:pt x="47" y="29"/>
                    <a:pt x="51" y="29"/>
                    <a:pt x="54" y="30"/>
                  </a:cubicBezTo>
                  <a:cubicBezTo>
                    <a:pt x="54" y="32"/>
                    <a:pt x="53" y="34"/>
                    <a:pt x="52" y="36"/>
                  </a:cubicBezTo>
                  <a:cubicBezTo>
                    <a:pt x="51" y="41"/>
                    <a:pt x="50" y="46"/>
                    <a:pt x="49" y="52"/>
                  </a:cubicBezTo>
                  <a:close/>
                  <a:moveTo>
                    <a:pt x="48" y="13"/>
                  </a:moveTo>
                  <a:cubicBezTo>
                    <a:pt x="46" y="16"/>
                    <a:pt x="43" y="18"/>
                    <a:pt x="41" y="21"/>
                  </a:cubicBezTo>
                  <a:cubicBezTo>
                    <a:pt x="40" y="21"/>
                    <a:pt x="38" y="20"/>
                    <a:pt x="37" y="20"/>
                  </a:cubicBezTo>
                  <a:cubicBezTo>
                    <a:pt x="41" y="17"/>
                    <a:pt x="44" y="15"/>
                    <a:pt x="48" y="13"/>
                  </a:cubicBezTo>
                  <a:close/>
                  <a:moveTo>
                    <a:pt x="28" y="28"/>
                  </a:moveTo>
                  <a:cubicBezTo>
                    <a:pt x="29" y="27"/>
                    <a:pt x="30" y="26"/>
                    <a:pt x="31" y="25"/>
                  </a:cubicBezTo>
                  <a:cubicBezTo>
                    <a:pt x="33" y="25"/>
                    <a:pt x="35" y="26"/>
                    <a:pt x="36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4" y="32"/>
                    <a:pt x="30" y="39"/>
                    <a:pt x="28" y="46"/>
                  </a:cubicBezTo>
                  <a:cubicBezTo>
                    <a:pt x="28" y="46"/>
                    <a:pt x="27" y="46"/>
                    <a:pt x="27" y="46"/>
                  </a:cubicBezTo>
                  <a:cubicBezTo>
                    <a:pt x="23" y="44"/>
                    <a:pt x="20" y="43"/>
                    <a:pt x="17" y="41"/>
                  </a:cubicBezTo>
                  <a:cubicBezTo>
                    <a:pt x="20" y="36"/>
                    <a:pt x="24" y="32"/>
                    <a:pt x="28" y="28"/>
                  </a:cubicBezTo>
                  <a:close/>
                  <a:moveTo>
                    <a:pt x="14" y="46"/>
                  </a:moveTo>
                  <a:cubicBezTo>
                    <a:pt x="18" y="48"/>
                    <a:pt x="22" y="50"/>
                    <a:pt x="26" y="52"/>
                  </a:cubicBezTo>
                  <a:cubicBezTo>
                    <a:pt x="24" y="60"/>
                    <a:pt x="23" y="69"/>
                    <a:pt x="22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67"/>
                    <a:pt x="9" y="56"/>
                    <a:pt x="14" y="46"/>
                  </a:cubicBezTo>
                  <a:close/>
                  <a:moveTo>
                    <a:pt x="6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3" y="93"/>
                    <a:pt x="24" y="102"/>
                    <a:pt x="26" y="110"/>
                  </a:cubicBezTo>
                  <a:cubicBezTo>
                    <a:pt x="26" y="110"/>
                    <a:pt x="25" y="110"/>
                    <a:pt x="25" y="111"/>
                  </a:cubicBezTo>
                  <a:cubicBezTo>
                    <a:pt x="21" y="112"/>
                    <a:pt x="17" y="114"/>
                    <a:pt x="14" y="116"/>
                  </a:cubicBezTo>
                  <a:cubicBezTo>
                    <a:pt x="9" y="106"/>
                    <a:pt x="6" y="95"/>
                    <a:pt x="6" y="84"/>
                  </a:cubicBezTo>
                  <a:close/>
                  <a:moveTo>
                    <a:pt x="28" y="134"/>
                  </a:moveTo>
                  <a:cubicBezTo>
                    <a:pt x="24" y="130"/>
                    <a:pt x="20" y="126"/>
                    <a:pt x="17" y="121"/>
                  </a:cubicBezTo>
                  <a:cubicBezTo>
                    <a:pt x="20" y="119"/>
                    <a:pt x="24" y="118"/>
                    <a:pt x="28" y="116"/>
                  </a:cubicBezTo>
                  <a:cubicBezTo>
                    <a:pt x="30" y="123"/>
                    <a:pt x="34" y="130"/>
                    <a:pt x="37" y="135"/>
                  </a:cubicBezTo>
                  <a:cubicBezTo>
                    <a:pt x="35" y="136"/>
                    <a:pt x="33" y="137"/>
                    <a:pt x="31" y="137"/>
                  </a:cubicBezTo>
                  <a:cubicBezTo>
                    <a:pt x="30" y="136"/>
                    <a:pt x="29" y="135"/>
                    <a:pt x="28" y="134"/>
                  </a:cubicBezTo>
                  <a:close/>
                  <a:moveTo>
                    <a:pt x="37" y="142"/>
                  </a:moveTo>
                  <a:cubicBezTo>
                    <a:pt x="37" y="142"/>
                    <a:pt x="38" y="142"/>
                    <a:pt x="38" y="142"/>
                  </a:cubicBezTo>
                  <a:cubicBezTo>
                    <a:pt x="39" y="141"/>
                    <a:pt x="40" y="141"/>
                    <a:pt x="41" y="141"/>
                  </a:cubicBezTo>
                  <a:cubicBezTo>
                    <a:pt x="43" y="144"/>
                    <a:pt x="46" y="146"/>
                    <a:pt x="48" y="149"/>
                  </a:cubicBezTo>
                  <a:cubicBezTo>
                    <a:pt x="44" y="147"/>
                    <a:pt x="41" y="145"/>
                    <a:pt x="37" y="142"/>
                  </a:cubicBezTo>
                  <a:close/>
                  <a:moveTo>
                    <a:pt x="48" y="139"/>
                  </a:moveTo>
                  <a:cubicBezTo>
                    <a:pt x="51" y="139"/>
                    <a:pt x="54" y="138"/>
                    <a:pt x="56" y="138"/>
                  </a:cubicBezTo>
                  <a:cubicBezTo>
                    <a:pt x="59" y="144"/>
                    <a:pt x="61" y="148"/>
                    <a:pt x="64" y="152"/>
                  </a:cubicBezTo>
                  <a:cubicBezTo>
                    <a:pt x="58" y="149"/>
                    <a:pt x="53" y="145"/>
                    <a:pt x="48" y="139"/>
                  </a:cubicBezTo>
                  <a:close/>
                  <a:moveTo>
                    <a:pt x="78" y="156"/>
                  </a:moveTo>
                  <a:cubicBezTo>
                    <a:pt x="76" y="155"/>
                    <a:pt x="73" y="153"/>
                    <a:pt x="71" y="151"/>
                  </a:cubicBezTo>
                  <a:cubicBezTo>
                    <a:pt x="68" y="148"/>
                    <a:pt x="65" y="143"/>
                    <a:pt x="63" y="137"/>
                  </a:cubicBezTo>
                  <a:cubicBezTo>
                    <a:pt x="68" y="137"/>
                    <a:pt x="73" y="137"/>
                    <a:pt x="78" y="137"/>
                  </a:cubicBezTo>
                  <a:lnTo>
                    <a:pt x="78" y="156"/>
                  </a:lnTo>
                  <a:close/>
                  <a:moveTo>
                    <a:pt x="78" y="130"/>
                  </a:moveTo>
                  <a:cubicBezTo>
                    <a:pt x="72" y="130"/>
                    <a:pt x="66" y="131"/>
                    <a:pt x="61" y="131"/>
                  </a:cubicBezTo>
                  <a:cubicBezTo>
                    <a:pt x="60" y="129"/>
                    <a:pt x="59" y="127"/>
                    <a:pt x="58" y="124"/>
                  </a:cubicBezTo>
                  <a:cubicBezTo>
                    <a:pt x="57" y="119"/>
                    <a:pt x="56" y="114"/>
                    <a:pt x="55" y="109"/>
                  </a:cubicBezTo>
                  <a:cubicBezTo>
                    <a:pt x="62" y="108"/>
                    <a:pt x="70" y="108"/>
                    <a:pt x="78" y="108"/>
                  </a:cubicBezTo>
                  <a:lnTo>
                    <a:pt x="78" y="130"/>
                  </a:lnTo>
                  <a:close/>
                  <a:moveTo>
                    <a:pt x="78" y="101"/>
                  </a:moveTo>
                  <a:cubicBezTo>
                    <a:pt x="70" y="102"/>
                    <a:pt x="62" y="102"/>
                    <a:pt x="54" y="103"/>
                  </a:cubicBezTo>
                  <a:cubicBezTo>
                    <a:pt x="54" y="97"/>
                    <a:pt x="53" y="91"/>
                    <a:pt x="53" y="84"/>
                  </a:cubicBezTo>
                  <a:cubicBezTo>
                    <a:pt x="78" y="84"/>
                    <a:pt x="78" y="84"/>
                    <a:pt x="78" y="84"/>
                  </a:cubicBezTo>
                  <a:lnTo>
                    <a:pt x="78" y="101"/>
                  </a:lnTo>
                  <a:close/>
                  <a:moveTo>
                    <a:pt x="78" y="78"/>
                  </a:moveTo>
                  <a:cubicBezTo>
                    <a:pt x="53" y="78"/>
                    <a:pt x="53" y="78"/>
                    <a:pt x="53" y="78"/>
                  </a:cubicBezTo>
                  <a:cubicBezTo>
                    <a:pt x="53" y="71"/>
                    <a:pt x="54" y="65"/>
                    <a:pt x="54" y="59"/>
                  </a:cubicBezTo>
                  <a:cubicBezTo>
                    <a:pt x="62" y="60"/>
                    <a:pt x="70" y="60"/>
                    <a:pt x="78" y="61"/>
                  </a:cubicBezTo>
                  <a:lnTo>
                    <a:pt x="78" y="78"/>
                  </a:lnTo>
                  <a:close/>
                  <a:moveTo>
                    <a:pt x="78" y="54"/>
                  </a:moveTo>
                  <a:cubicBezTo>
                    <a:pt x="70" y="54"/>
                    <a:pt x="62" y="54"/>
                    <a:pt x="55" y="53"/>
                  </a:cubicBezTo>
                  <a:cubicBezTo>
                    <a:pt x="57" y="44"/>
                    <a:pt x="58" y="37"/>
                    <a:pt x="61" y="31"/>
                  </a:cubicBezTo>
                  <a:cubicBezTo>
                    <a:pt x="66" y="31"/>
                    <a:pt x="72" y="32"/>
                    <a:pt x="78" y="32"/>
                  </a:cubicBezTo>
                  <a:lnTo>
                    <a:pt x="78" y="54"/>
                  </a:lnTo>
                  <a:close/>
                  <a:moveTo>
                    <a:pt x="63" y="25"/>
                  </a:moveTo>
                  <a:cubicBezTo>
                    <a:pt x="65" y="19"/>
                    <a:pt x="68" y="14"/>
                    <a:pt x="71" y="11"/>
                  </a:cubicBezTo>
                  <a:cubicBezTo>
                    <a:pt x="73" y="9"/>
                    <a:pt x="76" y="7"/>
                    <a:pt x="78" y="6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3" y="25"/>
                    <a:pt x="68" y="25"/>
                    <a:pt x="63" y="2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</p:grpSp>
      <p:sp>
        <p:nvSpPr>
          <p:cNvPr id="16" name="矩形 15"/>
          <p:cNvSpPr/>
          <p:nvPr/>
        </p:nvSpPr>
        <p:spPr>
          <a:xfrm>
            <a:off x="2018698" y="1455870"/>
            <a:ext cx="52758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accent5">
                    <a:lumMod val="50000"/>
                  </a:schemeClr>
                </a:solidFill>
                <a:latin typeface="+mn-ea"/>
              </a:rPr>
              <a:t>借助  </a:t>
            </a:r>
            <a:r>
              <a:rPr lang="en-US" altLang="zh-CN" sz="1600" dirty="0">
                <a:solidFill>
                  <a:schemeClr val="accent5">
                    <a:lumMod val="50000"/>
                  </a:schemeClr>
                </a:solidFill>
                <a:latin typeface="+mn-ea"/>
              </a:rPr>
              <a:t>AI</a:t>
            </a:r>
            <a:r>
              <a:rPr lang="zh-CN" altLang="en-US" sz="1600" dirty="0">
                <a:solidFill>
                  <a:schemeClr val="accent5">
                    <a:lumMod val="50000"/>
                  </a:schemeClr>
                </a:solidFill>
                <a:latin typeface="+mn-ea"/>
              </a:rPr>
              <a:t>         、机器学习         、图像识别         、大数据</a:t>
            </a:r>
            <a:endParaRPr lang="en-US" altLang="zh-CN" sz="1600" dirty="0">
              <a:solidFill>
                <a:schemeClr val="accent5">
                  <a:lumMod val="50000"/>
                </a:schemeClr>
              </a:solidFill>
              <a:latin typeface="+mn-ea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5884857" y="1343480"/>
            <a:ext cx="396000" cy="432000"/>
            <a:chOff x="6189643" y="1024788"/>
            <a:chExt cx="576000" cy="589662"/>
          </a:xfrm>
        </p:grpSpPr>
        <p:sp>
          <p:nvSpPr>
            <p:cNvPr id="185" name="Freeform 83"/>
            <p:cNvSpPr>
              <a:spLocks noEditPoints="1"/>
            </p:cNvSpPr>
            <p:nvPr/>
          </p:nvSpPr>
          <p:spPr bwMode="black">
            <a:xfrm>
              <a:off x="6189643" y="1038450"/>
              <a:ext cx="576000" cy="576000"/>
            </a:xfrm>
            <a:custGeom>
              <a:avLst/>
              <a:gdLst>
                <a:gd name="T0" fmla="*/ 502 w 2107"/>
                <a:gd name="T1" fmla="*/ 1162 h 2221"/>
                <a:gd name="T2" fmla="*/ 239 w 2107"/>
                <a:gd name="T3" fmla="*/ 2072 h 2221"/>
                <a:gd name="T4" fmla="*/ 1587 w 2107"/>
                <a:gd name="T5" fmla="*/ 1800 h 2221"/>
                <a:gd name="T6" fmla="*/ 1487 w 2107"/>
                <a:gd name="T7" fmla="*/ 1835 h 2221"/>
                <a:gd name="T8" fmla="*/ 1579 w 2107"/>
                <a:gd name="T9" fmla="*/ 1870 h 2221"/>
                <a:gd name="T10" fmla="*/ 1470 w 2107"/>
                <a:gd name="T11" fmla="*/ 1847 h 2221"/>
                <a:gd name="T12" fmla="*/ 983 w 2107"/>
                <a:gd name="T13" fmla="*/ 1837 h 2221"/>
                <a:gd name="T14" fmla="*/ 1062 w 2107"/>
                <a:gd name="T15" fmla="*/ 1872 h 2221"/>
                <a:gd name="T16" fmla="*/ 956 w 2107"/>
                <a:gd name="T17" fmla="*/ 1951 h 2221"/>
                <a:gd name="T18" fmla="*/ 1046 w 2107"/>
                <a:gd name="T19" fmla="*/ 1970 h 2221"/>
                <a:gd name="T20" fmla="*/ 820 w 2107"/>
                <a:gd name="T21" fmla="*/ 1872 h 2221"/>
                <a:gd name="T22" fmla="*/ 899 w 2107"/>
                <a:gd name="T23" fmla="*/ 1836 h 2221"/>
                <a:gd name="T24" fmla="*/ 841 w 2107"/>
                <a:gd name="T25" fmla="*/ 1886 h 2221"/>
                <a:gd name="T26" fmla="*/ 905 w 2107"/>
                <a:gd name="T27" fmla="*/ 1920 h 2221"/>
                <a:gd name="T28" fmla="*/ 882 w 2107"/>
                <a:gd name="T29" fmla="*/ 1971 h 2221"/>
                <a:gd name="T30" fmla="*/ 687 w 2107"/>
                <a:gd name="T31" fmla="*/ 1847 h 2221"/>
                <a:gd name="T32" fmla="*/ 780 w 2107"/>
                <a:gd name="T33" fmla="*/ 1844 h 2221"/>
                <a:gd name="T34" fmla="*/ 760 w 2107"/>
                <a:gd name="T35" fmla="*/ 1882 h 2221"/>
                <a:gd name="T36" fmla="*/ 703 w 2107"/>
                <a:gd name="T37" fmla="*/ 1912 h 2221"/>
                <a:gd name="T38" fmla="*/ 682 w 2107"/>
                <a:gd name="T39" fmla="*/ 1972 h 2221"/>
                <a:gd name="T40" fmla="*/ 647 w 2107"/>
                <a:gd name="T41" fmla="*/ 1928 h 2221"/>
                <a:gd name="T42" fmla="*/ 631 w 2107"/>
                <a:gd name="T43" fmla="*/ 1862 h 2221"/>
                <a:gd name="T44" fmla="*/ 545 w 2107"/>
                <a:gd name="T45" fmla="*/ 2017 h 2221"/>
                <a:gd name="T46" fmla="*/ 416 w 2107"/>
                <a:gd name="T47" fmla="*/ 2078 h 2221"/>
                <a:gd name="T48" fmla="*/ 435 w 2107"/>
                <a:gd name="T49" fmla="*/ 2014 h 2221"/>
                <a:gd name="T50" fmla="*/ 538 w 2107"/>
                <a:gd name="T51" fmla="*/ 2006 h 2221"/>
                <a:gd name="T52" fmla="*/ 520 w 2107"/>
                <a:gd name="T53" fmla="*/ 1973 h 2221"/>
                <a:gd name="T54" fmla="*/ 490 w 2107"/>
                <a:gd name="T55" fmla="*/ 1930 h 2221"/>
                <a:gd name="T56" fmla="*/ 587 w 2107"/>
                <a:gd name="T57" fmla="*/ 1913 h 2221"/>
                <a:gd name="T58" fmla="*/ 1055 w 2107"/>
                <a:gd name="T59" fmla="*/ 2071 h 2221"/>
                <a:gd name="T60" fmla="*/ 605 w 2107"/>
                <a:gd name="T61" fmla="*/ 2078 h 2221"/>
                <a:gd name="T62" fmla="*/ 613 w 2107"/>
                <a:gd name="T63" fmla="*/ 2010 h 2221"/>
                <a:gd name="T64" fmla="*/ 1046 w 2107"/>
                <a:gd name="T65" fmla="*/ 2003 h 2221"/>
                <a:gd name="T66" fmla="*/ 1113 w 2107"/>
                <a:gd name="T67" fmla="*/ 1877 h 2221"/>
                <a:gd name="T68" fmla="*/ 1176 w 2107"/>
                <a:gd name="T69" fmla="*/ 1835 h 2221"/>
                <a:gd name="T70" fmla="*/ 1137 w 2107"/>
                <a:gd name="T71" fmla="*/ 1885 h 2221"/>
                <a:gd name="T72" fmla="*/ 1115 w 2107"/>
                <a:gd name="T73" fmla="*/ 1926 h 2221"/>
                <a:gd name="T74" fmla="*/ 1215 w 2107"/>
                <a:gd name="T75" fmla="*/ 1968 h 2221"/>
                <a:gd name="T76" fmla="*/ 1135 w 2107"/>
                <a:gd name="T77" fmla="*/ 1970 h 2221"/>
                <a:gd name="T78" fmla="*/ 1146 w 2107"/>
                <a:gd name="T79" fmla="*/ 2075 h 2221"/>
                <a:gd name="T80" fmla="*/ 1122 w 2107"/>
                <a:gd name="T81" fmla="*/ 2019 h 2221"/>
                <a:gd name="T82" fmla="*/ 1139 w 2107"/>
                <a:gd name="T83" fmla="*/ 2003 h 2221"/>
                <a:gd name="T84" fmla="*/ 1217 w 2107"/>
                <a:gd name="T85" fmla="*/ 2003 h 2221"/>
                <a:gd name="T86" fmla="*/ 1337 w 2107"/>
                <a:gd name="T87" fmla="*/ 1868 h 2221"/>
                <a:gd name="T88" fmla="*/ 1411 w 2107"/>
                <a:gd name="T89" fmla="*/ 1838 h 2221"/>
                <a:gd name="T90" fmla="*/ 1425 w 2107"/>
                <a:gd name="T91" fmla="*/ 1883 h 2221"/>
                <a:gd name="T92" fmla="*/ 1359 w 2107"/>
                <a:gd name="T93" fmla="*/ 1927 h 2221"/>
                <a:gd name="T94" fmla="*/ 1476 w 2107"/>
                <a:gd name="T95" fmla="*/ 1956 h 2221"/>
                <a:gd name="T96" fmla="*/ 1461 w 2107"/>
                <a:gd name="T97" fmla="*/ 1970 h 2221"/>
                <a:gd name="T98" fmla="*/ 1511 w 2107"/>
                <a:gd name="T99" fmla="*/ 2075 h 2221"/>
                <a:gd name="T100" fmla="*/ 1393 w 2107"/>
                <a:gd name="T101" fmla="*/ 2019 h 2221"/>
                <a:gd name="T102" fmla="*/ 1475 w 2107"/>
                <a:gd name="T103" fmla="*/ 2001 h 2221"/>
                <a:gd name="T104" fmla="*/ 1681 w 2107"/>
                <a:gd name="T105" fmla="*/ 2018 h 2221"/>
                <a:gd name="T106" fmla="*/ 1623 w 2107"/>
                <a:gd name="T107" fmla="*/ 2075 h 2221"/>
                <a:gd name="T108" fmla="*/ 1639 w 2107"/>
                <a:gd name="T109" fmla="*/ 2000 h 2221"/>
                <a:gd name="T110" fmla="*/ 1630 w 2107"/>
                <a:gd name="T111" fmla="*/ 1969 h 2221"/>
                <a:gd name="T112" fmla="*/ 1532 w 2107"/>
                <a:gd name="T113" fmla="*/ 1910 h 2221"/>
                <a:gd name="T114" fmla="*/ 933 w 2107"/>
                <a:gd name="T115" fmla="*/ 1308 h 2221"/>
                <a:gd name="T116" fmla="*/ 9 w 2107"/>
                <a:gd name="T117" fmla="*/ 909 h 2221"/>
                <a:gd name="T118" fmla="*/ 413 w 2107"/>
                <a:gd name="T119" fmla="*/ 386 h 2221"/>
                <a:gd name="T120" fmla="*/ 1700 w 2107"/>
                <a:gd name="T121" fmla="*/ 556 h 2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07" h="2221">
                  <a:moveTo>
                    <a:pt x="2107" y="809"/>
                  </a:moveTo>
                  <a:cubicBezTo>
                    <a:pt x="2106" y="786"/>
                    <a:pt x="2103" y="764"/>
                    <a:pt x="2098" y="742"/>
                  </a:cubicBezTo>
                  <a:cubicBezTo>
                    <a:pt x="2098" y="745"/>
                    <a:pt x="2098" y="747"/>
                    <a:pt x="2098" y="749"/>
                  </a:cubicBezTo>
                  <a:cubicBezTo>
                    <a:pt x="2096" y="810"/>
                    <a:pt x="2076" y="869"/>
                    <a:pt x="2040" y="926"/>
                  </a:cubicBezTo>
                  <a:cubicBezTo>
                    <a:pt x="2018" y="961"/>
                    <a:pt x="1988" y="995"/>
                    <a:pt x="1953" y="1027"/>
                  </a:cubicBezTo>
                  <a:cubicBezTo>
                    <a:pt x="1918" y="1064"/>
                    <a:pt x="1873" y="1098"/>
                    <a:pt x="1819" y="1131"/>
                  </a:cubicBezTo>
                  <a:cubicBezTo>
                    <a:pt x="1777" y="1156"/>
                    <a:pt x="1731" y="1178"/>
                    <a:pt x="1682" y="1198"/>
                  </a:cubicBezTo>
                  <a:cubicBezTo>
                    <a:pt x="1682" y="1061"/>
                    <a:pt x="1682" y="1061"/>
                    <a:pt x="1682" y="1061"/>
                  </a:cubicBezTo>
                  <a:cubicBezTo>
                    <a:pt x="1682" y="1059"/>
                    <a:pt x="1682" y="1058"/>
                    <a:pt x="1682" y="1056"/>
                  </a:cubicBezTo>
                  <a:cubicBezTo>
                    <a:pt x="1680" y="988"/>
                    <a:pt x="1624" y="933"/>
                    <a:pt x="1554" y="933"/>
                  </a:cubicBezTo>
                  <a:cubicBezTo>
                    <a:pt x="555" y="933"/>
                    <a:pt x="555" y="933"/>
                    <a:pt x="555" y="933"/>
                  </a:cubicBezTo>
                  <a:cubicBezTo>
                    <a:pt x="484" y="933"/>
                    <a:pt x="426" y="990"/>
                    <a:pt x="426" y="1061"/>
                  </a:cubicBezTo>
                  <a:cubicBezTo>
                    <a:pt x="426" y="1141"/>
                    <a:pt x="426" y="1141"/>
                    <a:pt x="426" y="1141"/>
                  </a:cubicBezTo>
                  <a:cubicBezTo>
                    <a:pt x="430" y="1142"/>
                    <a:pt x="430" y="1142"/>
                    <a:pt x="430" y="1142"/>
                  </a:cubicBezTo>
                  <a:cubicBezTo>
                    <a:pt x="430" y="1143"/>
                    <a:pt x="459" y="1152"/>
                    <a:pt x="502" y="1162"/>
                  </a:cubicBezTo>
                  <a:cubicBezTo>
                    <a:pt x="502" y="1069"/>
                    <a:pt x="502" y="1069"/>
                    <a:pt x="502" y="1069"/>
                  </a:cubicBezTo>
                  <a:cubicBezTo>
                    <a:pt x="502" y="1032"/>
                    <a:pt x="531" y="1003"/>
                    <a:pt x="568" y="1003"/>
                  </a:cubicBezTo>
                  <a:cubicBezTo>
                    <a:pt x="1541" y="1003"/>
                    <a:pt x="1541" y="1003"/>
                    <a:pt x="1541" y="1003"/>
                  </a:cubicBezTo>
                  <a:cubicBezTo>
                    <a:pt x="1577" y="1003"/>
                    <a:pt x="1607" y="1032"/>
                    <a:pt x="1607" y="1069"/>
                  </a:cubicBezTo>
                  <a:cubicBezTo>
                    <a:pt x="1607" y="1668"/>
                    <a:pt x="1607" y="1668"/>
                    <a:pt x="1607" y="1668"/>
                  </a:cubicBezTo>
                  <a:cubicBezTo>
                    <a:pt x="1607" y="1704"/>
                    <a:pt x="1577" y="1734"/>
                    <a:pt x="1541" y="1734"/>
                  </a:cubicBezTo>
                  <a:cubicBezTo>
                    <a:pt x="568" y="1734"/>
                    <a:pt x="568" y="1734"/>
                    <a:pt x="568" y="1734"/>
                  </a:cubicBezTo>
                  <a:cubicBezTo>
                    <a:pt x="531" y="1734"/>
                    <a:pt x="502" y="1704"/>
                    <a:pt x="502" y="1668"/>
                  </a:cubicBezTo>
                  <a:cubicBezTo>
                    <a:pt x="502" y="1541"/>
                    <a:pt x="502" y="1541"/>
                    <a:pt x="502" y="1541"/>
                  </a:cubicBezTo>
                  <a:cubicBezTo>
                    <a:pt x="476" y="1535"/>
                    <a:pt x="451" y="1528"/>
                    <a:pt x="426" y="1520"/>
                  </a:cubicBezTo>
                  <a:cubicBezTo>
                    <a:pt x="426" y="1676"/>
                    <a:pt x="426" y="1676"/>
                    <a:pt x="426" y="1676"/>
                  </a:cubicBezTo>
                  <a:cubicBezTo>
                    <a:pt x="426" y="1736"/>
                    <a:pt x="467" y="1786"/>
                    <a:pt x="523" y="1800"/>
                  </a:cubicBezTo>
                  <a:cubicBezTo>
                    <a:pt x="491" y="1802"/>
                    <a:pt x="456" y="1813"/>
                    <a:pt x="435" y="1837"/>
                  </a:cubicBezTo>
                  <a:cubicBezTo>
                    <a:pt x="419" y="1857"/>
                    <a:pt x="403" y="1876"/>
                    <a:pt x="387" y="1895"/>
                  </a:cubicBezTo>
                  <a:cubicBezTo>
                    <a:pt x="337" y="1954"/>
                    <a:pt x="288" y="2013"/>
                    <a:pt x="239" y="2072"/>
                  </a:cubicBezTo>
                  <a:cubicBezTo>
                    <a:pt x="227" y="2086"/>
                    <a:pt x="203" y="2107"/>
                    <a:pt x="203" y="2127"/>
                  </a:cubicBezTo>
                  <a:cubicBezTo>
                    <a:pt x="203" y="2183"/>
                    <a:pt x="203" y="2183"/>
                    <a:pt x="203" y="2183"/>
                  </a:cubicBezTo>
                  <a:cubicBezTo>
                    <a:pt x="204" y="2190"/>
                    <a:pt x="206" y="2197"/>
                    <a:pt x="209" y="2202"/>
                  </a:cubicBezTo>
                  <a:cubicBezTo>
                    <a:pt x="222" y="2220"/>
                    <a:pt x="247" y="2221"/>
                    <a:pt x="267" y="2221"/>
                  </a:cubicBezTo>
                  <a:cubicBezTo>
                    <a:pt x="295" y="2221"/>
                    <a:pt x="1759" y="2221"/>
                    <a:pt x="1804" y="2221"/>
                  </a:cubicBezTo>
                  <a:cubicBezTo>
                    <a:pt x="1826" y="2221"/>
                    <a:pt x="1850" y="2219"/>
                    <a:pt x="1871" y="2214"/>
                  </a:cubicBezTo>
                  <a:cubicBezTo>
                    <a:pt x="1886" y="2211"/>
                    <a:pt x="1903" y="2203"/>
                    <a:pt x="1905" y="2186"/>
                  </a:cubicBezTo>
                  <a:cubicBezTo>
                    <a:pt x="1905" y="2126"/>
                    <a:pt x="1905" y="2126"/>
                    <a:pt x="1905" y="2126"/>
                  </a:cubicBezTo>
                  <a:cubicBezTo>
                    <a:pt x="1907" y="2113"/>
                    <a:pt x="1899" y="2100"/>
                    <a:pt x="1891" y="2091"/>
                  </a:cubicBezTo>
                  <a:cubicBezTo>
                    <a:pt x="1887" y="2086"/>
                    <a:pt x="1883" y="2081"/>
                    <a:pt x="1879" y="2077"/>
                  </a:cubicBezTo>
                  <a:cubicBezTo>
                    <a:pt x="1858" y="2052"/>
                    <a:pt x="1837" y="2027"/>
                    <a:pt x="1816" y="2003"/>
                  </a:cubicBezTo>
                  <a:cubicBezTo>
                    <a:pt x="1770" y="1948"/>
                    <a:pt x="1724" y="1894"/>
                    <a:pt x="1678" y="1840"/>
                  </a:cubicBezTo>
                  <a:cubicBezTo>
                    <a:pt x="1676" y="1837"/>
                    <a:pt x="1674" y="1834"/>
                    <a:pt x="1671" y="1832"/>
                  </a:cubicBezTo>
                  <a:cubicBezTo>
                    <a:pt x="1662" y="1820"/>
                    <a:pt x="1647" y="1813"/>
                    <a:pt x="1633" y="1809"/>
                  </a:cubicBezTo>
                  <a:cubicBezTo>
                    <a:pt x="1618" y="1804"/>
                    <a:pt x="1603" y="1801"/>
                    <a:pt x="1587" y="1800"/>
                  </a:cubicBezTo>
                  <a:cubicBezTo>
                    <a:pt x="1642" y="1785"/>
                    <a:pt x="1682" y="1735"/>
                    <a:pt x="1682" y="1676"/>
                  </a:cubicBezTo>
                  <a:cubicBezTo>
                    <a:pt x="1682" y="1462"/>
                    <a:pt x="1682" y="1462"/>
                    <a:pt x="1682" y="1462"/>
                  </a:cubicBezTo>
                  <a:cubicBezTo>
                    <a:pt x="1698" y="1455"/>
                    <a:pt x="1714" y="1448"/>
                    <a:pt x="1730" y="1441"/>
                  </a:cubicBezTo>
                  <a:cubicBezTo>
                    <a:pt x="1801" y="1408"/>
                    <a:pt x="1863" y="1368"/>
                    <a:pt x="1916" y="1325"/>
                  </a:cubicBezTo>
                  <a:cubicBezTo>
                    <a:pt x="1946" y="1300"/>
                    <a:pt x="1972" y="1273"/>
                    <a:pt x="1995" y="1246"/>
                  </a:cubicBezTo>
                  <a:cubicBezTo>
                    <a:pt x="2018" y="1218"/>
                    <a:pt x="2037" y="1187"/>
                    <a:pt x="2054" y="1154"/>
                  </a:cubicBezTo>
                  <a:cubicBezTo>
                    <a:pt x="2068" y="1124"/>
                    <a:pt x="2079" y="1090"/>
                    <a:pt x="2084" y="1054"/>
                  </a:cubicBezTo>
                  <a:cubicBezTo>
                    <a:pt x="2086" y="1040"/>
                    <a:pt x="2087" y="1026"/>
                    <a:pt x="2089" y="1013"/>
                  </a:cubicBezTo>
                  <a:cubicBezTo>
                    <a:pt x="2089" y="1008"/>
                    <a:pt x="2090" y="1003"/>
                    <a:pt x="2090" y="998"/>
                  </a:cubicBezTo>
                  <a:cubicBezTo>
                    <a:pt x="2102" y="877"/>
                    <a:pt x="2102" y="877"/>
                    <a:pt x="2102" y="877"/>
                  </a:cubicBezTo>
                  <a:cubicBezTo>
                    <a:pt x="2103" y="874"/>
                    <a:pt x="2103" y="870"/>
                    <a:pt x="2103" y="867"/>
                  </a:cubicBezTo>
                  <a:cubicBezTo>
                    <a:pt x="2105" y="848"/>
                    <a:pt x="2107" y="829"/>
                    <a:pt x="2107" y="809"/>
                  </a:cubicBezTo>
                  <a:close/>
                  <a:moveTo>
                    <a:pt x="1474" y="1837"/>
                  </a:moveTo>
                  <a:cubicBezTo>
                    <a:pt x="1475" y="1836"/>
                    <a:pt x="1476" y="1836"/>
                    <a:pt x="1478" y="1836"/>
                  </a:cubicBezTo>
                  <a:cubicBezTo>
                    <a:pt x="1481" y="1835"/>
                    <a:pt x="1483" y="1835"/>
                    <a:pt x="1487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502" y="1835"/>
                    <a:pt x="1511" y="1835"/>
                    <a:pt x="1521" y="1835"/>
                  </a:cubicBezTo>
                  <a:cubicBezTo>
                    <a:pt x="1521" y="1835"/>
                    <a:pt x="1521" y="1835"/>
                    <a:pt x="1521" y="1835"/>
                  </a:cubicBezTo>
                  <a:cubicBezTo>
                    <a:pt x="1531" y="1835"/>
                    <a:pt x="1531" y="1835"/>
                    <a:pt x="1531" y="1835"/>
                  </a:cubicBezTo>
                  <a:cubicBezTo>
                    <a:pt x="1534" y="1834"/>
                    <a:pt x="1538" y="1835"/>
                    <a:pt x="1541" y="1835"/>
                  </a:cubicBezTo>
                  <a:cubicBezTo>
                    <a:pt x="1543" y="1836"/>
                    <a:pt x="1546" y="1836"/>
                    <a:pt x="1548" y="1837"/>
                  </a:cubicBezTo>
                  <a:cubicBezTo>
                    <a:pt x="1548" y="1837"/>
                    <a:pt x="1548" y="1837"/>
                    <a:pt x="1548" y="1837"/>
                  </a:cubicBezTo>
                  <a:cubicBezTo>
                    <a:pt x="1549" y="1837"/>
                    <a:pt x="1549" y="1838"/>
                    <a:pt x="1549" y="1838"/>
                  </a:cubicBezTo>
                  <a:cubicBezTo>
                    <a:pt x="1550" y="1838"/>
                    <a:pt x="1550" y="1838"/>
                    <a:pt x="1550" y="1838"/>
                  </a:cubicBezTo>
                  <a:cubicBezTo>
                    <a:pt x="1553" y="1839"/>
                    <a:pt x="1556" y="1840"/>
                    <a:pt x="1558" y="1842"/>
                  </a:cubicBezTo>
                  <a:cubicBezTo>
                    <a:pt x="1560" y="1843"/>
                    <a:pt x="1562" y="1845"/>
                    <a:pt x="1563" y="1847"/>
                  </a:cubicBezTo>
                  <a:cubicBezTo>
                    <a:pt x="1571" y="1858"/>
                    <a:pt x="1571" y="1858"/>
                    <a:pt x="1571" y="1858"/>
                  </a:cubicBezTo>
                  <a:cubicBezTo>
                    <a:pt x="1573" y="1861"/>
                    <a:pt x="1577" y="1865"/>
                    <a:pt x="1579" y="1870"/>
                  </a:cubicBezTo>
                  <a:cubicBezTo>
                    <a:pt x="1579" y="1870"/>
                    <a:pt x="1579" y="1870"/>
                    <a:pt x="1579" y="1870"/>
                  </a:cubicBezTo>
                  <a:cubicBezTo>
                    <a:pt x="1581" y="1872"/>
                    <a:pt x="1581" y="1874"/>
                    <a:pt x="1581" y="1876"/>
                  </a:cubicBezTo>
                  <a:cubicBezTo>
                    <a:pt x="1581" y="1877"/>
                    <a:pt x="1580" y="1878"/>
                    <a:pt x="1579" y="1879"/>
                  </a:cubicBezTo>
                  <a:cubicBezTo>
                    <a:pt x="1579" y="1879"/>
                    <a:pt x="1579" y="1880"/>
                    <a:pt x="1579" y="1880"/>
                  </a:cubicBezTo>
                  <a:cubicBezTo>
                    <a:pt x="1579" y="1880"/>
                    <a:pt x="1579" y="1880"/>
                    <a:pt x="1579" y="1880"/>
                  </a:cubicBezTo>
                  <a:cubicBezTo>
                    <a:pt x="1578" y="1880"/>
                    <a:pt x="1578" y="1880"/>
                    <a:pt x="1578" y="1880"/>
                  </a:cubicBezTo>
                  <a:cubicBezTo>
                    <a:pt x="1578" y="1880"/>
                    <a:pt x="1578" y="1881"/>
                    <a:pt x="1577" y="1881"/>
                  </a:cubicBezTo>
                  <a:cubicBezTo>
                    <a:pt x="1577" y="1881"/>
                    <a:pt x="1577" y="1881"/>
                    <a:pt x="1576" y="1881"/>
                  </a:cubicBezTo>
                  <a:cubicBezTo>
                    <a:pt x="1576" y="1881"/>
                    <a:pt x="1576" y="1882"/>
                    <a:pt x="1575" y="1882"/>
                  </a:cubicBezTo>
                  <a:cubicBezTo>
                    <a:pt x="1569" y="1885"/>
                    <a:pt x="1560" y="1884"/>
                    <a:pt x="1553" y="1884"/>
                  </a:cubicBezTo>
                  <a:cubicBezTo>
                    <a:pt x="1516" y="1884"/>
                    <a:pt x="1516" y="1884"/>
                    <a:pt x="1516" y="1884"/>
                  </a:cubicBezTo>
                  <a:cubicBezTo>
                    <a:pt x="1509" y="1884"/>
                    <a:pt x="1501" y="1883"/>
                    <a:pt x="1494" y="1879"/>
                  </a:cubicBezTo>
                  <a:cubicBezTo>
                    <a:pt x="1492" y="1878"/>
                    <a:pt x="1490" y="1877"/>
                    <a:pt x="1488" y="1876"/>
                  </a:cubicBezTo>
                  <a:cubicBezTo>
                    <a:pt x="1486" y="1874"/>
                    <a:pt x="1484" y="1872"/>
                    <a:pt x="1483" y="1871"/>
                  </a:cubicBezTo>
                  <a:cubicBezTo>
                    <a:pt x="1481" y="1868"/>
                    <a:pt x="1481" y="1868"/>
                    <a:pt x="1481" y="1868"/>
                  </a:cubicBezTo>
                  <a:cubicBezTo>
                    <a:pt x="1478" y="1861"/>
                    <a:pt x="1473" y="1854"/>
                    <a:pt x="1470" y="1847"/>
                  </a:cubicBezTo>
                  <a:cubicBezTo>
                    <a:pt x="1467" y="1842"/>
                    <a:pt x="1469" y="1839"/>
                    <a:pt x="1474" y="1837"/>
                  </a:cubicBezTo>
                  <a:close/>
                  <a:moveTo>
                    <a:pt x="965" y="1871"/>
                  </a:moveTo>
                  <a:cubicBezTo>
                    <a:pt x="966" y="1869"/>
                    <a:pt x="966" y="1868"/>
                    <a:pt x="966" y="1866"/>
                  </a:cubicBezTo>
                  <a:cubicBezTo>
                    <a:pt x="966" y="1866"/>
                    <a:pt x="966" y="1866"/>
                    <a:pt x="966" y="1866"/>
                  </a:cubicBezTo>
                  <a:cubicBezTo>
                    <a:pt x="967" y="1861"/>
                    <a:pt x="966" y="1855"/>
                    <a:pt x="968" y="1850"/>
                  </a:cubicBezTo>
                  <a:cubicBezTo>
                    <a:pt x="968" y="1848"/>
                    <a:pt x="968" y="1848"/>
                    <a:pt x="968" y="1848"/>
                  </a:cubicBezTo>
                  <a:cubicBezTo>
                    <a:pt x="968" y="1846"/>
                    <a:pt x="969" y="1845"/>
                    <a:pt x="970" y="1843"/>
                  </a:cubicBezTo>
                  <a:cubicBezTo>
                    <a:pt x="971" y="1842"/>
                    <a:pt x="973" y="1841"/>
                    <a:pt x="974" y="1841"/>
                  </a:cubicBezTo>
                  <a:cubicBezTo>
                    <a:pt x="974" y="1840"/>
                    <a:pt x="974" y="1840"/>
                    <a:pt x="974" y="1840"/>
                  </a:cubicBezTo>
                  <a:cubicBezTo>
                    <a:pt x="975" y="1840"/>
                    <a:pt x="975" y="1840"/>
                    <a:pt x="975" y="1840"/>
                  </a:cubicBezTo>
                  <a:cubicBezTo>
                    <a:pt x="976" y="1840"/>
                    <a:pt x="976" y="1839"/>
                    <a:pt x="976" y="1839"/>
                  </a:cubicBezTo>
                  <a:cubicBezTo>
                    <a:pt x="976" y="1839"/>
                    <a:pt x="977" y="1839"/>
                    <a:pt x="977" y="1839"/>
                  </a:cubicBezTo>
                  <a:cubicBezTo>
                    <a:pt x="978" y="1839"/>
                    <a:pt x="978" y="1838"/>
                    <a:pt x="979" y="1838"/>
                  </a:cubicBezTo>
                  <a:cubicBezTo>
                    <a:pt x="980" y="1838"/>
                    <a:pt x="980" y="1838"/>
                    <a:pt x="980" y="1838"/>
                  </a:cubicBezTo>
                  <a:cubicBezTo>
                    <a:pt x="981" y="1837"/>
                    <a:pt x="982" y="1837"/>
                    <a:pt x="983" y="1837"/>
                  </a:cubicBezTo>
                  <a:cubicBezTo>
                    <a:pt x="983" y="1837"/>
                    <a:pt x="984" y="1837"/>
                    <a:pt x="984" y="1837"/>
                  </a:cubicBezTo>
                  <a:cubicBezTo>
                    <a:pt x="984" y="1837"/>
                    <a:pt x="984" y="1837"/>
                    <a:pt x="985" y="1837"/>
                  </a:cubicBezTo>
                  <a:cubicBezTo>
                    <a:pt x="985" y="1837"/>
                    <a:pt x="985" y="1837"/>
                    <a:pt x="986" y="1836"/>
                  </a:cubicBezTo>
                  <a:cubicBezTo>
                    <a:pt x="988" y="1836"/>
                    <a:pt x="991" y="1836"/>
                    <a:pt x="993" y="1836"/>
                  </a:cubicBezTo>
                  <a:cubicBezTo>
                    <a:pt x="995" y="1836"/>
                    <a:pt x="995" y="1836"/>
                    <a:pt x="995" y="1836"/>
                  </a:cubicBezTo>
                  <a:cubicBezTo>
                    <a:pt x="998" y="1836"/>
                    <a:pt x="1000" y="1836"/>
                    <a:pt x="1003" y="1836"/>
                  </a:cubicBezTo>
                  <a:cubicBezTo>
                    <a:pt x="1038" y="1836"/>
                    <a:pt x="1038" y="1836"/>
                    <a:pt x="1038" y="1836"/>
                  </a:cubicBezTo>
                  <a:cubicBezTo>
                    <a:pt x="1038" y="1836"/>
                    <a:pt x="1039" y="1836"/>
                    <a:pt x="1040" y="1836"/>
                  </a:cubicBezTo>
                  <a:cubicBezTo>
                    <a:pt x="1040" y="1836"/>
                    <a:pt x="1040" y="1836"/>
                    <a:pt x="1041" y="1836"/>
                  </a:cubicBezTo>
                  <a:cubicBezTo>
                    <a:pt x="1042" y="1836"/>
                    <a:pt x="1042" y="1836"/>
                    <a:pt x="1043" y="1836"/>
                  </a:cubicBezTo>
                  <a:cubicBezTo>
                    <a:pt x="1050" y="1837"/>
                    <a:pt x="1058" y="1839"/>
                    <a:pt x="1061" y="1844"/>
                  </a:cubicBezTo>
                  <a:cubicBezTo>
                    <a:pt x="1061" y="1845"/>
                    <a:pt x="1061" y="1845"/>
                    <a:pt x="1061" y="1846"/>
                  </a:cubicBezTo>
                  <a:cubicBezTo>
                    <a:pt x="1061" y="1846"/>
                    <a:pt x="1061" y="1846"/>
                    <a:pt x="1061" y="1846"/>
                  </a:cubicBezTo>
                  <a:cubicBezTo>
                    <a:pt x="1063" y="1853"/>
                    <a:pt x="1062" y="1863"/>
                    <a:pt x="1062" y="1870"/>
                  </a:cubicBezTo>
                  <a:cubicBezTo>
                    <a:pt x="1062" y="1872"/>
                    <a:pt x="1062" y="1872"/>
                    <a:pt x="1062" y="1872"/>
                  </a:cubicBezTo>
                  <a:cubicBezTo>
                    <a:pt x="1062" y="1873"/>
                    <a:pt x="1062" y="1874"/>
                    <a:pt x="1061" y="1876"/>
                  </a:cubicBezTo>
                  <a:cubicBezTo>
                    <a:pt x="1054" y="1889"/>
                    <a:pt x="1022" y="1885"/>
                    <a:pt x="1010" y="1885"/>
                  </a:cubicBezTo>
                  <a:cubicBezTo>
                    <a:pt x="1003" y="1885"/>
                    <a:pt x="996" y="1885"/>
                    <a:pt x="989" y="1885"/>
                  </a:cubicBezTo>
                  <a:cubicBezTo>
                    <a:pt x="983" y="1885"/>
                    <a:pt x="974" y="1884"/>
                    <a:pt x="969" y="1879"/>
                  </a:cubicBezTo>
                  <a:cubicBezTo>
                    <a:pt x="969" y="1879"/>
                    <a:pt x="969" y="1879"/>
                    <a:pt x="968" y="1879"/>
                  </a:cubicBezTo>
                  <a:cubicBezTo>
                    <a:pt x="968" y="1879"/>
                    <a:pt x="968" y="1878"/>
                    <a:pt x="968" y="1878"/>
                  </a:cubicBezTo>
                  <a:cubicBezTo>
                    <a:pt x="967" y="1878"/>
                    <a:pt x="967" y="1878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6" y="1876"/>
                    <a:pt x="966" y="1876"/>
                    <a:pt x="966" y="1875"/>
                  </a:cubicBezTo>
                  <a:cubicBezTo>
                    <a:pt x="965" y="1874"/>
                    <a:pt x="965" y="1873"/>
                    <a:pt x="965" y="1872"/>
                  </a:cubicBezTo>
                  <a:lnTo>
                    <a:pt x="965" y="1871"/>
                  </a:lnTo>
                  <a:close/>
                  <a:moveTo>
                    <a:pt x="956" y="1955"/>
                  </a:moveTo>
                  <a:cubicBezTo>
                    <a:pt x="956" y="1952"/>
                    <a:pt x="956" y="1952"/>
                    <a:pt x="956" y="1952"/>
                  </a:cubicBezTo>
                  <a:cubicBezTo>
                    <a:pt x="956" y="1952"/>
                    <a:pt x="956" y="1951"/>
                    <a:pt x="956" y="1951"/>
                  </a:cubicBezTo>
                  <a:cubicBezTo>
                    <a:pt x="957" y="1943"/>
                    <a:pt x="958" y="1935"/>
                    <a:pt x="959" y="1926"/>
                  </a:cubicBezTo>
                  <a:cubicBezTo>
                    <a:pt x="959" y="1926"/>
                    <a:pt x="959" y="1926"/>
                    <a:pt x="959" y="1926"/>
                  </a:cubicBezTo>
                  <a:cubicBezTo>
                    <a:pt x="959" y="1926"/>
                    <a:pt x="959" y="1926"/>
                    <a:pt x="959" y="1925"/>
                  </a:cubicBezTo>
                  <a:cubicBezTo>
                    <a:pt x="963" y="1907"/>
                    <a:pt x="999" y="1911"/>
                    <a:pt x="1013" y="1911"/>
                  </a:cubicBezTo>
                  <a:cubicBezTo>
                    <a:pt x="1025" y="1911"/>
                    <a:pt x="1055" y="1908"/>
                    <a:pt x="1061" y="1921"/>
                  </a:cubicBezTo>
                  <a:cubicBezTo>
                    <a:pt x="1062" y="1923"/>
                    <a:pt x="1063" y="1924"/>
                    <a:pt x="1063" y="1926"/>
                  </a:cubicBezTo>
                  <a:cubicBezTo>
                    <a:pt x="1063" y="1940"/>
                    <a:pt x="1063" y="1940"/>
                    <a:pt x="1063" y="1940"/>
                  </a:cubicBezTo>
                  <a:cubicBezTo>
                    <a:pt x="1063" y="1945"/>
                    <a:pt x="1063" y="1949"/>
                    <a:pt x="1063" y="1953"/>
                  </a:cubicBezTo>
                  <a:cubicBezTo>
                    <a:pt x="1063" y="1953"/>
                    <a:pt x="1063" y="1953"/>
                    <a:pt x="1063" y="1953"/>
                  </a:cubicBezTo>
                  <a:cubicBezTo>
                    <a:pt x="1063" y="1955"/>
                    <a:pt x="1063" y="1955"/>
                    <a:pt x="1063" y="1955"/>
                  </a:cubicBezTo>
                  <a:cubicBezTo>
                    <a:pt x="1063" y="1957"/>
                    <a:pt x="1062" y="1959"/>
                    <a:pt x="1061" y="1961"/>
                  </a:cubicBezTo>
                  <a:cubicBezTo>
                    <a:pt x="1061" y="1962"/>
                    <a:pt x="1060" y="1962"/>
                    <a:pt x="1060" y="1962"/>
                  </a:cubicBezTo>
                  <a:cubicBezTo>
                    <a:pt x="1060" y="1963"/>
                    <a:pt x="1059" y="1963"/>
                    <a:pt x="1059" y="1964"/>
                  </a:cubicBezTo>
                  <a:cubicBezTo>
                    <a:pt x="1058" y="1964"/>
                    <a:pt x="1058" y="1964"/>
                    <a:pt x="1058" y="1964"/>
                  </a:cubicBezTo>
                  <a:cubicBezTo>
                    <a:pt x="1055" y="1967"/>
                    <a:pt x="1051" y="1969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4" y="1971"/>
                    <a:pt x="1043" y="1971"/>
                    <a:pt x="1041" y="1971"/>
                  </a:cubicBezTo>
                  <a:cubicBezTo>
                    <a:pt x="1041" y="1971"/>
                    <a:pt x="1040" y="1971"/>
                    <a:pt x="1040" y="1971"/>
                  </a:cubicBezTo>
                  <a:cubicBezTo>
                    <a:pt x="1038" y="1971"/>
                    <a:pt x="1037" y="1972"/>
                    <a:pt x="1035" y="1972"/>
                  </a:cubicBezTo>
                  <a:cubicBezTo>
                    <a:pt x="1035" y="1972"/>
                    <a:pt x="1035" y="1972"/>
                    <a:pt x="1035" y="1972"/>
                  </a:cubicBezTo>
                  <a:cubicBezTo>
                    <a:pt x="982" y="1972"/>
                    <a:pt x="982" y="1972"/>
                    <a:pt x="982" y="1972"/>
                  </a:cubicBezTo>
                  <a:cubicBezTo>
                    <a:pt x="976" y="1972"/>
                    <a:pt x="969" y="1971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2" y="1966"/>
                    <a:pt x="961" y="1965"/>
                    <a:pt x="960" y="1964"/>
                  </a:cubicBezTo>
                  <a:cubicBezTo>
                    <a:pt x="959" y="1964"/>
                    <a:pt x="958" y="1963"/>
                    <a:pt x="958" y="1962"/>
                  </a:cubicBezTo>
                  <a:cubicBezTo>
                    <a:pt x="958" y="1962"/>
                    <a:pt x="958" y="1962"/>
                    <a:pt x="957" y="1962"/>
                  </a:cubicBezTo>
                  <a:cubicBezTo>
                    <a:pt x="956" y="1960"/>
                    <a:pt x="956" y="1957"/>
                    <a:pt x="956" y="1955"/>
                  </a:cubicBezTo>
                  <a:close/>
                  <a:moveTo>
                    <a:pt x="820" y="1872"/>
                  </a:moveTo>
                  <a:cubicBezTo>
                    <a:pt x="820" y="1872"/>
                    <a:pt x="820" y="1872"/>
                    <a:pt x="820" y="1872"/>
                  </a:cubicBezTo>
                  <a:cubicBezTo>
                    <a:pt x="820" y="1872"/>
                    <a:pt x="820" y="1872"/>
                    <a:pt x="820" y="1872"/>
                  </a:cubicBezTo>
                  <a:cubicBezTo>
                    <a:pt x="820" y="1870"/>
                    <a:pt x="821" y="1868"/>
                    <a:pt x="822" y="1866"/>
                  </a:cubicBezTo>
                  <a:cubicBezTo>
                    <a:pt x="823" y="1861"/>
                    <a:pt x="824" y="1854"/>
                    <a:pt x="827" y="1849"/>
                  </a:cubicBezTo>
                  <a:cubicBezTo>
                    <a:pt x="827" y="1848"/>
                    <a:pt x="827" y="1848"/>
                    <a:pt x="827" y="1848"/>
                  </a:cubicBezTo>
                  <a:cubicBezTo>
                    <a:pt x="827" y="1847"/>
                    <a:pt x="829" y="1845"/>
                    <a:pt x="830" y="1844"/>
                  </a:cubicBezTo>
                  <a:cubicBezTo>
                    <a:pt x="831" y="1843"/>
                    <a:pt x="832" y="1842"/>
                    <a:pt x="833" y="1841"/>
                  </a:cubicBezTo>
                  <a:cubicBezTo>
                    <a:pt x="837" y="1839"/>
                    <a:pt x="840" y="1838"/>
                    <a:pt x="844" y="1837"/>
                  </a:cubicBezTo>
                  <a:cubicBezTo>
                    <a:pt x="845" y="1837"/>
                    <a:pt x="845" y="1837"/>
                    <a:pt x="845" y="1837"/>
                  </a:cubicBezTo>
                  <a:cubicBezTo>
                    <a:pt x="848" y="1836"/>
                    <a:pt x="851" y="1836"/>
                    <a:pt x="855" y="1836"/>
                  </a:cubicBezTo>
                  <a:cubicBezTo>
                    <a:pt x="859" y="1836"/>
                    <a:pt x="859" y="1836"/>
                    <a:pt x="859" y="1836"/>
                  </a:cubicBezTo>
                  <a:cubicBezTo>
                    <a:pt x="861" y="1836"/>
                    <a:pt x="862" y="1836"/>
                    <a:pt x="864" y="1836"/>
                  </a:cubicBezTo>
                  <a:cubicBezTo>
                    <a:pt x="873" y="1836"/>
                    <a:pt x="883" y="1836"/>
                    <a:pt x="893" y="1836"/>
                  </a:cubicBezTo>
                  <a:cubicBezTo>
                    <a:pt x="894" y="1836"/>
                    <a:pt x="896" y="1836"/>
                    <a:pt x="897" y="1836"/>
                  </a:cubicBezTo>
                  <a:cubicBezTo>
                    <a:pt x="899" y="1836"/>
                    <a:pt x="899" y="1836"/>
                    <a:pt x="899" y="1836"/>
                  </a:cubicBezTo>
                  <a:cubicBezTo>
                    <a:pt x="899" y="1836"/>
                    <a:pt x="899" y="1836"/>
                    <a:pt x="900" y="1836"/>
                  </a:cubicBezTo>
                  <a:cubicBezTo>
                    <a:pt x="901" y="1836"/>
                    <a:pt x="902" y="1836"/>
                    <a:pt x="904" y="1836"/>
                  </a:cubicBezTo>
                  <a:cubicBezTo>
                    <a:pt x="904" y="1836"/>
                    <a:pt x="904" y="1836"/>
                    <a:pt x="904" y="1836"/>
                  </a:cubicBezTo>
                  <a:cubicBezTo>
                    <a:pt x="911" y="1837"/>
                    <a:pt x="919" y="1839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54"/>
                    <a:pt x="918" y="1863"/>
                    <a:pt x="917" y="1870"/>
                  </a:cubicBezTo>
                  <a:cubicBezTo>
                    <a:pt x="917" y="1870"/>
                    <a:pt x="917" y="1870"/>
                    <a:pt x="917" y="1870"/>
                  </a:cubicBezTo>
                  <a:cubicBezTo>
                    <a:pt x="917" y="1872"/>
                    <a:pt x="917" y="1872"/>
                    <a:pt x="917" y="1872"/>
                  </a:cubicBezTo>
                  <a:cubicBezTo>
                    <a:pt x="916" y="1873"/>
                    <a:pt x="916" y="1875"/>
                    <a:pt x="914" y="1876"/>
                  </a:cubicBezTo>
                  <a:cubicBezTo>
                    <a:pt x="914" y="1876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04" y="1889"/>
                    <a:pt x="878" y="1886"/>
                    <a:pt x="865" y="1886"/>
                  </a:cubicBezTo>
                  <a:cubicBezTo>
                    <a:pt x="857" y="1886"/>
                    <a:pt x="849" y="1886"/>
                    <a:pt x="841" y="1886"/>
                  </a:cubicBezTo>
                  <a:cubicBezTo>
                    <a:pt x="834" y="1886"/>
                    <a:pt x="824" y="1884"/>
                    <a:pt x="820" y="1877"/>
                  </a:cubicBezTo>
                  <a:cubicBezTo>
                    <a:pt x="820" y="1877"/>
                    <a:pt x="820" y="1876"/>
                    <a:pt x="820" y="1875"/>
                  </a:cubicBezTo>
                  <a:cubicBezTo>
                    <a:pt x="820" y="1875"/>
                    <a:pt x="820" y="1875"/>
                    <a:pt x="820" y="1874"/>
                  </a:cubicBezTo>
                  <a:cubicBezTo>
                    <a:pt x="820" y="1873"/>
                    <a:pt x="820" y="1873"/>
                    <a:pt x="820" y="1872"/>
                  </a:cubicBezTo>
                  <a:close/>
                  <a:moveTo>
                    <a:pt x="795" y="1956"/>
                  </a:moveTo>
                  <a:cubicBezTo>
                    <a:pt x="796" y="1952"/>
                    <a:pt x="796" y="1952"/>
                    <a:pt x="796" y="1952"/>
                  </a:cubicBezTo>
                  <a:cubicBezTo>
                    <a:pt x="796" y="1952"/>
                    <a:pt x="796" y="1952"/>
                    <a:pt x="796" y="1952"/>
                  </a:cubicBezTo>
                  <a:cubicBezTo>
                    <a:pt x="796" y="1951"/>
                    <a:pt x="796" y="1951"/>
                    <a:pt x="796" y="1950"/>
                  </a:cubicBezTo>
                  <a:cubicBezTo>
                    <a:pt x="803" y="1926"/>
                    <a:pt x="803" y="1926"/>
                    <a:pt x="803" y="1926"/>
                  </a:cubicBezTo>
                  <a:cubicBezTo>
                    <a:pt x="804" y="1926"/>
                    <a:pt x="804" y="1926"/>
                    <a:pt x="804" y="1925"/>
                  </a:cubicBezTo>
                  <a:cubicBezTo>
                    <a:pt x="811" y="1908"/>
                    <a:pt x="843" y="1911"/>
                    <a:pt x="859" y="1911"/>
                  </a:cubicBezTo>
                  <a:cubicBezTo>
                    <a:pt x="865" y="1911"/>
                    <a:pt x="877" y="1910"/>
                    <a:pt x="888" y="1912"/>
                  </a:cubicBezTo>
                  <a:cubicBezTo>
                    <a:pt x="890" y="1912"/>
                    <a:pt x="891" y="1912"/>
                    <a:pt x="893" y="1913"/>
                  </a:cubicBezTo>
                  <a:cubicBezTo>
                    <a:pt x="894" y="1913"/>
                    <a:pt x="894" y="1913"/>
                    <a:pt x="894" y="1913"/>
                  </a:cubicBezTo>
                  <a:cubicBezTo>
                    <a:pt x="899" y="1914"/>
                    <a:pt x="903" y="1916"/>
                    <a:pt x="905" y="1920"/>
                  </a:cubicBezTo>
                  <a:cubicBezTo>
                    <a:pt x="906" y="1920"/>
                    <a:pt x="906" y="1920"/>
                    <a:pt x="906" y="1920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7" y="1923"/>
                    <a:pt x="907" y="1924"/>
                    <a:pt x="907" y="1926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6" y="1932"/>
                    <a:pt x="905" y="1936"/>
                    <a:pt x="904" y="1941"/>
                  </a:cubicBezTo>
                  <a:cubicBezTo>
                    <a:pt x="902" y="1955"/>
                    <a:pt x="902" y="1955"/>
                    <a:pt x="902" y="1955"/>
                  </a:cubicBezTo>
                  <a:cubicBezTo>
                    <a:pt x="901" y="1958"/>
                    <a:pt x="900" y="1960"/>
                    <a:pt x="899" y="1962"/>
                  </a:cubicBezTo>
                  <a:cubicBezTo>
                    <a:pt x="898" y="1962"/>
                    <a:pt x="898" y="1962"/>
                    <a:pt x="898" y="1962"/>
                  </a:cubicBezTo>
                  <a:cubicBezTo>
                    <a:pt x="898" y="1963"/>
                    <a:pt x="897" y="1963"/>
                    <a:pt x="897" y="1963"/>
                  </a:cubicBezTo>
                  <a:cubicBezTo>
                    <a:pt x="897" y="1964"/>
                    <a:pt x="896" y="1964"/>
                    <a:pt x="895" y="1965"/>
                  </a:cubicBezTo>
                  <a:cubicBezTo>
                    <a:pt x="891" y="1968"/>
                    <a:pt x="887" y="1969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0" y="1971"/>
                    <a:pt x="879" y="1971"/>
                    <a:pt x="877" y="1971"/>
                  </a:cubicBezTo>
                  <a:cubicBezTo>
                    <a:pt x="877" y="1972"/>
                    <a:pt x="876" y="1972"/>
                    <a:pt x="876" y="1972"/>
                  </a:cubicBezTo>
                  <a:cubicBezTo>
                    <a:pt x="874" y="1972"/>
                    <a:pt x="872" y="1972"/>
                    <a:pt x="871" y="1972"/>
                  </a:cubicBezTo>
                  <a:cubicBezTo>
                    <a:pt x="871" y="1972"/>
                    <a:pt x="871" y="1972"/>
                    <a:pt x="871" y="1972"/>
                  </a:cubicBezTo>
                  <a:cubicBezTo>
                    <a:pt x="818" y="1972"/>
                    <a:pt x="818" y="1972"/>
                    <a:pt x="818" y="1972"/>
                  </a:cubicBezTo>
                  <a:cubicBezTo>
                    <a:pt x="812" y="1972"/>
                    <a:pt x="805" y="1971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8" y="1967"/>
                    <a:pt x="797" y="1966"/>
                    <a:pt x="797" y="1965"/>
                  </a:cubicBezTo>
                  <a:cubicBezTo>
                    <a:pt x="796" y="1964"/>
                    <a:pt x="796" y="1963"/>
                    <a:pt x="795" y="1963"/>
                  </a:cubicBezTo>
                  <a:cubicBezTo>
                    <a:pt x="795" y="1962"/>
                    <a:pt x="795" y="1962"/>
                    <a:pt x="795" y="1962"/>
                  </a:cubicBezTo>
                  <a:cubicBezTo>
                    <a:pt x="794" y="1960"/>
                    <a:pt x="794" y="1958"/>
                    <a:pt x="795" y="1956"/>
                  </a:cubicBezTo>
                  <a:close/>
                  <a:moveTo>
                    <a:pt x="674" y="1875"/>
                  </a:moveTo>
                  <a:cubicBezTo>
                    <a:pt x="674" y="1872"/>
                    <a:pt x="676" y="1869"/>
                    <a:pt x="677" y="1867"/>
                  </a:cubicBezTo>
                  <a:cubicBezTo>
                    <a:pt x="680" y="1861"/>
                    <a:pt x="683" y="1852"/>
                    <a:pt x="687" y="1847"/>
                  </a:cubicBezTo>
                  <a:cubicBezTo>
                    <a:pt x="688" y="1846"/>
                    <a:pt x="688" y="1846"/>
                    <a:pt x="688" y="1846"/>
                  </a:cubicBezTo>
                  <a:cubicBezTo>
                    <a:pt x="688" y="1846"/>
                    <a:pt x="689" y="1845"/>
                    <a:pt x="689" y="1845"/>
                  </a:cubicBezTo>
                  <a:cubicBezTo>
                    <a:pt x="689" y="1845"/>
                    <a:pt x="689" y="1845"/>
                    <a:pt x="690" y="1844"/>
                  </a:cubicBezTo>
                  <a:cubicBezTo>
                    <a:pt x="690" y="1844"/>
                    <a:pt x="690" y="1844"/>
                    <a:pt x="690" y="1844"/>
                  </a:cubicBezTo>
                  <a:cubicBezTo>
                    <a:pt x="690" y="1844"/>
                    <a:pt x="691" y="1844"/>
                    <a:pt x="691" y="1843"/>
                  </a:cubicBezTo>
                  <a:cubicBezTo>
                    <a:pt x="695" y="1840"/>
                    <a:pt x="700" y="1838"/>
                    <a:pt x="706" y="1838"/>
                  </a:cubicBezTo>
                  <a:cubicBezTo>
                    <a:pt x="706" y="1837"/>
                    <a:pt x="706" y="1837"/>
                    <a:pt x="706" y="1837"/>
                  </a:cubicBezTo>
                  <a:cubicBezTo>
                    <a:pt x="709" y="1837"/>
                    <a:pt x="713" y="1836"/>
                    <a:pt x="716" y="1836"/>
                  </a:cubicBezTo>
                  <a:cubicBezTo>
                    <a:pt x="734" y="1836"/>
                    <a:pt x="734" y="1836"/>
                    <a:pt x="734" y="1836"/>
                  </a:cubicBezTo>
                  <a:cubicBezTo>
                    <a:pt x="740" y="1836"/>
                    <a:pt x="746" y="1836"/>
                    <a:pt x="751" y="1836"/>
                  </a:cubicBezTo>
                  <a:cubicBezTo>
                    <a:pt x="759" y="1836"/>
                    <a:pt x="771" y="1835"/>
                    <a:pt x="777" y="1841"/>
                  </a:cubicBezTo>
                  <a:cubicBezTo>
                    <a:pt x="778" y="1841"/>
                    <a:pt x="778" y="1842"/>
                    <a:pt x="778" y="1842"/>
                  </a:cubicBezTo>
                  <a:cubicBezTo>
                    <a:pt x="778" y="1842"/>
                    <a:pt x="779" y="1842"/>
                    <a:pt x="779" y="1842"/>
                  </a:cubicBezTo>
                  <a:cubicBezTo>
                    <a:pt x="779" y="1842"/>
                    <a:pt x="779" y="1843"/>
                    <a:pt x="779" y="1843"/>
                  </a:cubicBezTo>
                  <a:cubicBezTo>
                    <a:pt x="779" y="1843"/>
                    <a:pt x="779" y="1843"/>
                    <a:pt x="780" y="1844"/>
                  </a:cubicBezTo>
                  <a:cubicBezTo>
                    <a:pt x="780" y="1845"/>
                    <a:pt x="780" y="1846"/>
                    <a:pt x="780" y="1847"/>
                  </a:cubicBezTo>
                  <a:cubicBezTo>
                    <a:pt x="779" y="1854"/>
                    <a:pt x="774" y="1863"/>
                    <a:pt x="773" y="1867"/>
                  </a:cubicBezTo>
                  <a:cubicBezTo>
                    <a:pt x="773" y="1867"/>
                    <a:pt x="773" y="1867"/>
                    <a:pt x="773" y="1867"/>
                  </a:cubicBezTo>
                  <a:cubicBezTo>
                    <a:pt x="772" y="1869"/>
                    <a:pt x="772" y="1870"/>
                    <a:pt x="771" y="1871"/>
                  </a:cubicBezTo>
                  <a:cubicBezTo>
                    <a:pt x="771" y="1872"/>
                    <a:pt x="771" y="1872"/>
                    <a:pt x="771" y="1872"/>
                  </a:cubicBezTo>
                  <a:cubicBezTo>
                    <a:pt x="771" y="1873"/>
                    <a:pt x="771" y="1873"/>
                    <a:pt x="770" y="1873"/>
                  </a:cubicBezTo>
                  <a:cubicBezTo>
                    <a:pt x="770" y="1874"/>
                    <a:pt x="770" y="1874"/>
                    <a:pt x="770" y="1874"/>
                  </a:cubicBezTo>
                  <a:cubicBezTo>
                    <a:pt x="770" y="1875"/>
                    <a:pt x="769" y="1875"/>
                    <a:pt x="769" y="1876"/>
                  </a:cubicBezTo>
                  <a:cubicBezTo>
                    <a:pt x="769" y="1876"/>
                    <a:pt x="769" y="1876"/>
                    <a:pt x="768" y="1876"/>
                  </a:cubicBezTo>
                  <a:cubicBezTo>
                    <a:pt x="768" y="1876"/>
                    <a:pt x="768" y="1877"/>
                    <a:pt x="768" y="1877"/>
                  </a:cubicBezTo>
                  <a:cubicBezTo>
                    <a:pt x="768" y="1877"/>
                    <a:pt x="767" y="1877"/>
                    <a:pt x="767" y="1877"/>
                  </a:cubicBezTo>
                  <a:cubicBezTo>
                    <a:pt x="766" y="1878"/>
                    <a:pt x="765" y="1879"/>
                    <a:pt x="764" y="1880"/>
                  </a:cubicBezTo>
                  <a:cubicBezTo>
                    <a:pt x="763" y="1880"/>
                    <a:pt x="762" y="1881"/>
                    <a:pt x="761" y="1881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56" y="1883"/>
                    <a:pt x="752" y="1885"/>
                    <a:pt x="749" y="1885"/>
                  </a:cubicBezTo>
                  <a:cubicBezTo>
                    <a:pt x="748" y="1885"/>
                    <a:pt x="746" y="1885"/>
                    <a:pt x="745" y="1886"/>
                  </a:cubicBezTo>
                  <a:cubicBezTo>
                    <a:pt x="745" y="1886"/>
                    <a:pt x="745" y="1886"/>
                    <a:pt x="745" y="1886"/>
                  </a:cubicBezTo>
                  <a:cubicBezTo>
                    <a:pt x="738" y="1886"/>
                    <a:pt x="730" y="1886"/>
                    <a:pt x="723" y="1886"/>
                  </a:cubicBezTo>
                  <a:cubicBezTo>
                    <a:pt x="693" y="1886"/>
                    <a:pt x="693" y="1886"/>
                    <a:pt x="693" y="1886"/>
                  </a:cubicBezTo>
                  <a:cubicBezTo>
                    <a:pt x="687" y="1886"/>
                    <a:pt x="676" y="1885"/>
                    <a:pt x="674" y="1878"/>
                  </a:cubicBezTo>
                  <a:cubicBezTo>
                    <a:pt x="673" y="1877"/>
                    <a:pt x="673" y="1876"/>
                    <a:pt x="673" y="1876"/>
                  </a:cubicBezTo>
                  <a:cubicBezTo>
                    <a:pt x="673" y="1875"/>
                    <a:pt x="674" y="1875"/>
                    <a:pt x="674" y="1875"/>
                  </a:cubicBezTo>
                  <a:close/>
                  <a:moveTo>
                    <a:pt x="647" y="1928"/>
                  </a:moveTo>
                  <a:cubicBezTo>
                    <a:pt x="648" y="1927"/>
                    <a:pt x="648" y="1927"/>
                    <a:pt x="648" y="1927"/>
                  </a:cubicBezTo>
                  <a:cubicBezTo>
                    <a:pt x="648" y="1926"/>
                    <a:pt x="648" y="1926"/>
                    <a:pt x="648" y="1926"/>
                  </a:cubicBezTo>
                  <a:cubicBezTo>
                    <a:pt x="649" y="1925"/>
                    <a:pt x="649" y="1924"/>
                    <a:pt x="650" y="1924"/>
                  </a:cubicBezTo>
                  <a:cubicBezTo>
                    <a:pt x="650" y="1924"/>
                    <a:pt x="650" y="1924"/>
                    <a:pt x="650" y="1924"/>
                  </a:cubicBezTo>
                  <a:cubicBezTo>
                    <a:pt x="661" y="1909"/>
                    <a:pt x="687" y="1912"/>
                    <a:pt x="703" y="1912"/>
                  </a:cubicBezTo>
                  <a:cubicBezTo>
                    <a:pt x="703" y="1912"/>
                    <a:pt x="703" y="1912"/>
                    <a:pt x="703" y="1912"/>
                  </a:cubicBezTo>
                  <a:cubicBezTo>
                    <a:pt x="708" y="1912"/>
                    <a:pt x="720" y="1911"/>
                    <a:pt x="730" y="1912"/>
                  </a:cubicBezTo>
                  <a:cubicBezTo>
                    <a:pt x="734" y="1912"/>
                    <a:pt x="737" y="1912"/>
                    <a:pt x="740" y="1913"/>
                  </a:cubicBezTo>
                  <a:cubicBezTo>
                    <a:pt x="742" y="1913"/>
                    <a:pt x="744" y="1914"/>
                    <a:pt x="745" y="1915"/>
                  </a:cubicBezTo>
                  <a:cubicBezTo>
                    <a:pt x="749" y="1917"/>
                    <a:pt x="752" y="1919"/>
                    <a:pt x="752" y="1923"/>
                  </a:cubicBezTo>
                  <a:cubicBezTo>
                    <a:pt x="752" y="1923"/>
                    <a:pt x="752" y="1924"/>
                    <a:pt x="752" y="1924"/>
                  </a:cubicBezTo>
                  <a:cubicBezTo>
                    <a:pt x="752" y="1924"/>
                    <a:pt x="752" y="1924"/>
                    <a:pt x="752" y="1924"/>
                  </a:cubicBezTo>
                  <a:cubicBezTo>
                    <a:pt x="752" y="1925"/>
                    <a:pt x="751" y="1926"/>
                    <a:pt x="751" y="1927"/>
                  </a:cubicBezTo>
                  <a:cubicBezTo>
                    <a:pt x="741" y="1956"/>
                    <a:pt x="741" y="1956"/>
                    <a:pt x="741" y="1956"/>
                  </a:cubicBezTo>
                  <a:cubicBezTo>
                    <a:pt x="740" y="1958"/>
                    <a:pt x="738" y="1960"/>
                    <a:pt x="736" y="1962"/>
                  </a:cubicBezTo>
                  <a:cubicBezTo>
                    <a:pt x="734" y="1964"/>
                    <a:pt x="731" y="1966"/>
                    <a:pt x="728" y="1967"/>
                  </a:cubicBezTo>
                  <a:cubicBezTo>
                    <a:pt x="728" y="1968"/>
                    <a:pt x="727" y="1968"/>
                    <a:pt x="727" y="1968"/>
                  </a:cubicBezTo>
                  <a:cubicBezTo>
                    <a:pt x="723" y="1970"/>
                    <a:pt x="718" y="1971"/>
                    <a:pt x="713" y="1972"/>
                  </a:cubicBezTo>
                  <a:cubicBezTo>
                    <a:pt x="713" y="1972"/>
                    <a:pt x="713" y="1972"/>
                    <a:pt x="713" y="1972"/>
                  </a:cubicBezTo>
                  <a:cubicBezTo>
                    <a:pt x="712" y="1972"/>
                    <a:pt x="711" y="1972"/>
                    <a:pt x="710" y="1972"/>
                  </a:cubicBezTo>
                  <a:cubicBezTo>
                    <a:pt x="701" y="1973"/>
                    <a:pt x="692" y="1972"/>
                    <a:pt x="682" y="1972"/>
                  </a:cubicBezTo>
                  <a:cubicBezTo>
                    <a:pt x="673" y="1973"/>
                    <a:pt x="663" y="1973"/>
                    <a:pt x="654" y="1973"/>
                  </a:cubicBezTo>
                  <a:cubicBezTo>
                    <a:pt x="647" y="1973"/>
                    <a:pt x="638" y="1971"/>
                    <a:pt x="634" y="1966"/>
                  </a:cubicBezTo>
                  <a:cubicBezTo>
                    <a:pt x="634" y="1965"/>
                    <a:pt x="634" y="1965"/>
                    <a:pt x="633" y="1965"/>
                  </a:cubicBezTo>
                  <a:cubicBezTo>
                    <a:pt x="633" y="1964"/>
                    <a:pt x="633" y="1964"/>
                    <a:pt x="633" y="1964"/>
                  </a:cubicBezTo>
                  <a:cubicBezTo>
                    <a:pt x="633" y="1963"/>
                    <a:pt x="633" y="1963"/>
                    <a:pt x="632" y="1963"/>
                  </a:cubicBezTo>
                  <a:cubicBezTo>
                    <a:pt x="632" y="1963"/>
                    <a:pt x="632" y="1962"/>
                    <a:pt x="632" y="1962"/>
                  </a:cubicBezTo>
                  <a:cubicBezTo>
                    <a:pt x="632" y="1962"/>
                    <a:pt x="632" y="1962"/>
                    <a:pt x="632" y="1962"/>
                  </a:cubicBezTo>
                  <a:cubicBezTo>
                    <a:pt x="632" y="1962"/>
                    <a:pt x="632" y="1961"/>
                    <a:pt x="632" y="1960"/>
                  </a:cubicBezTo>
                  <a:cubicBezTo>
                    <a:pt x="632" y="1959"/>
                    <a:pt x="632" y="1959"/>
                    <a:pt x="633" y="1959"/>
                  </a:cubicBezTo>
                  <a:cubicBezTo>
                    <a:pt x="633" y="1958"/>
                    <a:pt x="633" y="1957"/>
                    <a:pt x="633" y="1956"/>
                  </a:cubicBezTo>
                  <a:cubicBezTo>
                    <a:pt x="633" y="1956"/>
                    <a:pt x="633" y="1956"/>
                    <a:pt x="633" y="1956"/>
                  </a:cubicBezTo>
                  <a:cubicBezTo>
                    <a:pt x="634" y="1955"/>
                    <a:pt x="634" y="1955"/>
                    <a:pt x="634" y="1955"/>
                  </a:cubicBezTo>
                  <a:cubicBezTo>
                    <a:pt x="634" y="1954"/>
                    <a:pt x="635" y="1953"/>
                    <a:pt x="635" y="1952"/>
                  </a:cubicBezTo>
                  <a:cubicBezTo>
                    <a:pt x="639" y="1944"/>
                    <a:pt x="643" y="1936"/>
                    <a:pt x="647" y="1928"/>
                  </a:cubicBezTo>
                  <a:cubicBezTo>
                    <a:pt x="647" y="1928"/>
                    <a:pt x="647" y="1928"/>
                    <a:pt x="647" y="1928"/>
                  </a:cubicBezTo>
                  <a:close/>
                  <a:moveTo>
                    <a:pt x="527" y="1875"/>
                  </a:moveTo>
                  <a:cubicBezTo>
                    <a:pt x="528" y="1873"/>
                    <a:pt x="531" y="1870"/>
                    <a:pt x="532" y="1868"/>
                  </a:cubicBezTo>
                  <a:cubicBezTo>
                    <a:pt x="536" y="1861"/>
                    <a:pt x="541" y="1854"/>
                    <a:pt x="546" y="1848"/>
                  </a:cubicBezTo>
                  <a:cubicBezTo>
                    <a:pt x="546" y="1847"/>
                    <a:pt x="546" y="1847"/>
                    <a:pt x="547" y="1847"/>
                  </a:cubicBezTo>
                  <a:cubicBezTo>
                    <a:pt x="547" y="1847"/>
                    <a:pt x="547" y="1847"/>
                    <a:pt x="547" y="1846"/>
                  </a:cubicBezTo>
                  <a:cubicBezTo>
                    <a:pt x="561" y="1833"/>
                    <a:pt x="590" y="1837"/>
                    <a:pt x="608" y="1837"/>
                  </a:cubicBezTo>
                  <a:cubicBezTo>
                    <a:pt x="616" y="1837"/>
                    <a:pt x="626" y="1835"/>
                    <a:pt x="634" y="1839"/>
                  </a:cubicBezTo>
                  <a:cubicBezTo>
                    <a:pt x="634" y="1839"/>
                    <a:pt x="634" y="1839"/>
                    <a:pt x="634" y="1839"/>
                  </a:cubicBezTo>
                  <a:cubicBezTo>
                    <a:pt x="634" y="1839"/>
                    <a:pt x="635" y="1839"/>
                    <a:pt x="636" y="1840"/>
                  </a:cubicBezTo>
                  <a:cubicBezTo>
                    <a:pt x="636" y="1840"/>
                    <a:pt x="636" y="1840"/>
                    <a:pt x="636" y="1840"/>
                  </a:cubicBezTo>
                  <a:cubicBezTo>
                    <a:pt x="638" y="1841"/>
                    <a:pt x="639" y="1843"/>
                    <a:pt x="639" y="1844"/>
                  </a:cubicBezTo>
                  <a:cubicBezTo>
                    <a:pt x="640" y="1845"/>
                    <a:pt x="640" y="1847"/>
                    <a:pt x="639" y="1849"/>
                  </a:cubicBezTo>
                  <a:cubicBezTo>
                    <a:pt x="638" y="1850"/>
                    <a:pt x="638" y="1850"/>
                    <a:pt x="638" y="1850"/>
                  </a:cubicBezTo>
                  <a:cubicBezTo>
                    <a:pt x="637" y="1854"/>
                    <a:pt x="633" y="1858"/>
                    <a:pt x="631" y="1862"/>
                  </a:cubicBezTo>
                  <a:cubicBezTo>
                    <a:pt x="631" y="1862"/>
                    <a:pt x="631" y="1862"/>
                    <a:pt x="631" y="1862"/>
                  </a:cubicBezTo>
                  <a:cubicBezTo>
                    <a:pt x="625" y="1873"/>
                    <a:pt x="625" y="1873"/>
                    <a:pt x="625" y="1873"/>
                  </a:cubicBezTo>
                  <a:cubicBezTo>
                    <a:pt x="624" y="1874"/>
                    <a:pt x="623" y="1876"/>
                    <a:pt x="621" y="1878"/>
                  </a:cubicBezTo>
                  <a:cubicBezTo>
                    <a:pt x="618" y="1879"/>
                    <a:pt x="616" y="1881"/>
                    <a:pt x="613" y="1882"/>
                  </a:cubicBezTo>
                  <a:cubicBezTo>
                    <a:pt x="612" y="1882"/>
                    <a:pt x="611" y="1883"/>
                    <a:pt x="610" y="1883"/>
                  </a:cubicBezTo>
                  <a:cubicBezTo>
                    <a:pt x="610" y="1883"/>
                    <a:pt x="609" y="1883"/>
                    <a:pt x="609" y="1884"/>
                  </a:cubicBezTo>
                  <a:cubicBezTo>
                    <a:pt x="609" y="1884"/>
                    <a:pt x="609" y="1884"/>
                    <a:pt x="609" y="1884"/>
                  </a:cubicBezTo>
                  <a:cubicBezTo>
                    <a:pt x="607" y="1884"/>
                    <a:pt x="605" y="1885"/>
                    <a:pt x="603" y="1885"/>
                  </a:cubicBezTo>
                  <a:cubicBezTo>
                    <a:pt x="599" y="1886"/>
                    <a:pt x="596" y="1886"/>
                    <a:pt x="59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70" y="1886"/>
                    <a:pt x="557" y="1886"/>
                    <a:pt x="545" y="1886"/>
                  </a:cubicBezTo>
                  <a:cubicBezTo>
                    <a:pt x="540" y="1886"/>
                    <a:pt x="528" y="1885"/>
                    <a:pt x="527" y="1878"/>
                  </a:cubicBezTo>
                  <a:cubicBezTo>
                    <a:pt x="527" y="1877"/>
                    <a:pt x="527" y="1876"/>
                    <a:pt x="527" y="1875"/>
                  </a:cubicBezTo>
                  <a:close/>
                  <a:moveTo>
                    <a:pt x="545" y="2017"/>
                  </a:moveTo>
                  <a:cubicBezTo>
                    <a:pt x="545" y="2017"/>
                    <a:pt x="545" y="2017"/>
                    <a:pt x="545" y="2017"/>
                  </a:cubicBezTo>
                  <a:cubicBezTo>
                    <a:pt x="543" y="2024"/>
                    <a:pt x="538" y="2031"/>
                    <a:pt x="534" y="2038"/>
                  </a:cubicBezTo>
                  <a:cubicBezTo>
                    <a:pt x="534" y="2038"/>
                    <a:pt x="534" y="2038"/>
                    <a:pt x="534" y="2038"/>
                  </a:cubicBezTo>
                  <a:cubicBezTo>
                    <a:pt x="530" y="2045"/>
                    <a:pt x="527" y="2053"/>
                    <a:pt x="521" y="2060"/>
                  </a:cubicBezTo>
                  <a:cubicBezTo>
                    <a:pt x="521" y="2061"/>
                    <a:pt x="520" y="2061"/>
                    <a:pt x="520" y="2062"/>
                  </a:cubicBezTo>
                  <a:cubicBezTo>
                    <a:pt x="520" y="2062"/>
                    <a:pt x="520" y="2062"/>
                    <a:pt x="520" y="2062"/>
                  </a:cubicBezTo>
                  <a:cubicBezTo>
                    <a:pt x="519" y="2063"/>
                    <a:pt x="518" y="2064"/>
                    <a:pt x="517" y="2064"/>
                  </a:cubicBezTo>
                  <a:cubicBezTo>
                    <a:pt x="517" y="2065"/>
                    <a:pt x="517" y="2065"/>
                    <a:pt x="516" y="2065"/>
                  </a:cubicBezTo>
                  <a:cubicBezTo>
                    <a:pt x="516" y="2065"/>
                    <a:pt x="516" y="2066"/>
                    <a:pt x="516" y="2066"/>
                  </a:cubicBezTo>
                  <a:cubicBezTo>
                    <a:pt x="510" y="2071"/>
                    <a:pt x="503" y="2074"/>
                    <a:pt x="496" y="2076"/>
                  </a:cubicBezTo>
                  <a:cubicBezTo>
                    <a:pt x="495" y="2076"/>
                    <a:pt x="494" y="2076"/>
                    <a:pt x="493" y="2077"/>
                  </a:cubicBezTo>
                  <a:cubicBezTo>
                    <a:pt x="489" y="2078"/>
                    <a:pt x="484" y="2078"/>
                    <a:pt x="480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58" y="2078"/>
                    <a:pt x="439" y="2078"/>
                    <a:pt x="421" y="2079"/>
                  </a:cubicBezTo>
                  <a:cubicBezTo>
                    <a:pt x="419" y="2079"/>
                    <a:pt x="418" y="2078"/>
                    <a:pt x="416" y="2078"/>
                  </a:cubicBezTo>
                  <a:cubicBezTo>
                    <a:pt x="414" y="2078"/>
                    <a:pt x="412" y="2078"/>
                    <a:pt x="410" y="2077"/>
                  </a:cubicBezTo>
                  <a:cubicBezTo>
                    <a:pt x="406" y="2076"/>
                    <a:pt x="404" y="2074"/>
                    <a:pt x="402" y="2072"/>
                  </a:cubicBezTo>
                  <a:cubicBezTo>
                    <a:pt x="401" y="2070"/>
                    <a:pt x="400" y="2068"/>
                    <a:pt x="400" y="2066"/>
                  </a:cubicBezTo>
                  <a:cubicBezTo>
                    <a:pt x="400" y="2064"/>
                    <a:pt x="401" y="2062"/>
                    <a:pt x="402" y="2060"/>
                  </a:cubicBezTo>
                  <a:cubicBezTo>
                    <a:pt x="402" y="2059"/>
                    <a:pt x="402" y="2059"/>
                    <a:pt x="403" y="2059"/>
                  </a:cubicBezTo>
                  <a:cubicBezTo>
                    <a:pt x="403" y="2058"/>
                    <a:pt x="403" y="2058"/>
                    <a:pt x="403" y="2058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9" y="2050"/>
                    <a:pt x="413" y="2043"/>
                    <a:pt x="418" y="2035"/>
                  </a:cubicBezTo>
                  <a:cubicBezTo>
                    <a:pt x="422" y="2030"/>
                    <a:pt x="425" y="2024"/>
                    <a:pt x="430" y="2019"/>
                  </a:cubicBezTo>
                  <a:cubicBezTo>
                    <a:pt x="430" y="2018"/>
                    <a:pt x="431" y="2018"/>
                    <a:pt x="431" y="2017"/>
                  </a:cubicBezTo>
                  <a:cubicBezTo>
                    <a:pt x="431" y="2017"/>
                    <a:pt x="432" y="2017"/>
                    <a:pt x="432" y="2017"/>
                  </a:cubicBezTo>
                  <a:cubicBezTo>
                    <a:pt x="433" y="2016"/>
                    <a:pt x="434" y="2015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41" y="2009"/>
                    <a:pt x="449" y="2006"/>
                    <a:pt x="457" y="2004"/>
                  </a:cubicBezTo>
                  <a:cubicBezTo>
                    <a:pt x="457" y="2004"/>
                    <a:pt x="457" y="2004"/>
                    <a:pt x="457" y="2004"/>
                  </a:cubicBezTo>
                  <a:cubicBezTo>
                    <a:pt x="457" y="2004"/>
                    <a:pt x="458" y="2004"/>
                    <a:pt x="458" y="2004"/>
                  </a:cubicBezTo>
                  <a:cubicBezTo>
                    <a:pt x="459" y="2004"/>
                    <a:pt x="461" y="2004"/>
                    <a:pt x="462" y="2004"/>
                  </a:cubicBezTo>
                  <a:cubicBezTo>
                    <a:pt x="463" y="2003"/>
                    <a:pt x="464" y="2003"/>
                    <a:pt x="465" y="2003"/>
                  </a:cubicBezTo>
                  <a:cubicBezTo>
                    <a:pt x="466" y="2003"/>
                    <a:pt x="467" y="2003"/>
                    <a:pt x="468" y="2003"/>
                  </a:cubicBezTo>
                  <a:cubicBezTo>
                    <a:pt x="468" y="2003"/>
                    <a:pt x="469" y="2003"/>
                    <a:pt x="470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88" y="2003"/>
                    <a:pt x="504" y="2003"/>
                    <a:pt x="521" y="2003"/>
                  </a:cubicBezTo>
                  <a:cubicBezTo>
                    <a:pt x="521" y="2003"/>
                    <a:pt x="521" y="2003"/>
                    <a:pt x="521" y="2003"/>
                  </a:cubicBezTo>
                  <a:cubicBezTo>
                    <a:pt x="524" y="2003"/>
                    <a:pt x="524" y="2003"/>
                    <a:pt x="524" y="2003"/>
                  </a:cubicBezTo>
                  <a:cubicBezTo>
                    <a:pt x="528" y="2003"/>
                    <a:pt x="532" y="2003"/>
                    <a:pt x="535" y="2004"/>
                  </a:cubicBezTo>
                  <a:cubicBezTo>
                    <a:pt x="536" y="2004"/>
                    <a:pt x="536" y="2005"/>
                    <a:pt x="537" y="2005"/>
                  </a:cubicBezTo>
                  <a:cubicBezTo>
                    <a:pt x="537" y="2005"/>
                    <a:pt x="538" y="2005"/>
                    <a:pt x="538" y="2006"/>
                  </a:cubicBezTo>
                  <a:cubicBezTo>
                    <a:pt x="538" y="2006"/>
                    <a:pt x="539" y="2006"/>
                    <a:pt x="539" y="2006"/>
                  </a:cubicBezTo>
                  <a:cubicBezTo>
                    <a:pt x="543" y="2008"/>
                    <a:pt x="546" y="2012"/>
                    <a:pt x="545" y="2017"/>
                  </a:cubicBezTo>
                  <a:close/>
                  <a:moveTo>
                    <a:pt x="579" y="1956"/>
                  </a:move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8" y="1957"/>
                    <a:pt x="578" y="1958"/>
                    <a:pt x="577" y="1959"/>
                  </a:cubicBezTo>
                  <a:cubicBezTo>
                    <a:pt x="577" y="1959"/>
                    <a:pt x="577" y="1960"/>
                    <a:pt x="577" y="1960"/>
                  </a:cubicBezTo>
                  <a:cubicBezTo>
                    <a:pt x="572" y="1964"/>
                    <a:pt x="566" y="1968"/>
                    <a:pt x="560" y="1970"/>
                  </a:cubicBezTo>
                  <a:cubicBezTo>
                    <a:pt x="560" y="1970"/>
                    <a:pt x="560" y="1970"/>
                    <a:pt x="560" y="1970"/>
                  </a:cubicBezTo>
                  <a:cubicBezTo>
                    <a:pt x="559" y="1970"/>
                    <a:pt x="558" y="1970"/>
                    <a:pt x="557" y="1971"/>
                  </a:cubicBezTo>
                  <a:cubicBezTo>
                    <a:pt x="556" y="1971"/>
                    <a:pt x="556" y="1971"/>
                    <a:pt x="555" y="1971"/>
                  </a:cubicBezTo>
                  <a:cubicBezTo>
                    <a:pt x="554" y="1971"/>
                    <a:pt x="554" y="1971"/>
                    <a:pt x="553" y="1971"/>
                  </a:cubicBezTo>
                  <a:cubicBezTo>
                    <a:pt x="550" y="1972"/>
                    <a:pt x="546" y="1973"/>
                    <a:pt x="542" y="1973"/>
                  </a:cubicBezTo>
                  <a:cubicBezTo>
                    <a:pt x="541" y="1973"/>
                    <a:pt x="541" y="1973"/>
                    <a:pt x="541" y="1973"/>
                  </a:cubicBezTo>
                  <a:cubicBezTo>
                    <a:pt x="534" y="1973"/>
                    <a:pt x="527" y="1973"/>
                    <a:pt x="520" y="1973"/>
                  </a:cubicBezTo>
                  <a:cubicBezTo>
                    <a:pt x="510" y="1973"/>
                    <a:pt x="499" y="1973"/>
                    <a:pt x="489" y="1973"/>
                  </a:cubicBezTo>
                  <a:cubicBezTo>
                    <a:pt x="488" y="1973"/>
                    <a:pt x="486" y="1973"/>
                    <a:pt x="484" y="1973"/>
                  </a:cubicBezTo>
                  <a:cubicBezTo>
                    <a:pt x="484" y="1973"/>
                    <a:pt x="484" y="1973"/>
                    <a:pt x="483" y="1973"/>
                  </a:cubicBezTo>
                  <a:cubicBezTo>
                    <a:pt x="482" y="1972"/>
                    <a:pt x="480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4" y="1970"/>
                    <a:pt x="470" y="1968"/>
                    <a:pt x="470" y="1963"/>
                  </a:cubicBezTo>
                  <a:cubicBezTo>
                    <a:pt x="470" y="1962"/>
                    <a:pt x="470" y="1961"/>
                    <a:pt x="470" y="1960"/>
                  </a:cubicBezTo>
                  <a:cubicBezTo>
                    <a:pt x="470" y="1960"/>
                    <a:pt x="470" y="1959"/>
                    <a:pt x="471" y="1959"/>
                  </a:cubicBezTo>
                  <a:cubicBezTo>
                    <a:pt x="471" y="1958"/>
                    <a:pt x="471" y="1957"/>
                    <a:pt x="472" y="1957"/>
                  </a:cubicBezTo>
                  <a:cubicBezTo>
                    <a:pt x="472" y="1957"/>
                    <a:pt x="472" y="1956"/>
                    <a:pt x="472" y="1956"/>
                  </a:cubicBezTo>
                  <a:cubicBezTo>
                    <a:pt x="472" y="1956"/>
                    <a:pt x="472" y="1956"/>
                    <a:pt x="472" y="1956"/>
                  </a:cubicBezTo>
                  <a:cubicBezTo>
                    <a:pt x="473" y="1955"/>
                    <a:pt x="474" y="1954"/>
                    <a:pt x="474" y="1953"/>
                  </a:cubicBezTo>
                  <a:cubicBezTo>
                    <a:pt x="479" y="1945"/>
                    <a:pt x="485" y="1938"/>
                    <a:pt x="490" y="1930"/>
                  </a:cubicBezTo>
                  <a:cubicBezTo>
                    <a:pt x="490" y="1930"/>
                    <a:pt x="490" y="1930"/>
                    <a:pt x="490" y="1930"/>
                  </a:cubicBezTo>
                  <a:cubicBezTo>
                    <a:pt x="492" y="1927"/>
                    <a:pt x="492" y="1927"/>
                    <a:pt x="492" y="1927"/>
                  </a:cubicBezTo>
                  <a:cubicBezTo>
                    <a:pt x="493" y="1925"/>
                    <a:pt x="495" y="1923"/>
                    <a:pt x="498" y="1921"/>
                  </a:cubicBezTo>
                  <a:cubicBezTo>
                    <a:pt x="499" y="1920"/>
                    <a:pt x="501" y="1919"/>
                    <a:pt x="503" y="1918"/>
                  </a:cubicBezTo>
                  <a:cubicBezTo>
                    <a:pt x="504" y="1918"/>
                    <a:pt x="505" y="1917"/>
                    <a:pt x="506" y="1917"/>
                  </a:cubicBezTo>
                  <a:cubicBezTo>
                    <a:pt x="506" y="1917"/>
                    <a:pt x="506" y="1917"/>
                    <a:pt x="507" y="1917"/>
                  </a:cubicBezTo>
                  <a:cubicBezTo>
                    <a:pt x="507" y="1917"/>
                    <a:pt x="507" y="1916"/>
                    <a:pt x="507" y="1916"/>
                  </a:cubicBezTo>
                  <a:cubicBezTo>
                    <a:pt x="508" y="1916"/>
                    <a:pt x="508" y="1916"/>
                    <a:pt x="508" y="1916"/>
                  </a:cubicBezTo>
                  <a:cubicBezTo>
                    <a:pt x="511" y="1915"/>
                    <a:pt x="514" y="1914"/>
                    <a:pt x="517" y="1913"/>
                  </a:cubicBezTo>
                  <a:cubicBezTo>
                    <a:pt x="521" y="1913"/>
                    <a:pt x="525" y="1912"/>
                    <a:pt x="528" y="1912"/>
                  </a:cubicBezTo>
                  <a:cubicBezTo>
                    <a:pt x="538" y="1912"/>
                    <a:pt x="538" y="1912"/>
                    <a:pt x="538" y="1912"/>
                  </a:cubicBezTo>
                  <a:cubicBezTo>
                    <a:pt x="541" y="1912"/>
                    <a:pt x="543" y="1912"/>
                    <a:pt x="545" y="1912"/>
                  </a:cubicBezTo>
                  <a:cubicBezTo>
                    <a:pt x="555" y="1912"/>
                    <a:pt x="564" y="1912"/>
                    <a:pt x="573" y="1912"/>
                  </a:cubicBezTo>
                  <a:cubicBezTo>
                    <a:pt x="573" y="1912"/>
                    <a:pt x="573" y="1912"/>
                    <a:pt x="573" y="1912"/>
                  </a:cubicBezTo>
                  <a:cubicBezTo>
                    <a:pt x="577" y="1912"/>
                    <a:pt x="577" y="1912"/>
                    <a:pt x="577" y="1912"/>
                  </a:cubicBezTo>
                  <a:cubicBezTo>
                    <a:pt x="581" y="1912"/>
                    <a:pt x="584" y="1913"/>
                    <a:pt x="587" y="1913"/>
                  </a:cubicBezTo>
                  <a:cubicBezTo>
                    <a:pt x="589" y="1914"/>
                    <a:pt x="590" y="1915"/>
                    <a:pt x="592" y="1915"/>
                  </a:cubicBezTo>
                  <a:cubicBezTo>
                    <a:pt x="596" y="1918"/>
                    <a:pt x="599" y="1921"/>
                    <a:pt x="595" y="1927"/>
                  </a:cubicBezTo>
                  <a:cubicBezTo>
                    <a:pt x="592" y="1934"/>
                    <a:pt x="588" y="1941"/>
                    <a:pt x="584" y="1948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lose/>
                  <a:moveTo>
                    <a:pt x="1064" y="2056"/>
                  </a:moveTo>
                  <a:cubicBezTo>
                    <a:pt x="1064" y="2057"/>
                    <a:pt x="1064" y="2059"/>
                    <a:pt x="1064" y="2060"/>
                  </a:cubicBezTo>
                  <a:cubicBezTo>
                    <a:pt x="1064" y="2060"/>
                    <a:pt x="1064" y="2060"/>
                    <a:pt x="1064" y="2061"/>
                  </a:cubicBezTo>
                  <a:cubicBezTo>
                    <a:pt x="1063" y="2062"/>
                    <a:pt x="1063" y="2063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1" y="2065"/>
                    <a:pt x="1060" y="2066"/>
                    <a:pt x="1059" y="2067"/>
                  </a:cubicBezTo>
                  <a:cubicBezTo>
                    <a:pt x="1059" y="2067"/>
                    <a:pt x="1059" y="2067"/>
                    <a:pt x="1059" y="2068"/>
                  </a:cubicBezTo>
                  <a:cubicBezTo>
                    <a:pt x="1058" y="2069"/>
                    <a:pt x="1057" y="2069"/>
                    <a:pt x="1056" y="2070"/>
                  </a:cubicBezTo>
                  <a:cubicBezTo>
                    <a:pt x="1056" y="2070"/>
                    <a:pt x="1055" y="2071"/>
                    <a:pt x="1055" y="2071"/>
                  </a:cubicBezTo>
                  <a:cubicBezTo>
                    <a:pt x="1055" y="2071"/>
                    <a:pt x="1055" y="2071"/>
                    <a:pt x="1055" y="2071"/>
                  </a:cubicBezTo>
                  <a:cubicBezTo>
                    <a:pt x="1053" y="2072"/>
                    <a:pt x="1052" y="2072"/>
                    <a:pt x="1051" y="2073"/>
                  </a:cubicBezTo>
                  <a:cubicBezTo>
                    <a:pt x="1051" y="2073"/>
                    <a:pt x="1051" y="2073"/>
                    <a:pt x="1050" y="2073"/>
                  </a:cubicBezTo>
                  <a:cubicBezTo>
                    <a:pt x="1049" y="2074"/>
                    <a:pt x="1048" y="2074"/>
                    <a:pt x="1047" y="2074"/>
                  </a:cubicBezTo>
                  <a:cubicBezTo>
                    <a:pt x="1047" y="2075"/>
                    <a:pt x="1046" y="2075"/>
                    <a:pt x="1046" y="2075"/>
                  </a:cubicBezTo>
                  <a:cubicBezTo>
                    <a:pt x="1046" y="2075"/>
                    <a:pt x="1045" y="2075"/>
                    <a:pt x="1045" y="2075"/>
                  </a:cubicBezTo>
                  <a:cubicBezTo>
                    <a:pt x="1045" y="2075"/>
                    <a:pt x="1045" y="2075"/>
                    <a:pt x="1044" y="2075"/>
                  </a:cubicBezTo>
                  <a:cubicBezTo>
                    <a:pt x="1043" y="2076"/>
                    <a:pt x="1042" y="2076"/>
                    <a:pt x="1041" y="2076"/>
                  </a:cubicBezTo>
                  <a:cubicBezTo>
                    <a:pt x="1039" y="2076"/>
                    <a:pt x="1038" y="2076"/>
                    <a:pt x="1037" y="2077"/>
                  </a:cubicBezTo>
                  <a:cubicBezTo>
                    <a:pt x="1036" y="2077"/>
                    <a:pt x="1035" y="2077"/>
                    <a:pt x="1034" y="2077"/>
                  </a:cubicBezTo>
                  <a:cubicBezTo>
                    <a:pt x="1033" y="2077"/>
                    <a:pt x="1033" y="2077"/>
                    <a:pt x="1033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25" y="2077"/>
                    <a:pt x="1018" y="2077"/>
                    <a:pt x="1011" y="2077"/>
                  </a:cubicBezTo>
                  <a:cubicBezTo>
                    <a:pt x="981" y="2077"/>
                    <a:pt x="630" y="2078"/>
                    <a:pt x="605" y="2078"/>
                  </a:cubicBezTo>
                  <a:cubicBezTo>
                    <a:pt x="604" y="2078"/>
                    <a:pt x="602" y="2078"/>
                    <a:pt x="600" y="2078"/>
                  </a:cubicBezTo>
                  <a:cubicBezTo>
                    <a:pt x="598" y="2077"/>
                    <a:pt x="596" y="2077"/>
                    <a:pt x="594" y="2076"/>
                  </a:cubicBezTo>
                  <a:cubicBezTo>
                    <a:pt x="590" y="2075"/>
                    <a:pt x="588" y="2074"/>
                    <a:pt x="586" y="2072"/>
                  </a:cubicBezTo>
                  <a:cubicBezTo>
                    <a:pt x="584" y="2070"/>
                    <a:pt x="583" y="2068"/>
                    <a:pt x="582" y="2065"/>
                  </a:cubicBezTo>
                  <a:cubicBezTo>
                    <a:pt x="582" y="2063"/>
                    <a:pt x="582" y="2060"/>
                    <a:pt x="584" y="2057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8" y="2048"/>
                    <a:pt x="592" y="2040"/>
                    <a:pt x="596" y="2031"/>
                  </a:cubicBezTo>
                  <a:cubicBezTo>
                    <a:pt x="597" y="2030"/>
                    <a:pt x="598" y="2029"/>
                    <a:pt x="598" y="2027"/>
                  </a:cubicBezTo>
                  <a:cubicBezTo>
                    <a:pt x="601" y="2021"/>
                    <a:pt x="601" y="2021"/>
                    <a:pt x="601" y="2021"/>
                  </a:cubicBezTo>
                  <a:cubicBezTo>
                    <a:pt x="603" y="2018"/>
                    <a:pt x="605" y="2016"/>
                    <a:pt x="607" y="2014"/>
                  </a:cubicBezTo>
                  <a:cubicBezTo>
                    <a:pt x="608" y="2013"/>
                    <a:pt x="609" y="2013"/>
                    <a:pt x="609" y="2012"/>
                  </a:cubicBezTo>
                  <a:cubicBezTo>
                    <a:pt x="610" y="2012"/>
                    <a:pt x="610" y="2012"/>
                    <a:pt x="610" y="2011"/>
                  </a:cubicBezTo>
                  <a:cubicBezTo>
                    <a:pt x="611" y="2011"/>
                    <a:pt x="612" y="2011"/>
                    <a:pt x="612" y="2010"/>
                  </a:cubicBezTo>
                  <a:cubicBezTo>
                    <a:pt x="612" y="2010"/>
                    <a:pt x="612" y="2010"/>
                    <a:pt x="613" y="2010"/>
                  </a:cubicBezTo>
                  <a:cubicBezTo>
                    <a:pt x="613" y="2010"/>
                    <a:pt x="613" y="2010"/>
                    <a:pt x="614" y="2009"/>
                  </a:cubicBezTo>
                  <a:cubicBezTo>
                    <a:pt x="615" y="2009"/>
                    <a:pt x="616" y="2008"/>
                    <a:pt x="617" y="2008"/>
                  </a:cubicBezTo>
                  <a:cubicBezTo>
                    <a:pt x="617" y="2008"/>
                    <a:pt x="618" y="2007"/>
                    <a:pt x="618" y="2007"/>
                  </a:cubicBezTo>
                  <a:cubicBezTo>
                    <a:pt x="619" y="2007"/>
                    <a:pt x="620" y="2007"/>
                    <a:pt x="621" y="2006"/>
                  </a:cubicBezTo>
                  <a:cubicBezTo>
                    <a:pt x="622" y="2006"/>
                    <a:pt x="623" y="2005"/>
                    <a:pt x="625" y="2005"/>
                  </a:cubicBezTo>
                  <a:cubicBezTo>
                    <a:pt x="625" y="2005"/>
                    <a:pt x="626" y="2004"/>
                    <a:pt x="627" y="2004"/>
                  </a:cubicBezTo>
                  <a:cubicBezTo>
                    <a:pt x="627" y="2004"/>
                    <a:pt x="628" y="2004"/>
                    <a:pt x="628" y="2004"/>
                  </a:cubicBezTo>
                  <a:cubicBezTo>
                    <a:pt x="632" y="2003"/>
                    <a:pt x="636" y="2002"/>
                    <a:pt x="640" y="2002"/>
                  </a:cubicBezTo>
                  <a:cubicBezTo>
                    <a:pt x="640" y="2002"/>
                    <a:pt x="1008" y="2001"/>
                    <a:pt x="1021" y="2001"/>
                  </a:cubicBezTo>
                  <a:cubicBezTo>
                    <a:pt x="1026" y="2001"/>
                    <a:pt x="1030" y="2001"/>
                    <a:pt x="1034" y="2001"/>
                  </a:cubicBezTo>
                  <a:cubicBezTo>
                    <a:pt x="1036" y="2001"/>
                    <a:pt x="1038" y="2002"/>
                    <a:pt x="1040" y="2002"/>
                  </a:cubicBezTo>
                  <a:cubicBezTo>
                    <a:pt x="1040" y="2002"/>
                    <a:pt x="1040" y="2002"/>
                    <a:pt x="1041" y="2002"/>
                  </a:cubicBezTo>
                  <a:cubicBezTo>
                    <a:pt x="1042" y="2002"/>
                    <a:pt x="1044" y="2002"/>
                    <a:pt x="1045" y="2003"/>
                  </a:cubicBezTo>
                  <a:cubicBezTo>
                    <a:pt x="1045" y="2003"/>
                    <a:pt x="1046" y="2003"/>
                    <a:pt x="1046" y="2003"/>
                  </a:cubicBezTo>
                  <a:cubicBezTo>
                    <a:pt x="1046" y="2003"/>
                    <a:pt x="1046" y="2003"/>
                    <a:pt x="1046" y="2003"/>
                  </a:cubicBezTo>
                  <a:cubicBezTo>
                    <a:pt x="1048" y="2003"/>
                    <a:pt x="1049" y="2004"/>
                    <a:pt x="1050" y="2004"/>
                  </a:cubicBezTo>
                  <a:cubicBezTo>
                    <a:pt x="1050" y="2004"/>
                    <a:pt x="1051" y="2005"/>
                    <a:pt x="1051" y="2005"/>
                  </a:cubicBezTo>
                  <a:cubicBezTo>
                    <a:pt x="1052" y="2005"/>
                    <a:pt x="1053" y="2006"/>
                    <a:pt x="1054" y="2006"/>
                  </a:cubicBezTo>
                  <a:cubicBezTo>
                    <a:pt x="1055" y="2006"/>
                    <a:pt x="1055" y="2007"/>
                    <a:pt x="1055" y="2007"/>
                  </a:cubicBezTo>
                  <a:cubicBezTo>
                    <a:pt x="1055" y="2007"/>
                    <a:pt x="1055" y="2007"/>
                    <a:pt x="1056" y="2007"/>
                  </a:cubicBezTo>
                  <a:cubicBezTo>
                    <a:pt x="1056" y="2008"/>
                    <a:pt x="1057" y="2008"/>
                    <a:pt x="1058" y="2009"/>
                  </a:cubicBezTo>
                  <a:cubicBezTo>
                    <a:pt x="1059" y="2010"/>
                    <a:pt x="1061" y="2011"/>
                    <a:pt x="1061" y="2013"/>
                  </a:cubicBezTo>
                  <a:cubicBezTo>
                    <a:pt x="1063" y="2015"/>
                    <a:pt x="1064" y="2017"/>
                    <a:pt x="1064" y="2020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31"/>
                    <a:pt x="1064" y="2040"/>
                    <a:pt x="1064" y="2049"/>
                  </a:cubicBezTo>
                  <a:cubicBezTo>
                    <a:pt x="1064" y="2051"/>
                    <a:pt x="1064" y="2054"/>
                    <a:pt x="1064" y="2056"/>
                  </a:cubicBezTo>
                  <a:close/>
                  <a:moveTo>
                    <a:pt x="1114" y="1878"/>
                  </a:moveTo>
                  <a:cubicBezTo>
                    <a:pt x="1114" y="1878"/>
                    <a:pt x="1114" y="1877"/>
                    <a:pt x="1113" y="1877"/>
                  </a:cubicBezTo>
                  <a:cubicBezTo>
                    <a:pt x="1113" y="1877"/>
                    <a:pt x="1113" y="1877"/>
                    <a:pt x="1113" y="1877"/>
                  </a:cubicBezTo>
                  <a:cubicBezTo>
                    <a:pt x="1112" y="1875"/>
                    <a:pt x="1111" y="1873"/>
                    <a:pt x="1111" y="1871"/>
                  </a:cubicBezTo>
                  <a:cubicBezTo>
                    <a:pt x="1111" y="1870"/>
                    <a:pt x="1111" y="1870"/>
                    <a:pt x="1111" y="1870"/>
                  </a:cubicBezTo>
                  <a:cubicBezTo>
                    <a:pt x="1110" y="1868"/>
                    <a:pt x="1110" y="1867"/>
                    <a:pt x="1110" y="1866"/>
                  </a:cubicBezTo>
                  <a:cubicBezTo>
                    <a:pt x="1110" y="1866"/>
                    <a:pt x="1110" y="1866"/>
                    <a:pt x="1110" y="1866"/>
                  </a:cubicBezTo>
                  <a:cubicBezTo>
                    <a:pt x="1110" y="1861"/>
                    <a:pt x="1109" y="1855"/>
                    <a:pt x="1109" y="1849"/>
                  </a:cubicBezTo>
                  <a:cubicBezTo>
                    <a:pt x="1109" y="1848"/>
                    <a:pt x="1109" y="1848"/>
                    <a:pt x="1109" y="1848"/>
                  </a:cubicBezTo>
                  <a:cubicBezTo>
                    <a:pt x="1109" y="1846"/>
                    <a:pt x="1109" y="1844"/>
                    <a:pt x="1110" y="1843"/>
                  </a:cubicBezTo>
                  <a:cubicBezTo>
                    <a:pt x="1112" y="1841"/>
                    <a:pt x="1113" y="1840"/>
                    <a:pt x="1115" y="1839"/>
                  </a:cubicBezTo>
                  <a:cubicBezTo>
                    <a:pt x="1118" y="1838"/>
                    <a:pt x="1120" y="1837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4" y="1836"/>
                    <a:pt x="1125" y="1836"/>
                    <a:pt x="1126" y="1836"/>
                  </a:cubicBezTo>
                  <a:cubicBezTo>
                    <a:pt x="1127" y="1836"/>
                    <a:pt x="1127" y="1836"/>
                    <a:pt x="1128" y="1836"/>
                  </a:cubicBezTo>
                  <a:cubicBezTo>
                    <a:pt x="1133" y="1835"/>
                    <a:pt x="1138" y="1835"/>
                    <a:pt x="1143" y="1835"/>
                  </a:cubicBezTo>
                  <a:cubicBezTo>
                    <a:pt x="1176" y="1835"/>
                    <a:pt x="1176" y="1835"/>
                    <a:pt x="1176" y="1835"/>
                  </a:cubicBezTo>
                  <a:cubicBezTo>
                    <a:pt x="1178" y="1835"/>
                    <a:pt x="1180" y="1835"/>
                    <a:pt x="1182" y="1836"/>
                  </a:cubicBezTo>
                  <a:cubicBezTo>
                    <a:pt x="1191" y="1837"/>
                    <a:pt x="1201" y="1839"/>
                    <a:pt x="1203" y="1848"/>
                  </a:cubicBezTo>
                  <a:cubicBezTo>
                    <a:pt x="1205" y="1855"/>
                    <a:pt x="1206" y="1863"/>
                    <a:pt x="1207" y="1870"/>
                  </a:cubicBezTo>
                  <a:cubicBezTo>
                    <a:pt x="1207" y="1871"/>
                    <a:pt x="1207" y="1871"/>
                    <a:pt x="1207" y="1871"/>
                  </a:cubicBezTo>
                  <a:cubicBezTo>
                    <a:pt x="1208" y="1873"/>
                    <a:pt x="1207" y="1874"/>
                    <a:pt x="1207" y="1876"/>
                  </a:cubicBezTo>
                  <a:cubicBezTo>
                    <a:pt x="1207" y="1876"/>
                    <a:pt x="1207" y="1876"/>
                    <a:pt x="1206" y="1876"/>
                  </a:cubicBezTo>
                  <a:cubicBezTo>
                    <a:pt x="1206" y="1876"/>
                    <a:pt x="1206" y="1876"/>
                    <a:pt x="1206" y="1876"/>
                  </a:cubicBezTo>
                  <a:cubicBezTo>
                    <a:pt x="1206" y="1877"/>
                    <a:pt x="1206" y="1877"/>
                    <a:pt x="1206" y="1877"/>
                  </a:cubicBezTo>
                  <a:cubicBezTo>
                    <a:pt x="1204" y="1880"/>
                    <a:pt x="1200" y="1882"/>
                    <a:pt x="1195" y="1883"/>
                  </a:cubicBezTo>
                  <a:cubicBezTo>
                    <a:pt x="1195" y="1883"/>
                    <a:pt x="1195" y="1884"/>
                    <a:pt x="1194" y="1884"/>
                  </a:cubicBezTo>
                  <a:cubicBezTo>
                    <a:pt x="1194" y="1884"/>
                    <a:pt x="1193" y="1884"/>
                    <a:pt x="1193" y="1884"/>
                  </a:cubicBezTo>
                  <a:cubicBezTo>
                    <a:pt x="1192" y="1884"/>
                    <a:pt x="1192" y="1884"/>
                    <a:pt x="1192" y="1884"/>
                  </a:cubicBezTo>
                  <a:cubicBezTo>
                    <a:pt x="1191" y="1884"/>
                    <a:pt x="1190" y="1884"/>
                    <a:pt x="1189" y="1885"/>
                  </a:cubicBezTo>
                  <a:cubicBezTo>
                    <a:pt x="1178" y="1886"/>
                    <a:pt x="1164" y="1885"/>
                    <a:pt x="1158" y="1885"/>
                  </a:cubicBezTo>
                  <a:cubicBezTo>
                    <a:pt x="1137" y="1885"/>
                    <a:pt x="1137" y="1885"/>
                    <a:pt x="1137" y="1885"/>
                  </a:cubicBezTo>
                  <a:cubicBezTo>
                    <a:pt x="1135" y="1885"/>
                    <a:pt x="1134" y="1885"/>
                    <a:pt x="1132" y="1885"/>
                  </a:cubicBezTo>
                  <a:cubicBezTo>
                    <a:pt x="1131" y="1884"/>
                    <a:pt x="1130" y="1884"/>
                    <a:pt x="1128" y="1884"/>
                  </a:cubicBezTo>
                  <a:cubicBezTo>
                    <a:pt x="1128" y="1884"/>
                    <a:pt x="1128" y="1884"/>
                    <a:pt x="1127" y="1884"/>
                  </a:cubicBezTo>
                  <a:cubicBezTo>
                    <a:pt x="1127" y="1884"/>
                    <a:pt x="1127" y="1884"/>
                    <a:pt x="1127" y="1884"/>
                  </a:cubicBezTo>
                  <a:cubicBezTo>
                    <a:pt x="1126" y="1883"/>
                    <a:pt x="1125" y="1883"/>
                    <a:pt x="1123" y="1883"/>
                  </a:cubicBezTo>
                  <a:cubicBezTo>
                    <a:pt x="1123" y="1883"/>
                    <a:pt x="1122" y="1882"/>
                    <a:pt x="1122" y="1882"/>
                  </a:cubicBezTo>
                  <a:cubicBezTo>
                    <a:pt x="1121" y="1882"/>
                    <a:pt x="1120" y="1881"/>
                    <a:pt x="1119" y="1881"/>
                  </a:cubicBezTo>
                  <a:cubicBezTo>
                    <a:pt x="1117" y="1880"/>
                    <a:pt x="1116" y="1879"/>
                    <a:pt x="1115" y="1878"/>
                  </a:cubicBezTo>
                  <a:cubicBezTo>
                    <a:pt x="1115" y="1878"/>
                    <a:pt x="1114" y="1878"/>
                    <a:pt x="1114" y="1878"/>
                  </a:cubicBezTo>
                  <a:close/>
                  <a:moveTo>
                    <a:pt x="1120" y="1961"/>
                  </a:moveTo>
                  <a:cubicBezTo>
                    <a:pt x="1118" y="1959"/>
                    <a:pt x="1117" y="1957"/>
                    <a:pt x="1117" y="1955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6" y="1943"/>
                    <a:pt x="1116" y="1935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5"/>
                    <a:pt x="1115" y="1925"/>
                    <a:pt x="1115" y="1924"/>
                  </a:cubicBezTo>
                  <a:cubicBezTo>
                    <a:pt x="1117" y="1906"/>
                    <a:pt x="1155" y="1911"/>
                    <a:pt x="1167" y="1911"/>
                  </a:cubicBezTo>
                  <a:cubicBezTo>
                    <a:pt x="1181" y="1911"/>
                    <a:pt x="1208" y="1907"/>
                    <a:pt x="1216" y="1921"/>
                  </a:cubicBezTo>
                  <a:cubicBezTo>
                    <a:pt x="1217" y="1923"/>
                    <a:pt x="1218" y="1924"/>
                    <a:pt x="1218" y="1925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31"/>
                    <a:pt x="1220" y="1936"/>
                    <a:pt x="1221" y="1940"/>
                  </a:cubicBezTo>
                  <a:cubicBezTo>
                    <a:pt x="1224" y="1955"/>
                    <a:pt x="1224" y="1955"/>
                    <a:pt x="1224" y="1955"/>
                  </a:cubicBezTo>
                  <a:cubicBezTo>
                    <a:pt x="1225" y="1957"/>
                    <a:pt x="1224" y="1959"/>
                    <a:pt x="1223" y="1961"/>
                  </a:cubicBezTo>
                  <a:cubicBezTo>
                    <a:pt x="1223" y="1962"/>
                    <a:pt x="1222" y="1963"/>
                    <a:pt x="1220" y="1964"/>
                  </a:cubicBezTo>
                  <a:cubicBezTo>
                    <a:pt x="1220" y="1965"/>
                    <a:pt x="1219" y="1965"/>
                    <a:pt x="1219" y="1966"/>
                  </a:cubicBezTo>
                  <a:cubicBezTo>
                    <a:pt x="1219" y="1966"/>
                    <a:pt x="1218" y="1966"/>
                    <a:pt x="1218" y="1966"/>
                  </a:cubicBezTo>
                  <a:cubicBezTo>
                    <a:pt x="1218" y="1966"/>
                    <a:pt x="1218" y="1966"/>
                    <a:pt x="1218" y="1967"/>
                  </a:cubicBezTo>
                  <a:cubicBezTo>
                    <a:pt x="1217" y="1967"/>
                    <a:pt x="1216" y="1967"/>
                    <a:pt x="1215" y="1968"/>
                  </a:cubicBezTo>
                  <a:cubicBezTo>
                    <a:pt x="1215" y="1968"/>
                    <a:pt x="1214" y="1968"/>
                    <a:pt x="1213" y="1969"/>
                  </a:cubicBezTo>
                  <a:cubicBezTo>
                    <a:pt x="1213" y="1969"/>
                    <a:pt x="1212" y="1969"/>
                    <a:pt x="1212" y="1969"/>
                  </a:cubicBezTo>
                  <a:cubicBezTo>
                    <a:pt x="1211" y="1969"/>
                    <a:pt x="1211" y="1970"/>
                    <a:pt x="1210" y="1970"/>
                  </a:cubicBezTo>
                  <a:cubicBezTo>
                    <a:pt x="1209" y="1970"/>
                    <a:pt x="1209" y="1970"/>
                    <a:pt x="1208" y="1970"/>
                  </a:cubicBezTo>
                  <a:cubicBezTo>
                    <a:pt x="1208" y="1970"/>
                    <a:pt x="1207" y="1970"/>
                    <a:pt x="1207" y="1970"/>
                  </a:cubicBezTo>
                  <a:cubicBezTo>
                    <a:pt x="1206" y="1971"/>
                    <a:pt x="1205" y="1971"/>
                    <a:pt x="1204" y="1971"/>
                  </a:cubicBezTo>
                  <a:cubicBezTo>
                    <a:pt x="1202" y="1971"/>
                    <a:pt x="1201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81" y="1971"/>
                    <a:pt x="1164" y="1971"/>
                    <a:pt x="1147" y="1971"/>
                  </a:cubicBezTo>
                  <a:cubicBezTo>
                    <a:pt x="1145" y="1971"/>
                    <a:pt x="1143" y="1971"/>
                    <a:pt x="1141" y="1971"/>
                  </a:cubicBezTo>
                  <a:cubicBezTo>
                    <a:pt x="1141" y="1971"/>
                    <a:pt x="1140" y="1971"/>
                    <a:pt x="1140" y="1971"/>
                  </a:cubicBezTo>
                  <a:cubicBezTo>
                    <a:pt x="1139" y="1971"/>
                    <a:pt x="1137" y="1970"/>
                    <a:pt x="1136" y="1970"/>
                  </a:cubicBezTo>
                  <a:cubicBezTo>
                    <a:pt x="1136" y="1970"/>
                    <a:pt x="1136" y="1970"/>
                    <a:pt x="1136" y="1970"/>
                  </a:cubicBezTo>
                  <a:cubicBezTo>
                    <a:pt x="1135" y="1970"/>
                    <a:pt x="1135" y="1970"/>
                    <a:pt x="1135" y="1970"/>
                  </a:cubicBezTo>
                  <a:cubicBezTo>
                    <a:pt x="1134" y="1969"/>
                    <a:pt x="1132" y="1969"/>
                    <a:pt x="1131" y="1969"/>
                  </a:cubicBezTo>
                  <a:cubicBezTo>
                    <a:pt x="1130" y="1968"/>
                    <a:pt x="1130" y="1968"/>
                    <a:pt x="1129" y="1968"/>
                  </a:cubicBezTo>
                  <a:cubicBezTo>
                    <a:pt x="1128" y="1967"/>
                    <a:pt x="1128" y="1967"/>
                    <a:pt x="1127" y="1967"/>
                  </a:cubicBezTo>
                  <a:cubicBezTo>
                    <a:pt x="1127" y="1967"/>
                    <a:pt x="1126" y="1967"/>
                    <a:pt x="1126" y="1966"/>
                  </a:cubicBezTo>
                  <a:cubicBezTo>
                    <a:pt x="1124" y="1965"/>
                    <a:pt x="1121" y="1963"/>
                    <a:pt x="1120" y="1961"/>
                  </a:cubicBezTo>
                  <a:close/>
                  <a:moveTo>
                    <a:pt x="1244" y="2063"/>
                  </a:moveTo>
                  <a:cubicBezTo>
                    <a:pt x="1243" y="2066"/>
                    <a:pt x="1241" y="2068"/>
                    <a:pt x="1238" y="2070"/>
                  </a:cubicBezTo>
                  <a:cubicBezTo>
                    <a:pt x="1236" y="2072"/>
                    <a:pt x="1233" y="2074"/>
                    <a:pt x="1229" y="2075"/>
                  </a:cubicBezTo>
                  <a:cubicBezTo>
                    <a:pt x="1225" y="2076"/>
                    <a:pt x="1221" y="2076"/>
                    <a:pt x="1217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189" y="2076"/>
                    <a:pt x="1174" y="2076"/>
                    <a:pt x="1158" y="2077"/>
                  </a:cubicBezTo>
                  <a:cubicBezTo>
                    <a:pt x="1156" y="2077"/>
                    <a:pt x="1154" y="2076"/>
                    <a:pt x="1152" y="2076"/>
                  </a:cubicBezTo>
                  <a:cubicBezTo>
                    <a:pt x="1152" y="2076"/>
                    <a:pt x="1151" y="2076"/>
                    <a:pt x="1151" y="2076"/>
                  </a:cubicBezTo>
                  <a:cubicBezTo>
                    <a:pt x="1149" y="2076"/>
                    <a:pt x="1148" y="2075"/>
                    <a:pt x="1146" y="2075"/>
                  </a:cubicBezTo>
                  <a:cubicBezTo>
                    <a:pt x="1146" y="2075"/>
                    <a:pt x="1146" y="2075"/>
                    <a:pt x="1146" y="2075"/>
                  </a:cubicBezTo>
                  <a:cubicBezTo>
                    <a:pt x="1145" y="2075"/>
                    <a:pt x="1145" y="2075"/>
                    <a:pt x="1145" y="2075"/>
                  </a:cubicBezTo>
                  <a:cubicBezTo>
                    <a:pt x="1138" y="2073"/>
                    <a:pt x="1132" y="2069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7" y="2063"/>
                    <a:pt x="1126" y="2062"/>
                    <a:pt x="1126" y="2060"/>
                  </a:cubicBezTo>
                  <a:cubicBezTo>
                    <a:pt x="1126" y="2060"/>
                    <a:pt x="1126" y="2059"/>
                    <a:pt x="1125" y="2059"/>
                  </a:cubicBezTo>
                  <a:cubicBezTo>
                    <a:pt x="1125" y="2058"/>
                    <a:pt x="1125" y="2057"/>
                    <a:pt x="1125" y="2057"/>
                  </a:cubicBezTo>
                  <a:cubicBezTo>
                    <a:pt x="1125" y="2056"/>
                    <a:pt x="1125" y="2056"/>
                    <a:pt x="1125" y="2056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4" y="2046"/>
                    <a:pt x="1123" y="2037"/>
                    <a:pt x="1123" y="2029"/>
                  </a:cubicBezTo>
                  <a:cubicBezTo>
                    <a:pt x="1123" y="2027"/>
                    <a:pt x="1122" y="2026"/>
                    <a:pt x="1122" y="2024"/>
                  </a:cubicBezTo>
                  <a:cubicBezTo>
                    <a:pt x="1122" y="2020"/>
                    <a:pt x="1122" y="2020"/>
                    <a:pt x="1122" y="2020"/>
                  </a:cubicBezTo>
                  <a:cubicBezTo>
                    <a:pt x="1122" y="2019"/>
                    <a:pt x="1122" y="2019"/>
                    <a:pt x="1122" y="2019"/>
                  </a:cubicBezTo>
                  <a:cubicBezTo>
                    <a:pt x="1122" y="2018"/>
                    <a:pt x="1122" y="2017"/>
                    <a:pt x="1122" y="2016"/>
                  </a:cubicBezTo>
                  <a:cubicBezTo>
                    <a:pt x="1122" y="2016"/>
                    <a:pt x="1123" y="2016"/>
                    <a:pt x="1123" y="2015"/>
                  </a:cubicBezTo>
                  <a:cubicBezTo>
                    <a:pt x="1123" y="2014"/>
                    <a:pt x="1123" y="2014"/>
                    <a:pt x="1123" y="2013"/>
                  </a:cubicBezTo>
                  <a:cubicBezTo>
                    <a:pt x="1124" y="2013"/>
                    <a:pt x="1124" y="2013"/>
                    <a:pt x="1124" y="2012"/>
                  </a:cubicBezTo>
                  <a:cubicBezTo>
                    <a:pt x="1124" y="2012"/>
                    <a:pt x="1124" y="2012"/>
                    <a:pt x="1124" y="2012"/>
                  </a:cubicBezTo>
                  <a:cubicBezTo>
                    <a:pt x="1125" y="2011"/>
                    <a:pt x="1125" y="2010"/>
                    <a:pt x="1126" y="2010"/>
                  </a:cubicBezTo>
                  <a:cubicBezTo>
                    <a:pt x="1126" y="2009"/>
                    <a:pt x="1127" y="2009"/>
                    <a:pt x="1127" y="2009"/>
                  </a:cubicBezTo>
                  <a:cubicBezTo>
                    <a:pt x="1128" y="2008"/>
                    <a:pt x="1128" y="2008"/>
                    <a:pt x="1129" y="2007"/>
                  </a:cubicBezTo>
                  <a:cubicBezTo>
                    <a:pt x="1129" y="2007"/>
                    <a:pt x="1129" y="2007"/>
                    <a:pt x="1130" y="2006"/>
                  </a:cubicBezTo>
                  <a:cubicBezTo>
                    <a:pt x="1130" y="2006"/>
                    <a:pt x="1130" y="2006"/>
                    <a:pt x="1130" y="2006"/>
                  </a:cubicBezTo>
                  <a:cubicBezTo>
                    <a:pt x="1131" y="2006"/>
                    <a:pt x="1132" y="2005"/>
                    <a:pt x="1133" y="2004"/>
                  </a:cubicBezTo>
                  <a:cubicBezTo>
                    <a:pt x="1134" y="2004"/>
                    <a:pt x="1134" y="2004"/>
                    <a:pt x="1134" y="2004"/>
                  </a:cubicBezTo>
                  <a:cubicBezTo>
                    <a:pt x="1134" y="2004"/>
                    <a:pt x="1135" y="2004"/>
                    <a:pt x="1135" y="2004"/>
                  </a:cubicBezTo>
                  <a:cubicBezTo>
                    <a:pt x="1135" y="2004"/>
                    <a:pt x="1135" y="2004"/>
                    <a:pt x="1136" y="2004"/>
                  </a:cubicBezTo>
                  <a:cubicBezTo>
                    <a:pt x="1137" y="2003"/>
                    <a:pt x="1138" y="2003"/>
                    <a:pt x="1139" y="2003"/>
                  </a:cubicBezTo>
                  <a:cubicBezTo>
                    <a:pt x="1139" y="2002"/>
                    <a:pt x="1140" y="2002"/>
                    <a:pt x="1140" y="2002"/>
                  </a:cubicBezTo>
                  <a:cubicBezTo>
                    <a:pt x="1141" y="2002"/>
                    <a:pt x="1141" y="2002"/>
                    <a:pt x="1142" y="2002"/>
                  </a:cubicBezTo>
                  <a:cubicBezTo>
                    <a:pt x="1143" y="2002"/>
                    <a:pt x="1145" y="2001"/>
                    <a:pt x="1147" y="2001"/>
                  </a:cubicBezTo>
                  <a:cubicBezTo>
                    <a:pt x="1147" y="2001"/>
                    <a:pt x="1148" y="2001"/>
                    <a:pt x="1148" y="2001"/>
                  </a:cubicBezTo>
                  <a:cubicBezTo>
                    <a:pt x="1149" y="2001"/>
                    <a:pt x="1149" y="2001"/>
                    <a:pt x="1150" y="2001"/>
                  </a:cubicBezTo>
                  <a:cubicBezTo>
                    <a:pt x="1153" y="2001"/>
                    <a:pt x="1153" y="2001"/>
                    <a:pt x="1153" y="2001"/>
                  </a:cubicBezTo>
                  <a:cubicBezTo>
                    <a:pt x="1155" y="2001"/>
                    <a:pt x="1158" y="2001"/>
                    <a:pt x="1160" y="2001"/>
                  </a:cubicBezTo>
                  <a:cubicBezTo>
                    <a:pt x="1163" y="2001"/>
                    <a:pt x="1165" y="2001"/>
                    <a:pt x="1168" y="2001"/>
                  </a:cubicBezTo>
                  <a:cubicBezTo>
                    <a:pt x="1191" y="2001"/>
                    <a:pt x="1191" y="2001"/>
                    <a:pt x="1191" y="2001"/>
                  </a:cubicBezTo>
                  <a:cubicBezTo>
                    <a:pt x="1197" y="2001"/>
                    <a:pt x="1203" y="2001"/>
                    <a:pt x="1209" y="2001"/>
                  </a:cubicBezTo>
                  <a:cubicBezTo>
                    <a:pt x="1210" y="2001"/>
                    <a:pt x="1211" y="2001"/>
                    <a:pt x="1212" y="2002"/>
                  </a:cubicBezTo>
                  <a:cubicBezTo>
                    <a:pt x="1212" y="2002"/>
                    <a:pt x="1213" y="2002"/>
                    <a:pt x="1214" y="2002"/>
                  </a:cubicBezTo>
                  <a:cubicBezTo>
                    <a:pt x="1214" y="2002"/>
                    <a:pt x="1214" y="2002"/>
                    <a:pt x="1215" y="2002"/>
                  </a:cubicBezTo>
                  <a:cubicBezTo>
                    <a:pt x="1215" y="2002"/>
                    <a:pt x="1216" y="2002"/>
                    <a:pt x="1216" y="2002"/>
                  </a:cubicBezTo>
                  <a:cubicBezTo>
                    <a:pt x="1216" y="2002"/>
                    <a:pt x="1216" y="2003"/>
                    <a:pt x="1217" y="2003"/>
                  </a:cubicBezTo>
                  <a:cubicBezTo>
                    <a:pt x="1218" y="2003"/>
                    <a:pt x="1219" y="2003"/>
                    <a:pt x="1220" y="2004"/>
                  </a:cubicBezTo>
                  <a:cubicBezTo>
                    <a:pt x="1221" y="2004"/>
                    <a:pt x="1221" y="2004"/>
                    <a:pt x="1222" y="2004"/>
                  </a:cubicBezTo>
                  <a:cubicBezTo>
                    <a:pt x="1222" y="2005"/>
                    <a:pt x="1223" y="2005"/>
                    <a:pt x="1223" y="2005"/>
                  </a:cubicBezTo>
                  <a:cubicBezTo>
                    <a:pt x="1224" y="2005"/>
                    <a:pt x="1225" y="2006"/>
                    <a:pt x="1226" y="2006"/>
                  </a:cubicBezTo>
                  <a:cubicBezTo>
                    <a:pt x="1229" y="2008"/>
                    <a:pt x="1231" y="2010"/>
                    <a:pt x="1233" y="2012"/>
                  </a:cubicBezTo>
                  <a:cubicBezTo>
                    <a:pt x="1235" y="2014"/>
                    <a:pt x="1237" y="2017"/>
                    <a:pt x="1237" y="2019"/>
                  </a:cubicBezTo>
                  <a:cubicBezTo>
                    <a:pt x="1240" y="2034"/>
                    <a:pt x="1240" y="2034"/>
                    <a:pt x="1240" y="2034"/>
                  </a:cubicBezTo>
                  <a:cubicBezTo>
                    <a:pt x="1241" y="2040"/>
                    <a:pt x="1243" y="2046"/>
                    <a:pt x="1244" y="2052"/>
                  </a:cubicBezTo>
                  <a:cubicBezTo>
                    <a:pt x="1244" y="2052"/>
                    <a:pt x="1244" y="2052"/>
                    <a:pt x="1244" y="2052"/>
                  </a:cubicBezTo>
                  <a:cubicBezTo>
                    <a:pt x="1244" y="2055"/>
                    <a:pt x="1244" y="2055"/>
                    <a:pt x="1244" y="2055"/>
                  </a:cubicBezTo>
                  <a:cubicBezTo>
                    <a:pt x="1245" y="2058"/>
                    <a:pt x="1245" y="2061"/>
                    <a:pt x="1244" y="2063"/>
                  </a:cubicBezTo>
                  <a:close/>
                  <a:moveTo>
                    <a:pt x="1349" y="1880"/>
                  </a:moveTo>
                  <a:cubicBezTo>
                    <a:pt x="1346" y="1879"/>
                    <a:pt x="1344" y="1878"/>
                    <a:pt x="1342" y="1876"/>
                  </a:cubicBezTo>
                  <a:cubicBezTo>
                    <a:pt x="1340" y="1875"/>
                    <a:pt x="1338" y="1873"/>
                    <a:pt x="1338" y="1871"/>
                  </a:cubicBezTo>
                  <a:cubicBezTo>
                    <a:pt x="1337" y="1868"/>
                    <a:pt x="1337" y="1868"/>
                    <a:pt x="1337" y="1868"/>
                  </a:cubicBezTo>
                  <a:cubicBezTo>
                    <a:pt x="1335" y="1863"/>
                    <a:pt x="1333" y="1859"/>
                    <a:pt x="1332" y="1854"/>
                  </a:cubicBezTo>
                  <a:cubicBezTo>
                    <a:pt x="1331" y="1852"/>
                    <a:pt x="1329" y="1848"/>
                    <a:pt x="1329" y="1845"/>
                  </a:cubicBezTo>
                  <a:cubicBezTo>
                    <a:pt x="1329" y="1845"/>
                    <a:pt x="1329" y="1845"/>
                    <a:pt x="1329" y="1844"/>
                  </a:cubicBezTo>
                  <a:cubicBezTo>
                    <a:pt x="1329" y="1844"/>
                    <a:pt x="1329" y="1844"/>
                    <a:pt x="1329" y="1844"/>
                  </a:cubicBezTo>
                  <a:cubicBezTo>
                    <a:pt x="1329" y="1844"/>
                    <a:pt x="1329" y="1843"/>
                    <a:pt x="1329" y="1843"/>
                  </a:cubicBezTo>
                  <a:cubicBezTo>
                    <a:pt x="1329" y="1843"/>
                    <a:pt x="1329" y="1843"/>
                    <a:pt x="1329" y="1842"/>
                  </a:cubicBezTo>
                  <a:cubicBezTo>
                    <a:pt x="1329" y="1842"/>
                    <a:pt x="1329" y="1842"/>
                    <a:pt x="1329" y="1842"/>
                  </a:cubicBezTo>
                  <a:cubicBezTo>
                    <a:pt x="1333" y="1834"/>
                    <a:pt x="1348" y="1835"/>
                    <a:pt x="1355" y="1835"/>
                  </a:cubicBezTo>
                  <a:cubicBezTo>
                    <a:pt x="1392" y="1835"/>
                    <a:pt x="1392" y="1835"/>
                    <a:pt x="1392" y="1835"/>
                  </a:cubicBezTo>
                  <a:cubicBezTo>
                    <a:pt x="1396" y="1835"/>
                    <a:pt x="1399" y="1835"/>
                    <a:pt x="1402" y="1836"/>
                  </a:cubicBezTo>
                  <a:cubicBezTo>
                    <a:pt x="1403" y="1836"/>
                    <a:pt x="1404" y="1836"/>
                    <a:pt x="1405" y="1836"/>
                  </a:cubicBezTo>
                  <a:cubicBezTo>
                    <a:pt x="1405" y="1836"/>
                    <a:pt x="1405" y="1837"/>
                    <a:pt x="1406" y="1837"/>
                  </a:cubicBezTo>
                  <a:cubicBezTo>
                    <a:pt x="1406" y="1837"/>
                    <a:pt x="1407" y="1837"/>
                    <a:pt x="1408" y="1837"/>
                  </a:cubicBezTo>
                  <a:cubicBezTo>
                    <a:pt x="1409" y="1837"/>
                    <a:pt x="1410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2" y="1839"/>
                    <a:pt x="1413" y="1839"/>
                    <a:pt x="1414" y="1840"/>
                  </a:cubicBezTo>
                  <a:cubicBezTo>
                    <a:pt x="1415" y="1840"/>
                    <a:pt x="1415" y="1840"/>
                    <a:pt x="1416" y="1841"/>
                  </a:cubicBezTo>
                  <a:cubicBezTo>
                    <a:pt x="1416" y="1841"/>
                    <a:pt x="1416" y="1841"/>
                    <a:pt x="1417" y="1841"/>
                  </a:cubicBezTo>
                  <a:cubicBezTo>
                    <a:pt x="1417" y="1841"/>
                    <a:pt x="1417" y="1841"/>
                    <a:pt x="1417" y="1842"/>
                  </a:cubicBezTo>
                  <a:cubicBezTo>
                    <a:pt x="1418" y="1842"/>
                    <a:pt x="1418" y="1842"/>
                    <a:pt x="1418" y="1842"/>
                  </a:cubicBezTo>
                  <a:cubicBezTo>
                    <a:pt x="1420" y="1844"/>
                    <a:pt x="1422" y="1845"/>
                    <a:pt x="1423" y="1847"/>
                  </a:cubicBezTo>
                  <a:cubicBezTo>
                    <a:pt x="1423" y="1847"/>
                    <a:pt x="1423" y="1847"/>
                    <a:pt x="1423" y="1847"/>
                  </a:cubicBezTo>
                  <a:cubicBezTo>
                    <a:pt x="1426" y="1852"/>
                    <a:pt x="1428" y="1859"/>
                    <a:pt x="1431" y="1864"/>
                  </a:cubicBezTo>
                  <a:cubicBezTo>
                    <a:pt x="1431" y="1864"/>
                    <a:pt x="1431" y="1864"/>
                    <a:pt x="1431" y="1864"/>
                  </a:cubicBezTo>
                  <a:cubicBezTo>
                    <a:pt x="1432" y="1867"/>
                    <a:pt x="1434" y="1870"/>
                    <a:pt x="1435" y="1873"/>
                  </a:cubicBezTo>
                  <a:cubicBezTo>
                    <a:pt x="1435" y="1873"/>
                    <a:pt x="1435" y="1873"/>
                    <a:pt x="1435" y="1873"/>
                  </a:cubicBezTo>
                  <a:cubicBezTo>
                    <a:pt x="1435" y="1873"/>
                    <a:pt x="1435" y="1873"/>
                    <a:pt x="1435" y="1874"/>
                  </a:cubicBezTo>
                  <a:cubicBezTo>
                    <a:pt x="1436" y="1879"/>
                    <a:pt x="1431" y="1882"/>
                    <a:pt x="1425" y="1883"/>
                  </a:cubicBezTo>
                  <a:cubicBezTo>
                    <a:pt x="1425" y="1883"/>
                    <a:pt x="1425" y="1883"/>
                    <a:pt x="1425" y="1883"/>
                  </a:cubicBezTo>
                  <a:cubicBezTo>
                    <a:pt x="1425" y="1883"/>
                    <a:pt x="1424" y="1883"/>
                    <a:pt x="1424" y="1883"/>
                  </a:cubicBezTo>
                  <a:cubicBezTo>
                    <a:pt x="1423" y="1884"/>
                    <a:pt x="1422" y="1884"/>
                    <a:pt x="1421" y="1884"/>
                  </a:cubicBezTo>
                  <a:cubicBezTo>
                    <a:pt x="1421" y="1884"/>
                    <a:pt x="1420" y="1884"/>
                    <a:pt x="1420" y="1884"/>
                  </a:cubicBezTo>
                  <a:cubicBezTo>
                    <a:pt x="1419" y="1884"/>
                    <a:pt x="1418" y="1884"/>
                    <a:pt x="1417" y="1884"/>
                  </a:cubicBezTo>
                  <a:cubicBezTo>
                    <a:pt x="1417" y="1884"/>
                    <a:pt x="1416" y="1884"/>
                    <a:pt x="1416" y="1884"/>
                  </a:cubicBezTo>
                  <a:cubicBezTo>
                    <a:pt x="1416" y="1884"/>
                    <a:pt x="1416" y="1884"/>
                    <a:pt x="1415" y="1884"/>
                  </a:cubicBezTo>
                  <a:cubicBezTo>
                    <a:pt x="1414" y="1884"/>
                    <a:pt x="1414" y="1884"/>
                    <a:pt x="1414" y="1884"/>
                  </a:cubicBezTo>
                  <a:cubicBezTo>
                    <a:pt x="1408" y="1884"/>
                    <a:pt x="1403" y="1884"/>
                    <a:pt x="1397" y="1884"/>
                  </a:cubicBezTo>
                  <a:cubicBezTo>
                    <a:pt x="1387" y="1884"/>
                    <a:pt x="1378" y="1884"/>
                    <a:pt x="1368" y="1884"/>
                  </a:cubicBezTo>
                  <a:cubicBezTo>
                    <a:pt x="1362" y="1884"/>
                    <a:pt x="1355" y="1883"/>
                    <a:pt x="1349" y="1880"/>
                  </a:cubicBezTo>
                  <a:cubicBezTo>
                    <a:pt x="1349" y="1880"/>
                    <a:pt x="1349" y="1880"/>
                    <a:pt x="1349" y="1880"/>
                  </a:cubicBezTo>
                  <a:close/>
                  <a:moveTo>
                    <a:pt x="1373" y="1961"/>
                  </a:moveTo>
                  <a:cubicBezTo>
                    <a:pt x="1371" y="1959"/>
                    <a:pt x="1369" y="1956"/>
                    <a:pt x="1369" y="1954"/>
                  </a:cubicBezTo>
                  <a:cubicBezTo>
                    <a:pt x="1363" y="1940"/>
                    <a:pt x="1363" y="1940"/>
                    <a:pt x="1363" y="1940"/>
                  </a:cubicBezTo>
                  <a:cubicBezTo>
                    <a:pt x="1362" y="1935"/>
                    <a:pt x="1360" y="1931"/>
                    <a:pt x="1359" y="1927"/>
                  </a:cubicBezTo>
                  <a:cubicBezTo>
                    <a:pt x="1359" y="1927"/>
                    <a:pt x="1359" y="1927"/>
                    <a:pt x="1359" y="1927"/>
                  </a:cubicBezTo>
                  <a:cubicBezTo>
                    <a:pt x="1358" y="1925"/>
                    <a:pt x="1358" y="1925"/>
                    <a:pt x="1358" y="1925"/>
                  </a:cubicBezTo>
                  <a:cubicBezTo>
                    <a:pt x="1357" y="1923"/>
                    <a:pt x="1357" y="1921"/>
                    <a:pt x="1358" y="1919"/>
                  </a:cubicBezTo>
                  <a:cubicBezTo>
                    <a:pt x="1358" y="1918"/>
                    <a:pt x="1359" y="1917"/>
                    <a:pt x="1360" y="1916"/>
                  </a:cubicBezTo>
                  <a:cubicBezTo>
                    <a:pt x="1360" y="1916"/>
                    <a:pt x="1361" y="1916"/>
                    <a:pt x="1361" y="1915"/>
                  </a:cubicBezTo>
                  <a:cubicBezTo>
                    <a:pt x="1361" y="1915"/>
                    <a:pt x="1361" y="1915"/>
                    <a:pt x="1362" y="1915"/>
                  </a:cubicBezTo>
                  <a:cubicBezTo>
                    <a:pt x="1364" y="1913"/>
                    <a:pt x="1366" y="1912"/>
                    <a:pt x="1369" y="1911"/>
                  </a:cubicBezTo>
                  <a:cubicBezTo>
                    <a:pt x="1371" y="1911"/>
                    <a:pt x="1374" y="1910"/>
                    <a:pt x="1376" y="1910"/>
                  </a:cubicBezTo>
                  <a:cubicBezTo>
                    <a:pt x="1386" y="1909"/>
                    <a:pt x="1397" y="1910"/>
                    <a:pt x="1402" y="1910"/>
                  </a:cubicBezTo>
                  <a:cubicBezTo>
                    <a:pt x="1420" y="1910"/>
                    <a:pt x="1451" y="1906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5" y="1933"/>
                    <a:pt x="1469" y="1940"/>
                    <a:pt x="1473" y="1948"/>
                  </a:cubicBezTo>
                  <a:cubicBezTo>
                    <a:pt x="1474" y="1951"/>
                    <a:pt x="1476" y="1953"/>
                    <a:pt x="1476" y="1956"/>
                  </a:cubicBezTo>
                  <a:cubicBezTo>
                    <a:pt x="1476" y="1956"/>
                    <a:pt x="1476" y="1956"/>
                    <a:pt x="1476" y="1957"/>
                  </a:cubicBezTo>
                  <a:cubicBezTo>
                    <a:pt x="1477" y="1957"/>
                    <a:pt x="1477" y="1958"/>
                    <a:pt x="1477" y="1958"/>
                  </a:cubicBezTo>
                  <a:cubicBezTo>
                    <a:pt x="1477" y="1959"/>
                    <a:pt x="1477" y="1959"/>
                    <a:pt x="1477" y="1960"/>
                  </a:cubicBezTo>
                  <a:cubicBezTo>
                    <a:pt x="1477" y="1960"/>
                    <a:pt x="1477" y="1960"/>
                    <a:pt x="1477" y="1960"/>
                  </a:cubicBezTo>
                  <a:cubicBezTo>
                    <a:pt x="1477" y="1960"/>
                    <a:pt x="1476" y="1961"/>
                    <a:pt x="1476" y="1961"/>
                  </a:cubicBezTo>
                  <a:cubicBezTo>
                    <a:pt x="1476" y="1962"/>
                    <a:pt x="1476" y="1962"/>
                    <a:pt x="1475" y="1963"/>
                  </a:cubicBezTo>
                  <a:cubicBezTo>
                    <a:pt x="1475" y="1963"/>
                    <a:pt x="1475" y="1963"/>
                    <a:pt x="1475" y="1963"/>
                  </a:cubicBezTo>
                  <a:cubicBezTo>
                    <a:pt x="1475" y="1964"/>
                    <a:pt x="1474" y="1965"/>
                    <a:pt x="1474" y="1965"/>
                  </a:cubicBezTo>
                  <a:cubicBezTo>
                    <a:pt x="1473" y="1965"/>
                    <a:pt x="1473" y="1965"/>
                    <a:pt x="1473" y="1966"/>
                  </a:cubicBezTo>
                  <a:cubicBezTo>
                    <a:pt x="1473" y="1966"/>
                    <a:pt x="1473" y="1966"/>
                    <a:pt x="1472" y="1966"/>
                  </a:cubicBezTo>
                  <a:cubicBezTo>
                    <a:pt x="1472" y="1966"/>
                    <a:pt x="1472" y="1967"/>
                    <a:pt x="1471" y="1967"/>
                  </a:cubicBezTo>
                  <a:cubicBezTo>
                    <a:pt x="1470" y="1968"/>
                    <a:pt x="1468" y="1969"/>
                    <a:pt x="1466" y="1969"/>
                  </a:cubicBezTo>
                  <a:cubicBezTo>
                    <a:pt x="1465" y="1969"/>
                    <a:pt x="1465" y="1969"/>
                    <a:pt x="1464" y="1970"/>
                  </a:cubicBezTo>
                  <a:cubicBezTo>
                    <a:pt x="1463" y="1970"/>
                    <a:pt x="1462" y="1970"/>
                    <a:pt x="1462" y="1970"/>
                  </a:cubicBezTo>
                  <a:cubicBezTo>
                    <a:pt x="1461" y="1970"/>
                    <a:pt x="1461" y="1970"/>
                    <a:pt x="1461" y="1970"/>
                  </a:cubicBezTo>
                  <a:cubicBezTo>
                    <a:pt x="1460" y="1970"/>
                    <a:pt x="1460" y="1970"/>
                    <a:pt x="1460" y="1970"/>
                  </a:cubicBezTo>
                  <a:cubicBezTo>
                    <a:pt x="1441" y="1972"/>
                    <a:pt x="1422" y="1971"/>
                    <a:pt x="1403" y="1971"/>
                  </a:cubicBezTo>
                  <a:cubicBezTo>
                    <a:pt x="1401" y="1971"/>
                    <a:pt x="1399" y="1971"/>
                    <a:pt x="1397" y="1970"/>
                  </a:cubicBezTo>
                  <a:cubicBezTo>
                    <a:pt x="1397" y="1970"/>
                    <a:pt x="1397" y="1970"/>
                    <a:pt x="1397" y="1970"/>
                  </a:cubicBezTo>
                  <a:cubicBezTo>
                    <a:pt x="1390" y="1970"/>
                    <a:pt x="1383" y="1967"/>
                    <a:pt x="1377" y="1964"/>
                  </a:cubicBezTo>
                  <a:cubicBezTo>
                    <a:pt x="1376" y="1963"/>
                    <a:pt x="1374" y="1962"/>
                    <a:pt x="1373" y="1961"/>
                  </a:cubicBezTo>
                  <a:close/>
                  <a:moveTo>
                    <a:pt x="1527" y="2063"/>
                  </a:moveTo>
                  <a:cubicBezTo>
                    <a:pt x="1527" y="2063"/>
                    <a:pt x="1527" y="2064"/>
                    <a:pt x="1527" y="2064"/>
                  </a:cubicBezTo>
                  <a:cubicBezTo>
                    <a:pt x="1527" y="2065"/>
                    <a:pt x="1526" y="2065"/>
                    <a:pt x="1526" y="2065"/>
                  </a:cubicBezTo>
                  <a:cubicBezTo>
                    <a:pt x="1526" y="2066"/>
                    <a:pt x="1526" y="2066"/>
                    <a:pt x="1525" y="2067"/>
                  </a:cubicBezTo>
                  <a:cubicBezTo>
                    <a:pt x="1525" y="2067"/>
                    <a:pt x="1525" y="2068"/>
                    <a:pt x="1525" y="2068"/>
                  </a:cubicBezTo>
                  <a:cubicBezTo>
                    <a:pt x="1525" y="2068"/>
                    <a:pt x="1524" y="2068"/>
                    <a:pt x="1524" y="2069"/>
                  </a:cubicBezTo>
                  <a:cubicBezTo>
                    <a:pt x="1524" y="2069"/>
                    <a:pt x="1524" y="2069"/>
                    <a:pt x="1524" y="2069"/>
                  </a:cubicBezTo>
                  <a:cubicBezTo>
                    <a:pt x="1524" y="2069"/>
                    <a:pt x="1523" y="2070"/>
                    <a:pt x="1523" y="2070"/>
                  </a:cubicBezTo>
                  <a:cubicBezTo>
                    <a:pt x="1520" y="2073"/>
                    <a:pt x="1515" y="2074"/>
                    <a:pt x="1511" y="2075"/>
                  </a:cubicBezTo>
                  <a:cubicBezTo>
                    <a:pt x="1510" y="2075"/>
                    <a:pt x="1510" y="2075"/>
                    <a:pt x="1510" y="2075"/>
                  </a:cubicBezTo>
                  <a:cubicBezTo>
                    <a:pt x="1508" y="2075"/>
                    <a:pt x="1506" y="2076"/>
                    <a:pt x="1504" y="2076"/>
                  </a:cubicBezTo>
                  <a:cubicBezTo>
                    <a:pt x="1504" y="2076"/>
                    <a:pt x="1504" y="2076"/>
                    <a:pt x="1504" y="2076"/>
                  </a:cubicBezTo>
                  <a:cubicBezTo>
                    <a:pt x="1503" y="2076"/>
                    <a:pt x="1503" y="2076"/>
                    <a:pt x="1503" y="2076"/>
                  </a:cubicBezTo>
                  <a:cubicBezTo>
                    <a:pt x="1501" y="2076"/>
                    <a:pt x="1499" y="2076"/>
                    <a:pt x="1497" y="2076"/>
                  </a:cubicBezTo>
                  <a:cubicBezTo>
                    <a:pt x="1446" y="2076"/>
                    <a:pt x="1446" y="2076"/>
                    <a:pt x="1446" y="2076"/>
                  </a:cubicBezTo>
                  <a:cubicBezTo>
                    <a:pt x="1444" y="2076"/>
                    <a:pt x="1441" y="2076"/>
                    <a:pt x="1439" y="2075"/>
                  </a:cubicBezTo>
                  <a:cubicBezTo>
                    <a:pt x="1439" y="2075"/>
                    <a:pt x="1438" y="2075"/>
                    <a:pt x="1438" y="2075"/>
                  </a:cubicBezTo>
                  <a:cubicBezTo>
                    <a:pt x="1427" y="2074"/>
                    <a:pt x="1414" y="2069"/>
                    <a:pt x="1408" y="2059"/>
                  </a:cubicBezTo>
                  <a:cubicBezTo>
                    <a:pt x="1407" y="2058"/>
                    <a:pt x="1407" y="2056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3" y="2047"/>
                    <a:pt x="1400" y="2040"/>
                    <a:pt x="1398" y="2032"/>
                  </a:cubicBezTo>
                  <a:cubicBezTo>
                    <a:pt x="1396" y="2029"/>
                    <a:pt x="1394" y="2024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2" y="2018"/>
                    <a:pt x="1392" y="2018"/>
                    <a:pt x="1392" y="2017"/>
                  </a:cubicBezTo>
                  <a:cubicBezTo>
                    <a:pt x="1392" y="2015"/>
                    <a:pt x="1392" y="2013"/>
                    <a:pt x="1392" y="2012"/>
                  </a:cubicBezTo>
                  <a:cubicBezTo>
                    <a:pt x="1393" y="2011"/>
                    <a:pt x="1393" y="2010"/>
                    <a:pt x="1394" y="2009"/>
                  </a:cubicBezTo>
                  <a:cubicBezTo>
                    <a:pt x="1394" y="2009"/>
                    <a:pt x="1394" y="2009"/>
                    <a:pt x="1394" y="2009"/>
                  </a:cubicBezTo>
                  <a:cubicBezTo>
                    <a:pt x="1397" y="2004"/>
                    <a:pt x="1403" y="2002"/>
                    <a:pt x="1409" y="2001"/>
                  </a:cubicBezTo>
                  <a:cubicBezTo>
                    <a:pt x="1409" y="2001"/>
                    <a:pt x="1409" y="2001"/>
                    <a:pt x="1410" y="2001"/>
                  </a:cubicBezTo>
                  <a:cubicBezTo>
                    <a:pt x="1411" y="2001"/>
                    <a:pt x="1413" y="2001"/>
                    <a:pt x="1414" y="2000"/>
                  </a:cubicBezTo>
                  <a:cubicBezTo>
                    <a:pt x="1414" y="2000"/>
                    <a:pt x="1415" y="2000"/>
                    <a:pt x="1415" y="2000"/>
                  </a:cubicBezTo>
                  <a:cubicBezTo>
                    <a:pt x="1418" y="2000"/>
                    <a:pt x="1418" y="2000"/>
                    <a:pt x="1418" y="2000"/>
                  </a:cubicBezTo>
                  <a:cubicBezTo>
                    <a:pt x="1419" y="2000"/>
                    <a:pt x="1420" y="2000"/>
                    <a:pt x="1421" y="2000"/>
                  </a:cubicBezTo>
                  <a:cubicBezTo>
                    <a:pt x="1437" y="2000"/>
                    <a:pt x="1453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71" y="2000"/>
                    <a:pt x="1473" y="2000"/>
                    <a:pt x="1475" y="2001"/>
                  </a:cubicBezTo>
                  <a:cubicBezTo>
                    <a:pt x="1475" y="2001"/>
                    <a:pt x="1476" y="2001"/>
                    <a:pt x="1476" y="2001"/>
                  </a:cubicBezTo>
                  <a:cubicBezTo>
                    <a:pt x="1487" y="2002"/>
                    <a:pt x="1499" y="2006"/>
                    <a:pt x="1505" y="2015"/>
                  </a:cubicBezTo>
                  <a:cubicBezTo>
                    <a:pt x="1506" y="2016"/>
                    <a:pt x="1507" y="2017"/>
                    <a:pt x="1508" y="2019"/>
                  </a:cubicBezTo>
                  <a:cubicBezTo>
                    <a:pt x="1509" y="2022"/>
                    <a:pt x="1509" y="2022"/>
                    <a:pt x="1509" y="2022"/>
                  </a:cubicBezTo>
                  <a:cubicBezTo>
                    <a:pt x="1512" y="2028"/>
                    <a:pt x="1516" y="2035"/>
                    <a:pt x="1519" y="2041"/>
                  </a:cubicBezTo>
                  <a:cubicBezTo>
                    <a:pt x="1521" y="2045"/>
                    <a:pt x="1524" y="2051"/>
                    <a:pt x="1526" y="2056"/>
                  </a:cubicBezTo>
                  <a:cubicBezTo>
                    <a:pt x="1527" y="2058"/>
                    <a:pt x="1527" y="2061"/>
                    <a:pt x="1527" y="2063"/>
                  </a:cubicBezTo>
                  <a:close/>
                  <a:moveTo>
                    <a:pt x="1640" y="2000"/>
                  </a:moveTo>
                  <a:cubicBezTo>
                    <a:pt x="1642" y="2000"/>
                    <a:pt x="1643" y="2000"/>
                    <a:pt x="1645" y="2000"/>
                  </a:cubicBezTo>
                  <a:cubicBezTo>
                    <a:pt x="1645" y="2000"/>
                    <a:pt x="1645" y="2000"/>
                    <a:pt x="1646" y="2000"/>
                  </a:cubicBezTo>
                  <a:cubicBezTo>
                    <a:pt x="1657" y="2002"/>
                    <a:pt x="1669" y="2006"/>
                    <a:pt x="1677" y="2014"/>
                  </a:cubicBezTo>
                  <a:cubicBezTo>
                    <a:pt x="1678" y="2014"/>
                    <a:pt x="1678" y="2015"/>
                    <a:pt x="1678" y="2015"/>
                  </a:cubicBezTo>
                  <a:cubicBezTo>
                    <a:pt x="1679" y="2016"/>
                    <a:pt x="1679" y="2016"/>
                    <a:pt x="1680" y="2017"/>
                  </a:cubicBezTo>
                  <a:cubicBezTo>
                    <a:pt x="1680" y="2017"/>
                    <a:pt x="1680" y="2017"/>
                    <a:pt x="1680" y="2018"/>
                  </a:cubicBezTo>
                  <a:cubicBezTo>
                    <a:pt x="1681" y="2018"/>
                    <a:pt x="1681" y="2018"/>
                    <a:pt x="1681" y="2018"/>
                  </a:cubicBezTo>
                  <a:cubicBezTo>
                    <a:pt x="1682" y="2019"/>
                    <a:pt x="1682" y="2019"/>
                    <a:pt x="1682" y="2019"/>
                  </a:cubicBezTo>
                  <a:cubicBezTo>
                    <a:pt x="1685" y="2024"/>
                    <a:pt x="1688" y="2029"/>
                    <a:pt x="1692" y="2034"/>
                  </a:cubicBezTo>
                  <a:cubicBezTo>
                    <a:pt x="1692" y="2034"/>
                    <a:pt x="1692" y="2034"/>
                    <a:pt x="1692" y="2034"/>
                  </a:cubicBezTo>
                  <a:cubicBezTo>
                    <a:pt x="1697" y="2041"/>
                    <a:pt x="1703" y="2049"/>
                    <a:pt x="1707" y="2056"/>
                  </a:cubicBezTo>
                  <a:cubicBezTo>
                    <a:pt x="1707" y="2057"/>
                    <a:pt x="1707" y="2057"/>
                    <a:pt x="1708" y="2058"/>
                  </a:cubicBezTo>
                  <a:cubicBezTo>
                    <a:pt x="1708" y="2058"/>
                    <a:pt x="1708" y="2058"/>
                    <a:pt x="1708" y="2058"/>
                  </a:cubicBezTo>
                  <a:cubicBezTo>
                    <a:pt x="1709" y="2063"/>
                    <a:pt x="1709" y="2066"/>
                    <a:pt x="1707" y="2068"/>
                  </a:cubicBezTo>
                  <a:cubicBezTo>
                    <a:pt x="1706" y="2069"/>
                    <a:pt x="1706" y="2069"/>
                    <a:pt x="1706" y="2069"/>
                  </a:cubicBezTo>
                  <a:cubicBezTo>
                    <a:pt x="1705" y="2071"/>
                    <a:pt x="1702" y="2072"/>
                    <a:pt x="1699" y="2073"/>
                  </a:cubicBezTo>
                  <a:cubicBezTo>
                    <a:pt x="1696" y="2074"/>
                    <a:pt x="1692" y="2075"/>
                    <a:pt x="1688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66" y="2075"/>
                    <a:pt x="1648" y="2075"/>
                    <a:pt x="1629" y="2075"/>
                  </a:cubicBezTo>
                  <a:cubicBezTo>
                    <a:pt x="1627" y="2075"/>
                    <a:pt x="1625" y="2075"/>
                    <a:pt x="1623" y="2075"/>
                  </a:cubicBezTo>
                  <a:cubicBezTo>
                    <a:pt x="1623" y="2075"/>
                    <a:pt x="1623" y="2075"/>
                    <a:pt x="1623" y="2075"/>
                  </a:cubicBezTo>
                  <a:cubicBezTo>
                    <a:pt x="1610" y="2073"/>
                    <a:pt x="1597" y="2068"/>
                    <a:pt x="1589" y="2059"/>
                  </a:cubicBezTo>
                  <a:cubicBezTo>
                    <a:pt x="1588" y="2057"/>
                    <a:pt x="1587" y="2056"/>
                    <a:pt x="1586" y="2055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2" y="2047"/>
                    <a:pt x="1578" y="2041"/>
                    <a:pt x="1574" y="2034"/>
                  </a:cubicBezTo>
                  <a:cubicBezTo>
                    <a:pt x="1571" y="2029"/>
                    <a:pt x="1566" y="2021"/>
                    <a:pt x="1564" y="2015"/>
                  </a:cubicBezTo>
                  <a:cubicBezTo>
                    <a:pt x="1564" y="2015"/>
                    <a:pt x="1564" y="2015"/>
                    <a:pt x="1564" y="2014"/>
                  </a:cubicBezTo>
                  <a:cubicBezTo>
                    <a:pt x="1564" y="2014"/>
                    <a:pt x="1564" y="2013"/>
                    <a:pt x="1564" y="2013"/>
                  </a:cubicBezTo>
                  <a:cubicBezTo>
                    <a:pt x="1564" y="2006"/>
                    <a:pt x="1568" y="2003"/>
                    <a:pt x="1574" y="2002"/>
                  </a:cubicBezTo>
                  <a:cubicBezTo>
                    <a:pt x="1574" y="2001"/>
                    <a:pt x="1574" y="2001"/>
                    <a:pt x="1574" y="2001"/>
                  </a:cubicBezTo>
                  <a:cubicBezTo>
                    <a:pt x="1574" y="2001"/>
                    <a:pt x="1575" y="2001"/>
                    <a:pt x="1575" y="2001"/>
                  </a:cubicBezTo>
                  <a:cubicBezTo>
                    <a:pt x="1575" y="2001"/>
                    <a:pt x="1576" y="2001"/>
                    <a:pt x="1576" y="2001"/>
                  </a:cubicBezTo>
                  <a:cubicBezTo>
                    <a:pt x="1579" y="2000"/>
                    <a:pt x="1581" y="2000"/>
                    <a:pt x="1585" y="2000"/>
                  </a:cubicBezTo>
                  <a:cubicBezTo>
                    <a:pt x="1621" y="2000"/>
                    <a:pt x="1621" y="2000"/>
                    <a:pt x="1621" y="2000"/>
                  </a:cubicBezTo>
                  <a:cubicBezTo>
                    <a:pt x="1627" y="2000"/>
                    <a:pt x="1633" y="2000"/>
                    <a:pt x="1639" y="2000"/>
                  </a:cubicBezTo>
                  <a:cubicBezTo>
                    <a:pt x="1639" y="2000"/>
                    <a:pt x="1639" y="2000"/>
                    <a:pt x="1639" y="2000"/>
                  </a:cubicBezTo>
                  <a:cubicBezTo>
                    <a:pt x="1639" y="2000"/>
                    <a:pt x="1640" y="2000"/>
                    <a:pt x="1640" y="2000"/>
                  </a:cubicBezTo>
                  <a:close/>
                  <a:moveTo>
                    <a:pt x="1617" y="1924"/>
                  </a:moveTo>
                  <a:cubicBezTo>
                    <a:pt x="1621" y="1930"/>
                    <a:pt x="1625" y="1937"/>
                    <a:pt x="1629" y="1943"/>
                  </a:cubicBezTo>
                  <a:cubicBezTo>
                    <a:pt x="1631" y="1946"/>
                    <a:pt x="1635" y="1950"/>
                    <a:pt x="1637" y="1955"/>
                  </a:cubicBezTo>
                  <a:cubicBezTo>
                    <a:pt x="1638" y="1956"/>
                    <a:pt x="1639" y="1958"/>
                    <a:pt x="1639" y="1960"/>
                  </a:cubicBezTo>
                  <a:cubicBezTo>
                    <a:pt x="1639" y="1961"/>
                    <a:pt x="1638" y="1962"/>
                    <a:pt x="1638" y="1963"/>
                  </a:cubicBezTo>
                  <a:cubicBezTo>
                    <a:pt x="1637" y="1964"/>
                    <a:pt x="1637" y="1964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6"/>
                    <a:pt x="1635" y="1966"/>
                    <a:pt x="1635" y="1966"/>
                  </a:cubicBezTo>
                  <a:cubicBezTo>
                    <a:pt x="1635" y="1966"/>
                    <a:pt x="1634" y="1967"/>
                    <a:pt x="1634" y="1967"/>
                  </a:cubicBezTo>
                  <a:cubicBezTo>
                    <a:pt x="1634" y="1967"/>
                    <a:pt x="1633" y="1967"/>
                    <a:pt x="1632" y="1968"/>
                  </a:cubicBezTo>
                  <a:cubicBezTo>
                    <a:pt x="1632" y="1968"/>
                    <a:pt x="1631" y="1968"/>
                    <a:pt x="1630" y="1969"/>
                  </a:cubicBezTo>
                  <a:cubicBezTo>
                    <a:pt x="1630" y="1969"/>
                    <a:pt x="1630" y="1969"/>
                    <a:pt x="1630" y="1969"/>
                  </a:cubicBezTo>
                  <a:cubicBezTo>
                    <a:pt x="1630" y="1969"/>
                    <a:pt x="1630" y="1969"/>
                    <a:pt x="1629" y="1969"/>
                  </a:cubicBezTo>
                  <a:cubicBezTo>
                    <a:pt x="1620" y="1972"/>
                    <a:pt x="1607" y="1970"/>
                    <a:pt x="1598" y="1970"/>
                  </a:cubicBezTo>
                  <a:cubicBezTo>
                    <a:pt x="1588" y="1970"/>
                    <a:pt x="1578" y="1970"/>
                    <a:pt x="1567" y="1970"/>
                  </a:cubicBezTo>
                  <a:cubicBezTo>
                    <a:pt x="1558" y="1970"/>
                    <a:pt x="1547" y="1968"/>
                    <a:pt x="1539" y="1962"/>
                  </a:cubicBezTo>
                  <a:cubicBezTo>
                    <a:pt x="1538" y="1962"/>
                    <a:pt x="1536" y="1961"/>
                    <a:pt x="1535" y="1960"/>
                  </a:cubicBezTo>
                  <a:cubicBezTo>
                    <a:pt x="1533" y="1958"/>
                    <a:pt x="1531" y="1956"/>
                    <a:pt x="1530" y="1954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4" y="1944"/>
                    <a:pt x="1520" y="1936"/>
                    <a:pt x="1515" y="1928"/>
                  </a:cubicBezTo>
                  <a:cubicBezTo>
                    <a:pt x="1513" y="1925"/>
                    <a:pt x="1513" y="1925"/>
                    <a:pt x="1513" y="1925"/>
                  </a:cubicBezTo>
                  <a:cubicBezTo>
                    <a:pt x="1512" y="1923"/>
                    <a:pt x="1512" y="1921"/>
                    <a:pt x="1512" y="1919"/>
                  </a:cubicBezTo>
                  <a:cubicBezTo>
                    <a:pt x="1512" y="1917"/>
                    <a:pt x="1513" y="1915"/>
                    <a:pt x="1515" y="1914"/>
                  </a:cubicBezTo>
                  <a:cubicBezTo>
                    <a:pt x="1517" y="1913"/>
                    <a:pt x="1519" y="1912"/>
                    <a:pt x="1522" y="1911"/>
                  </a:cubicBezTo>
                  <a:cubicBezTo>
                    <a:pt x="1524" y="1910"/>
                    <a:pt x="1528" y="1910"/>
                    <a:pt x="1531" y="1910"/>
                  </a:cubicBezTo>
                  <a:cubicBezTo>
                    <a:pt x="1532" y="1910"/>
                    <a:pt x="1532" y="1910"/>
                    <a:pt x="1532" y="1910"/>
                  </a:cubicBezTo>
                  <a:cubicBezTo>
                    <a:pt x="1540" y="1909"/>
                    <a:pt x="1548" y="1910"/>
                    <a:pt x="1553" y="1910"/>
                  </a:cubicBezTo>
                  <a:cubicBezTo>
                    <a:pt x="1573" y="1910"/>
                    <a:pt x="1604" y="1906"/>
                    <a:pt x="1617" y="1924"/>
                  </a:cubicBezTo>
                  <a:close/>
                  <a:moveTo>
                    <a:pt x="366" y="1441"/>
                  </a:moveTo>
                  <a:cubicBezTo>
                    <a:pt x="372" y="1443"/>
                    <a:pt x="377" y="1446"/>
                    <a:pt x="382" y="1448"/>
                  </a:cubicBezTo>
                  <a:cubicBezTo>
                    <a:pt x="392" y="1453"/>
                    <a:pt x="403" y="1458"/>
                    <a:pt x="413" y="1462"/>
                  </a:cubicBezTo>
                  <a:cubicBezTo>
                    <a:pt x="418" y="1464"/>
                    <a:pt x="422" y="1466"/>
                    <a:pt x="426" y="1468"/>
                  </a:cubicBezTo>
                  <a:cubicBezTo>
                    <a:pt x="430" y="1469"/>
                    <a:pt x="433" y="1470"/>
                    <a:pt x="437" y="1472"/>
                  </a:cubicBezTo>
                  <a:cubicBezTo>
                    <a:pt x="458" y="1479"/>
                    <a:pt x="479" y="1486"/>
                    <a:pt x="502" y="1492"/>
                  </a:cubicBezTo>
                  <a:cubicBezTo>
                    <a:pt x="527" y="1499"/>
                    <a:pt x="552" y="1505"/>
                    <a:pt x="578" y="1510"/>
                  </a:cubicBezTo>
                  <a:cubicBezTo>
                    <a:pt x="683" y="1532"/>
                    <a:pt x="786" y="1541"/>
                    <a:pt x="819" y="1542"/>
                  </a:cubicBezTo>
                  <a:cubicBezTo>
                    <a:pt x="819" y="1610"/>
                    <a:pt x="819" y="1610"/>
                    <a:pt x="819" y="1610"/>
                  </a:cubicBezTo>
                  <a:cubicBezTo>
                    <a:pt x="857" y="1570"/>
                    <a:pt x="857" y="1570"/>
                    <a:pt x="857" y="1570"/>
                  </a:cubicBezTo>
                  <a:cubicBezTo>
                    <a:pt x="906" y="1518"/>
                    <a:pt x="906" y="1518"/>
                    <a:pt x="906" y="1518"/>
                  </a:cubicBezTo>
                  <a:cubicBezTo>
                    <a:pt x="1019" y="1399"/>
                    <a:pt x="1019" y="1399"/>
                    <a:pt x="1019" y="1399"/>
                  </a:cubicBezTo>
                  <a:cubicBezTo>
                    <a:pt x="933" y="1308"/>
                    <a:pt x="933" y="1308"/>
                    <a:pt x="933" y="1308"/>
                  </a:cubicBezTo>
                  <a:cubicBezTo>
                    <a:pt x="819" y="1188"/>
                    <a:pt x="819" y="1188"/>
                    <a:pt x="819" y="1188"/>
                  </a:cubicBezTo>
                  <a:cubicBezTo>
                    <a:pt x="819" y="1271"/>
                    <a:pt x="819" y="1271"/>
                    <a:pt x="819" y="1271"/>
                  </a:cubicBezTo>
                  <a:cubicBezTo>
                    <a:pt x="740" y="1279"/>
                    <a:pt x="653" y="1266"/>
                    <a:pt x="578" y="1249"/>
                  </a:cubicBezTo>
                  <a:cubicBezTo>
                    <a:pt x="550" y="1242"/>
                    <a:pt x="525" y="1235"/>
                    <a:pt x="502" y="1229"/>
                  </a:cubicBezTo>
                  <a:cubicBezTo>
                    <a:pt x="471" y="1219"/>
                    <a:pt x="445" y="1211"/>
                    <a:pt x="426" y="1204"/>
                  </a:cubicBezTo>
                  <a:cubicBezTo>
                    <a:pt x="422" y="1202"/>
                    <a:pt x="418" y="1201"/>
                    <a:pt x="415" y="1199"/>
                  </a:cubicBezTo>
                  <a:cubicBezTo>
                    <a:pt x="414" y="1199"/>
                    <a:pt x="414" y="1199"/>
                    <a:pt x="413" y="1199"/>
                  </a:cubicBezTo>
                  <a:cubicBezTo>
                    <a:pt x="413" y="1199"/>
                    <a:pt x="413" y="1199"/>
                    <a:pt x="413" y="1199"/>
                  </a:cubicBezTo>
                  <a:cubicBezTo>
                    <a:pt x="354" y="1175"/>
                    <a:pt x="300" y="1147"/>
                    <a:pt x="253" y="1115"/>
                  </a:cubicBezTo>
                  <a:cubicBezTo>
                    <a:pt x="189" y="1073"/>
                    <a:pt x="142" y="1028"/>
                    <a:pt x="110" y="981"/>
                  </a:cubicBezTo>
                  <a:cubicBezTo>
                    <a:pt x="94" y="963"/>
                    <a:pt x="80" y="944"/>
                    <a:pt x="68" y="925"/>
                  </a:cubicBezTo>
                  <a:cubicBezTo>
                    <a:pt x="33" y="870"/>
                    <a:pt x="13" y="811"/>
                    <a:pt x="11" y="751"/>
                  </a:cubicBezTo>
                  <a:cubicBezTo>
                    <a:pt x="7" y="768"/>
                    <a:pt x="4" y="785"/>
                    <a:pt x="3" y="802"/>
                  </a:cubicBezTo>
                  <a:cubicBezTo>
                    <a:pt x="0" y="834"/>
                    <a:pt x="4" y="864"/>
                    <a:pt x="7" y="893"/>
                  </a:cubicBezTo>
                  <a:cubicBezTo>
                    <a:pt x="8" y="898"/>
                    <a:pt x="9" y="904"/>
                    <a:pt x="9" y="909"/>
                  </a:cubicBezTo>
                  <a:cubicBezTo>
                    <a:pt x="22" y="1021"/>
                    <a:pt x="22" y="1021"/>
                    <a:pt x="22" y="1021"/>
                  </a:cubicBezTo>
                  <a:cubicBezTo>
                    <a:pt x="23" y="1025"/>
                    <a:pt x="23" y="1029"/>
                    <a:pt x="24" y="1033"/>
                  </a:cubicBezTo>
                  <a:cubicBezTo>
                    <a:pt x="25" y="1048"/>
                    <a:pt x="27" y="1064"/>
                    <a:pt x="30" y="1080"/>
                  </a:cubicBezTo>
                  <a:cubicBezTo>
                    <a:pt x="34" y="1101"/>
                    <a:pt x="40" y="1121"/>
                    <a:pt x="47" y="1140"/>
                  </a:cubicBezTo>
                  <a:cubicBezTo>
                    <a:pt x="61" y="1175"/>
                    <a:pt x="80" y="1208"/>
                    <a:pt x="103" y="1239"/>
                  </a:cubicBezTo>
                  <a:cubicBezTo>
                    <a:pt x="146" y="1295"/>
                    <a:pt x="202" y="1344"/>
                    <a:pt x="275" y="1390"/>
                  </a:cubicBezTo>
                  <a:cubicBezTo>
                    <a:pt x="304" y="1409"/>
                    <a:pt x="335" y="1426"/>
                    <a:pt x="366" y="1441"/>
                  </a:cubicBezTo>
                  <a:close/>
                  <a:moveTo>
                    <a:pt x="64" y="773"/>
                  </a:moveTo>
                  <a:cubicBezTo>
                    <a:pt x="67" y="798"/>
                    <a:pt x="74" y="823"/>
                    <a:pt x="84" y="848"/>
                  </a:cubicBezTo>
                  <a:cubicBezTo>
                    <a:pt x="107" y="785"/>
                    <a:pt x="165" y="713"/>
                    <a:pt x="209" y="677"/>
                  </a:cubicBezTo>
                  <a:cubicBezTo>
                    <a:pt x="272" y="628"/>
                    <a:pt x="353" y="583"/>
                    <a:pt x="451" y="545"/>
                  </a:cubicBezTo>
                  <a:cubicBezTo>
                    <a:pt x="515" y="521"/>
                    <a:pt x="582" y="501"/>
                    <a:pt x="652" y="486"/>
                  </a:cubicBezTo>
                  <a:cubicBezTo>
                    <a:pt x="652" y="314"/>
                    <a:pt x="652" y="314"/>
                    <a:pt x="652" y="314"/>
                  </a:cubicBezTo>
                  <a:cubicBezTo>
                    <a:pt x="640" y="317"/>
                    <a:pt x="627" y="320"/>
                    <a:pt x="615" y="323"/>
                  </a:cubicBezTo>
                  <a:cubicBezTo>
                    <a:pt x="544" y="340"/>
                    <a:pt x="476" y="361"/>
                    <a:pt x="413" y="386"/>
                  </a:cubicBezTo>
                  <a:cubicBezTo>
                    <a:pt x="345" y="413"/>
                    <a:pt x="288" y="442"/>
                    <a:pt x="238" y="474"/>
                  </a:cubicBezTo>
                  <a:cubicBezTo>
                    <a:pt x="204" y="496"/>
                    <a:pt x="178" y="516"/>
                    <a:pt x="153" y="537"/>
                  </a:cubicBezTo>
                  <a:cubicBezTo>
                    <a:pt x="142" y="547"/>
                    <a:pt x="131" y="556"/>
                    <a:pt x="122" y="566"/>
                  </a:cubicBezTo>
                  <a:cubicBezTo>
                    <a:pt x="81" y="622"/>
                    <a:pt x="60" y="684"/>
                    <a:pt x="62" y="747"/>
                  </a:cubicBezTo>
                  <a:cubicBezTo>
                    <a:pt x="62" y="756"/>
                    <a:pt x="63" y="764"/>
                    <a:pt x="64" y="773"/>
                  </a:cubicBezTo>
                  <a:close/>
                  <a:moveTo>
                    <a:pt x="1928" y="693"/>
                  </a:moveTo>
                  <a:cubicBezTo>
                    <a:pt x="1966" y="727"/>
                    <a:pt x="2007" y="795"/>
                    <a:pt x="2021" y="856"/>
                  </a:cubicBezTo>
                  <a:cubicBezTo>
                    <a:pt x="2034" y="828"/>
                    <a:pt x="2042" y="798"/>
                    <a:pt x="2045" y="768"/>
                  </a:cubicBezTo>
                  <a:cubicBezTo>
                    <a:pt x="2046" y="761"/>
                    <a:pt x="2047" y="754"/>
                    <a:pt x="2047" y="747"/>
                  </a:cubicBezTo>
                  <a:cubicBezTo>
                    <a:pt x="2049" y="670"/>
                    <a:pt x="2018" y="595"/>
                    <a:pt x="1958" y="530"/>
                  </a:cubicBezTo>
                  <a:cubicBezTo>
                    <a:pt x="1924" y="501"/>
                    <a:pt x="1884" y="473"/>
                    <a:pt x="1839" y="447"/>
                  </a:cubicBezTo>
                  <a:cubicBezTo>
                    <a:pt x="1782" y="415"/>
                    <a:pt x="1718" y="387"/>
                    <a:pt x="1639" y="359"/>
                  </a:cubicBezTo>
                  <a:cubicBezTo>
                    <a:pt x="1584" y="340"/>
                    <a:pt x="1524" y="324"/>
                    <a:pt x="1457" y="310"/>
                  </a:cubicBezTo>
                  <a:cubicBezTo>
                    <a:pt x="1457" y="482"/>
                    <a:pt x="1457" y="482"/>
                    <a:pt x="1457" y="482"/>
                  </a:cubicBezTo>
                  <a:cubicBezTo>
                    <a:pt x="1542" y="500"/>
                    <a:pt x="1625" y="525"/>
                    <a:pt x="1700" y="556"/>
                  </a:cubicBezTo>
                  <a:cubicBezTo>
                    <a:pt x="1795" y="595"/>
                    <a:pt x="1871" y="642"/>
                    <a:pt x="1928" y="693"/>
                  </a:cubicBezTo>
                  <a:close/>
                  <a:moveTo>
                    <a:pt x="1054" y="814"/>
                  </a:moveTo>
                  <a:cubicBezTo>
                    <a:pt x="1186" y="814"/>
                    <a:pt x="1408" y="789"/>
                    <a:pt x="1408" y="696"/>
                  </a:cubicBezTo>
                  <a:cubicBezTo>
                    <a:pt x="1408" y="118"/>
                    <a:pt x="1408" y="118"/>
                    <a:pt x="1408" y="118"/>
                  </a:cubicBezTo>
                  <a:cubicBezTo>
                    <a:pt x="1408" y="25"/>
                    <a:pt x="1186" y="0"/>
                    <a:pt x="1054" y="0"/>
                  </a:cubicBezTo>
                  <a:cubicBezTo>
                    <a:pt x="923" y="0"/>
                    <a:pt x="701" y="25"/>
                    <a:pt x="701" y="118"/>
                  </a:cubicBezTo>
                  <a:cubicBezTo>
                    <a:pt x="701" y="696"/>
                    <a:pt x="701" y="696"/>
                    <a:pt x="701" y="696"/>
                  </a:cubicBezTo>
                  <a:cubicBezTo>
                    <a:pt x="701" y="789"/>
                    <a:pt x="923" y="814"/>
                    <a:pt x="1054" y="814"/>
                  </a:cubicBezTo>
                  <a:close/>
                  <a:moveTo>
                    <a:pt x="1054" y="35"/>
                  </a:moveTo>
                  <a:cubicBezTo>
                    <a:pt x="1219" y="35"/>
                    <a:pt x="1352" y="71"/>
                    <a:pt x="1352" y="116"/>
                  </a:cubicBezTo>
                  <a:cubicBezTo>
                    <a:pt x="1352" y="161"/>
                    <a:pt x="1219" y="197"/>
                    <a:pt x="1054" y="197"/>
                  </a:cubicBezTo>
                  <a:cubicBezTo>
                    <a:pt x="890" y="197"/>
                    <a:pt x="757" y="161"/>
                    <a:pt x="757" y="116"/>
                  </a:cubicBezTo>
                  <a:cubicBezTo>
                    <a:pt x="757" y="71"/>
                    <a:pt x="890" y="35"/>
                    <a:pt x="1054" y="3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83943" tIns="41972" rIns="83943" bIns="41972" numCol="1" anchor="t" anchorCtr="0" compatLnSpc="1">
              <a:prstTxWarp prst="textNoShape">
                <a:avLst/>
              </a:prstTxWarp>
            </a:bodyPr>
            <a:lstStyle/>
            <a:p>
              <a:pPr defTabSz="932391"/>
              <a:endParaRPr lang="en-US" sz="1400" dirty="0">
                <a:solidFill>
                  <a:srgbClr val="FFFFFF"/>
                </a:solidFill>
                <a:latin typeface="Segoe UI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6302660" y="1024788"/>
              <a:ext cx="349966" cy="2306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7" name="Freeform 855">
              <a:extLst>
                <a:ext uri="{FF2B5EF4-FFF2-40B4-BE49-F238E27FC236}">
                  <a16:creationId xmlns:a16="http://schemas.microsoft.com/office/drawing/2014/main" id="{C63CE70D-9F5C-421F-A7FC-04A333FA5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9640" y="1096895"/>
              <a:ext cx="190087" cy="143937"/>
            </a:xfrm>
            <a:custGeom>
              <a:avLst/>
              <a:gdLst>
                <a:gd name="T0" fmla="*/ 84 w 174"/>
                <a:gd name="T1" fmla="*/ 78 h 122"/>
                <a:gd name="T2" fmla="*/ 49 w 174"/>
                <a:gd name="T3" fmla="*/ 42 h 122"/>
                <a:gd name="T4" fmla="*/ 26 w 174"/>
                <a:gd name="T5" fmla="*/ 85 h 122"/>
                <a:gd name="T6" fmla="*/ 26 w 174"/>
                <a:gd name="T7" fmla="*/ 97 h 122"/>
                <a:gd name="T8" fmla="*/ 142 w 174"/>
                <a:gd name="T9" fmla="*/ 97 h 122"/>
                <a:gd name="T10" fmla="*/ 96 w 174"/>
                <a:gd name="T11" fmla="*/ 57 h 122"/>
                <a:gd name="T12" fmla="*/ 84 w 174"/>
                <a:gd name="T13" fmla="*/ 78 h 122"/>
                <a:gd name="T14" fmla="*/ 124 w 174"/>
                <a:gd name="T15" fmla="*/ 51 h 122"/>
                <a:gd name="T16" fmla="*/ 135 w 174"/>
                <a:gd name="T17" fmla="*/ 39 h 122"/>
                <a:gd name="T18" fmla="*/ 124 w 174"/>
                <a:gd name="T19" fmla="*/ 28 h 122"/>
                <a:gd name="T20" fmla="*/ 112 w 174"/>
                <a:gd name="T21" fmla="*/ 39 h 122"/>
                <a:gd name="T22" fmla="*/ 124 w 174"/>
                <a:gd name="T23" fmla="*/ 51 h 122"/>
                <a:gd name="T24" fmla="*/ 0 w 174"/>
                <a:gd name="T25" fmla="*/ 0 h 122"/>
                <a:gd name="T26" fmla="*/ 0 w 174"/>
                <a:gd name="T27" fmla="*/ 122 h 122"/>
                <a:gd name="T28" fmla="*/ 174 w 174"/>
                <a:gd name="T29" fmla="*/ 122 h 122"/>
                <a:gd name="T30" fmla="*/ 174 w 174"/>
                <a:gd name="T31" fmla="*/ 0 h 122"/>
                <a:gd name="T32" fmla="*/ 0 w 174"/>
                <a:gd name="T33" fmla="*/ 0 h 122"/>
                <a:gd name="T34" fmla="*/ 158 w 174"/>
                <a:gd name="T35" fmla="*/ 107 h 122"/>
                <a:gd name="T36" fmla="*/ 16 w 174"/>
                <a:gd name="T37" fmla="*/ 107 h 122"/>
                <a:gd name="T38" fmla="*/ 16 w 174"/>
                <a:gd name="T39" fmla="*/ 16 h 122"/>
                <a:gd name="T40" fmla="*/ 158 w 174"/>
                <a:gd name="T41" fmla="*/ 16 h 122"/>
                <a:gd name="T42" fmla="*/ 158 w 174"/>
                <a:gd name="T43" fmla="*/ 16 h 122"/>
                <a:gd name="T44" fmla="*/ 158 w 174"/>
                <a:gd name="T45" fmla="*/ 16 h 122"/>
                <a:gd name="T46" fmla="*/ 158 w 174"/>
                <a:gd name="T47" fmla="*/ 10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4" h="122">
                  <a:moveTo>
                    <a:pt x="84" y="78"/>
                  </a:moveTo>
                  <a:cubicBezTo>
                    <a:pt x="49" y="42"/>
                    <a:pt x="49" y="42"/>
                    <a:pt x="49" y="42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27" y="84"/>
                    <a:pt x="96" y="57"/>
                    <a:pt x="96" y="57"/>
                  </a:cubicBezTo>
                  <a:lnTo>
                    <a:pt x="84" y="78"/>
                  </a:lnTo>
                  <a:close/>
                  <a:moveTo>
                    <a:pt x="124" y="51"/>
                  </a:moveTo>
                  <a:cubicBezTo>
                    <a:pt x="130" y="51"/>
                    <a:pt x="135" y="46"/>
                    <a:pt x="135" y="39"/>
                  </a:cubicBezTo>
                  <a:cubicBezTo>
                    <a:pt x="135" y="33"/>
                    <a:pt x="130" y="28"/>
                    <a:pt x="124" y="28"/>
                  </a:cubicBezTo>
                  <a:cubicBezTo>
                    <a:pt x="117" y="28"/>
                    <a:pt x="112" y="33"/>
                    <a:pt x="112" y="39"/>
                  </a:cubicBezTo>
                  <a:cubicBezTo>
                    <a:pt x="112" y="46"/>
                    <a:pt x="117" y="51"/>
                    <a:pt x="124" y="51"/>
                  </a:cubicBezTo>
                  <a:close/>
                  <a:moveTo>
                    <a:pt x="0" y="0"/>
                  </a:moveTo>
                  <a:cubicBezTo>
                    <a:pt x="0" y="122"/>
                    <a:pt x="0" y="122"/>
                    <a:pt x="0" y="122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0"/>
                    <a:pt x="174" y="0"/>
                    <a:pt x="174" y="0"/>
                  </a:cubicBezTo>
                  <a:lnTo>
                    <a:pt x="0" y="0"/>
                  </a:lnTo>
                  <a:close/>
                  <a:moveTo>
                    <a:pt x="158" y="107"/>
                  </a:moveTo>
                  <a:cubicBezTo>
                    <a:pt x="16" y="107"/>
                    <a:pt x="16" y="107"/>
                    <a:pt x="16" y="10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8" y="16"/>
                    <a:pt x="158" y="16"/>
                    <a:pt x="158" y="16"/>
                  </a:cubicBezTo>
                  <a:cubicBezTo>
                    <a:pt x="158" y="16"/>
                    <a:pt x="158" y="16"/>
                    <a:pt x="158" y="16"/>
                  </a:cubicBezTo>
                  <a:cubicBezTo>
                    <a:pt x="158" y="16"/>
                    <a:pt x="158" y="16"/>
                    <a:pt x="158" y="16"/>
                  </a:cubicBezTo>
                  <a:lnTo>
                    <a:pt x="158" y="10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9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endParaRPr>
            </a:p>
          </p:txBody>
        </p:sp>
      </p:grpSp>
      <p:sp>
        <p:nvSpPr>
          <p:cNvPr id="15" name="矩形 14"/>
          <p:cNvSpPr/>
          <p:nvPr/>
        </p:nvSpPr>
        <p:spPr>
          <a:xfrm>
            <a:off x="2049449" y="2322119"/>
            <a:ext cx="30970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代替家长批阅</a:t>
            </a:r>
            <a:r>
              <a:rPr lang="zh-CN" altLang="en-US" sz="2400" b="1" dirty="0">
                <a:solidFill>
                  <a:srgbClr val="FF0000"/>
                </a:solidFill>
                <a:latin typeface="+mn-ea"/>
              </a:rPr>
              <a:t>学生作业</a:t>
            </a:r>
          </a:p>
        </p:txBody>
      </p:sp>
      <p:sp>
        <p:nvSpPr>
          <p:cNvPr id="17" name="矩形 16"/>
          <p:cNvSpPr/>
          <p:nvPr/>
        </p:nvSpPr>
        <p:spPr>
          <a:xfrm>
            <a:off x="5488952" y="2383272"/>
            <a:ext cx="51523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并将作业数据               反馈给老师              家长            </a:t>
            </a:r>
          </a:p>
        </p:txBody>
      </p:sp>
      <p:sp>
        <p:nvSpPr>
          <p:cNvPr id="187" name="Freeform 14"/>
          <p:cNvSpPr>
            <a:spLocks noEditPoints="1"/>
          </p:cNvSpPr>
          <p:nvPr/>
        </p:nvSpPr>
        <p:spPr bwMode="black">
          <a:xfrm rot="900000">
            <a:off x="4860715" y="2291198"/>
            <a:ext cx="571005" cy="70027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82275" tIns="41138" rIns="82275" bIns="4113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>
              <a:solidFill>
                <a:srgbClr val="FFFFFF"/>
              </a:solidFill>
              <a:latin typeface="Segoe UI"/>
            </a:endParaRPr>
          </a:p>
        </p:txBody>
      </p:sp>
      <p:grpSp>
        <p:nvGrpSpPr>
          <p:cNvPr id="30" name="组合 29"/>
          <p:cNvGrpSpPr/>
          <p:nvPr/>
        </p:nvGrpSpPr>
        <p:grpSpPr>
          <a:xfrm>
            <a:off x="6927487" y="2270771"/>
            <a:ext cx="523980" cy="746784"/>
            <a:chOff x="5949123" y="2289065"/>
            <a:chExt cx="523980" cy="746784"/>
          </a:xfrm>
        </p:grpSpPr>
        <p:sp>
          <p:nvSpPr>
            <p:cNvPr id="206" name="Rectangle 92166"/>
            <p:cNvSpPr/>
            <p:nvPr>
              <p:custDataLst>
                <p:tags r:id="rId1"/>
              </p:custDataLst>
            </p:nvPr>
          </p:nvSpPr>
          <p:spPr bwMode="auto">
            <a:xfrm rot="758781" flipV="1">
              <a:off x="5969103" y="2351849"/>
              <a:ext cx="504000" cy="684000"/>
            </a:xfrm>
            <a:custGeom>
              <a:avLst/>
              <a:gdLst/>
              <a:ahLst/>
              <a:cxnLst/>
              <a:rect l="l" t="t" r="r" b="b"/>
              <a:pathLst>
                <a:path w="822103" h="1128292">
                  <a:moveTo>
                    <a:pt x="698119" y="563492"/>
                  </a:moveTo>
                  <a:lnTo>
                    <a:pt x="370918" y="284334"/>
                  </a:lnTo>
                  <a:lnTo>
                    <a:pt x="280941" y="205737"/>
                  </a:lnTo>
                  <a:lnTo>
                    <a:pt x="128851" y="379847"/>
                  </a:lnTo>
                  <a:lnTo>
                    <a:pt x="56929" y="317022"/>
                  </a:lnTo>
                  <a:lnTo>
                    <a:pt x="264169" y="79779"/>
                  </a:lnTo>
                  <a:cubicBezTo>
                    <a:pt x="269372" y="74505"/>
                    <a:pt x="274695" y="68970"/>
                    <a:pt x="280207" y="63224"/>
                  </a:cubicBezTo>
                  <a:lnTo>
                    <a:pt x="765173" y="487802"/>
                  </a:lnTo>
                  <a:lnTo>
                    <a:pt x="702684" y="559339"/>
                  </a:lnTo>
                  <a:close/>
                  <a:moveTo>
                    <a:pt x="574455" y="1110341"/>
                  </a:moveTo>
                  <a:lnTo>
                    <a:pt x="574455" y="823073"/>
                  </a:lnTo>
                  <a:lnTo>
                    <a:pt x="803055" y="823073"/>
                  </a:lnTo>
                  <a:close/>
                  <a:moveTo>
                    <a:pt x="0" y="1128292"/>
                  </a:moveTo>
                  <a:lnTo>
                    <a:pt x="593503" y="1128292"/>
                  </a:lnTo>
                  <a:lnTo>
                    <a:pt x="822103" y="841025"/>
                  </a:lnTo>
                  <a:lnTo>
                    <a:pt x="822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 w="19050" cap="flat" cmpd="sng" algn="ctr">
              <a:noFill/>
              <a:prstDash val="solid"/>
            </a:ln>
            <a:effectLst/>
          </p:spPr>
          <p:txBody>
            <a:bodyPr lIns="91406" tIns="45702" rIns="91406" bIns="45702" rtlCol="0" anchor="ctr"/>
            <a:lstStyle/>
            <a:p>
              <a:pPr marL="0" marR="0" lvl="0" indent="0" algn="ctr" defTabSz="932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5949123" y="2289065"/>
              <a:ext cx="41549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方正静蕾简体" panose="02000000000000000000" pitchFamily="2" charset="-122"/>
                  <a:ea typeface="方正静蕾简体" panose="02000000000000000000" pitchFamily="2" charset="-122"/>
                </a:rPr>
                <a:t>100</a:t>
              </a:r>
              <a:endParaRPr lang="zh-CN" altLang="en-US" dirty="0">
                <a:solidFill>
                  <a:schemeClr val="bg1"/>
                </a:solidFill>
                <a:latin typeface="方正静蕾简体" panose="02000000000000000000" pitchFamily="2" charset="-122"/>
                <a:ea typeface="方正静蕾简体" panose="02000000000000000000" pitchFamily="2" charset="-122"/>
              </a:endParaRPr>
            </a:p>
          </p:txBody>
        </p:sp>
      </p:grpSp>
      <p:grpSp>
        <p:nvGrpSpPr>
          <p:cNvPr id="207" name="组合 206">
            <a:extLst>
              <a:ext uri="{FF2B5EF4-FFF2-40B4-BE49-F238E27FC236}">
                <a16:creationId xmlns:a16="http://schemas.microsoft.com/office/drawing/2014/main" id="{DBEE300A-83D2-4881-86C7-545E08762D0A}"/>
              </a:ext>
            </a:extLst>
          </p:cNvPr>
          <p:cNvGrpSpPr/>
          <p:nvPr/>
        </p:nvGrpSpPr>
        <p:grpSpPr>
          <a:xfrm>
            <a:off x="8692972" y="2225114"/>
            <a:ext cx="673586" cy="871970"/>
            <a:chOff x="2811344" y="3011358"/>
            <a:chExt cx="894351" cy="1157755"/>
          </a:xfrm>
        </p:grpSpPr>
        <p:sp>
          <p:nvSpPr>
            <p:cNvPr id="208" name="Freeform 735">
              <a:extLst>
                <a:ext uri="{FF2B5EF4-FFF2-40B4-BE49-F238E27FC236}">
                  <a16:creationId xmlns:a16="http://schemas.microsoft.com/office/drawing/2014/main" id="{BC473D3F-BD5F-4AAE-B430-1E94C577F3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11344" y="3011358"/>
              <a:ext cx="894351" cy="1118645"/>
            </a:xfrm>
            <a:custGeom>
              <a:avLst/>
              <a:gdLst>
                <a:gd name="T0" fmla="*/ 798 w 803"/>
                <a:gd name="T1" fmla="*/ 628 h 1005"/>
                <a:gd name="T2" fmla="*/ 724 w 803"/>
                <a:gd name="T3" fmla="*/ 615 h 1005"/>
                <a:gd name="T4" fmla="*/ 749 w 803"/>
                <a:gd name="T5" fmla="*/ 578 h 1005"/>
                <a:gd name="T6" fmla="*/ 705 w 803"/>
                <a:gd name="T7" fmla="*/ 513 h 1005"/>
                <a:gd name="T8" fmla="*/ 401 w 803"/>
                <a:gd name="T9" fmla="*/ 0 h 1005"/>
                <a:gd name="T10" fmla="*/ 97 w 803"/>
                <a:gd name="T11" fmla="*/ 513 h 1005"/>
                <a:gd name="T12" fmla="*/ 53 w 803"/>
                <a:gd name="T13" fmla="*/ 578 h 1005"/>
                <a:gd name="T14" fmla="*/ 79 w 803"/>
                <a:gd name="T15" fmla="*/ 615 h 1005"/>
                <a:gd name="T16" fmla="*/ 5 w 803"/>
                <a:gd name="T17" fmla="*/ 628 h 1005"/>
                <a:gd name="T18" fmla="*/ 83 w 803"/>
                <a:gd name="T19" fmla="*/ 767 h 1005"/>
                <a:gd name="T20" fmla="*/ 47 w 803"/>
                <a:gd name="T21" fmla="*/ 772 h 1005"/>
                <a:gd name="T22" fmla="*/ 204 w 803"/>
                <a:gd name="T23" fmla="*/ 937 h 1005"/>
                <a:gd name="T24" fmla="*/ 166 w 803"/>
                <a:gd name="T25" fmla="*/ 961 h 1005"/>
                <a:gd name="T26" fmla="*/ 190 w 803"/>
                <a:gd name="T27" fmla="*/ 1005 h 1005"/>
                <a:gd name="T28" fmla="*/ 613 w 803"/>
                <a:gd name="T29" fmla="*/ 1005 h 1005"/>
                <a:gd name="T30" fmla="*/ 637 w 803"/>
                <a:gd name="T31" fmla="*/ 961 h 1005"/>
                <a:gd name="T32" fmla="*/ 598 w 803"/>
                <a:gd name="T33" fmla="*/ 937 h 1005"/>
                <a:gd name="T34" fmla="*/ 755 w 803"/>
                <a:gd name="T35" fmla="*/ 772 h 1005"/>
                <a:gd name="T36" fmla="*/ 719 w 803"/>
                <a:gd name="T37" fmla="*/ 767 h 1005"/>
                <a:gd name="T38" fmla="*/ 798 w 803"/>
                <a:gd name="T39" fmla="*/ 628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3" h="1005">
                  <a:moveTo>
                    <a:pt x="798" y="628"/>
                  </a:moveTo>
                  <a:cubicBezTo>
                    <a:pt x="798" y="628"/>
                    <a:pt x="743" y="641"/>
                    <a:pt x="724" y="615"/>
                  </a:cubicBezTo>
                  <a:cubicBezTo>
                    <a:pt x="724" y="615"/>
                    <a:pt x="750" y="609"/>
                    <a:pt x="749" y="578"/>
                  </a:cubicBezTo>
                  <a:cubicBezTo>
                    <a:pt x="749" y="578"/>
                    <a:pt x="706" y="576"/>
                    <a:pt x="705" y="513"/>
                  </a:cubicBezTo>
                  <a:cubicBezTo>
                    <a:pt x="704" y="449"/>
                    <a:pt x="772" y="0"/>
                    <a:pt x="401" y="0"/>
                  </a:cubicBezTo>
                  <a:cubicBezTo>
                    <a:pt x="30" y="0"/>
                    <a:pt x="98" y="449"/>
                    <a:pt x="97" y="513"/>
                  </a:cubicBezTo>
                  <a:cubicBezTo>
                    <a:pt x="97" y="576"/>
                    <a:pt x="53" y="578"/>
                    <a:pt x="53" y="578"/>
                  </a:cubicBezTo>
                  <a:cubicBezTo>
                    <a:pt x="52" y="609"/>
                    <a:pt x="79" y="615"/>
                    <a:pt x="79" y="615"/>
                  </a:cubicBezTo>
                  <a:cubicBezTo>
                    <a:pt x="60" y="641"/>
                    <a:pt x="5" y="628"/>
                    <a:pt x="5" y="628"/>
                  </a:cubicBezTo>
                  <a:cubicBezTo>
                    <a:pt x="0" y="710"/>
                    <a:pt x="83" y="767"/>
                    <a:pt x="83" y="767"/>
                  </a:cubicBezTo>
                  <a:cubicBezTo>
                    <a:pt x="70" y="779"/>
                    <a:pt x="47" y="772"/>
                    <a:pt x="47" y="772"/>
                  </a:cubicBezTo>
                  <a:cubicBezTo>
                    <a:pt x="50" y="903"/>
                    <a:pt x="204" y="937"/>
                    <a:pt x="204" y="937"/>
                  </a:cubicBezTo>
                  <a:cubicBezTo>
                    <a:pt x="195" y="961"/>
                    <a:pt x="166" y="961"/>
                    <a:pt x="166" y="961"/>
                  </a:cubicBezTo>
                  <a:cubicBezTo>
                    <a:pt x="172" y="978"/>
                    <a:pt x="180" y="993"/>
                    <a:pt x="190" y="1005"/>
                  </a:cubicBezTo>
                  <a:cubicBezTo>
                    <a:pt x="613" y="1005"/>
                    <a:pt x="613" y="1005"/>
                    <a:pt x="613" y="1005"/>
                  </a:cubicBezTo>
                  <a:cubicBezTo>
                    <a:pt x="622" y="993"/>
                    <a:pt x="631" y="978"/>
                    <a:pt x="637" y="961"/>
                  </a:cubicBezTo>
                  <a:cubicBezTo>
                    <a:pt x="637" y="961"/>
                    <a:pt x="608" y="961"/>
                    <a:pt x="598" y="937"/>
                  </a:cubicBezTo>
                  <a:cubicBezTo>
                    <a:pt x="598" y="937"/>
                    <a:pt x="753" y="903"/>
                    <a:pt x="755" y="772"/>
                  </a:cubicBezTo>
                  <a:cubicBezTo>
                    <a:pt x="755" y="772"/>
                    <a:pt x="733" y="779"/>
                    <a:pt x="719" y="767"/>
                  </a:cubicBezTo>
                  <a:cubicBezTo>
                    <a:pt x="719" y="767"/>
                    <a:pt x="803" y="710"/>
                    <a:pt x="798" y="628"/>
                  </a:cubicBez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" name="Freeform 736">
              <a:extLst>
                <a:ext uri="{FF2B5EF4-FFF2-40B4-BE49-F238E27FC236}">
                  <a16:creationId xmlns:a16="http://schemas.microsoft.com/office/drawing/2014/main" id="{73449910-00E5-4943-816A-B2533F6A0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14331" y="4130003"/>
              <a:ext cx="292620" cy="39110"/>
            </a:xfrm>
            <a:custGeom>
              <a:avLst/>
              <a:gdLst>
                <a:gd name="T0" fmla="*/ 621 w 621"/>
                <a:gd name="T1" fmla="*/ 83 h 83"/>
                <a:gd name="T2" fmla="*/ 621 w 621"/>
                <a:gd name="T3" fmla="*/ 3 h 83"/>
                <a:gd name="T4" fmla="*/ 4 w 621"/>
                <a:gd name="T5" fmla="*/ 0 h 83"/>
                <a:gd name="T6" fmla="*/ 0 w 621"/>
                <a:gd name="T7" fmla="*/ 83 h 83"/>
                <a:gd name="T8" fmla="*/ 621 w 62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1" h="83">
                  <a:moveTo>
                    <a:pt x="621" y="83"/>
                  </a:moveTo>
                  <a:lnTo>
                    <a:pt x="621" y="3"/>
                  </a:lnTo>
                  <a:lnTo>
                    <a:pt x="4" y="0"/>
                  </a:lnTo>
                  <a:lnTo>
                    <a:pt x="0" y="83"/>
                  </a:lnTo>
                  <a:lnTo>
                    <a:pt x="621" y="83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" name="Freeform 737">
              <a:extLst>
                <a:ext uri="{FF2B5EF4-FFF2-40B4-BE49-F238E27FC236}">
                  <a16:creationId xmlns:a16="http://schemas.microsoft.com/office/drawing/2014/main" id="{7027F615-796B-4304-93F8-2C4A19ABF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59098" y="3731834"/>
              <a:ext cx="205916" cy="409478"/>
            </a:xfrm>
            <a:custGeom>
              <a:avLst/>
              <a:gdLst>
                <a:gd name="T0" fmla="*/ 437 w 437"/>
                <a:gd name="T1" fmla="*/ 869 h 869"/>
                <a:gd name="T2" fmla="*/ 3 w 437"/>
                <a:gd name="T3" fmla="*/ 869 h 869"/>
                <a:gd name="T4" fmla="*/ 0 w 437"/>
                <a:gd name="T5" fmla="*/ 28 h 869"/>
                <a:gd name="T6" fmla="*/ 50 w 437"/>
                <a:gd name="T7" fmla="*/ 0 h 869"/>
                <a:gd name="T8" fmla="*/ 376 w 437"/>
                <a:gd name="T9" fmla="*/ 0 h 869"/>
                <a:gd name="T10" fmla="*/ 435 w 437"/>
                <a:gd name="T11" fmla="*/ 30 h 869"/>
                <a:gd name="T12" fmla="*/ 437 w 437"/>
                <a:gd name="T13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7" h="869">
                  <a:moveTo>
                    <a:pt x="437" y="869"/>
                  </a:moveTo>
                  <a:lnTo>
                    <a:pt x="3" y="869"/>
                  </a:lnTo>
                  <a:lnTo>
                    <a:pt x="0" y="28"/>
                  </a:lnTo>
                  <a:lnTo>
                    <a:pt x="50" y="0"/>
                  </a:lnTo>
                  <a:lnTo>
                    <a:pt x="376" y="0"/>
                  </a:lnTo>
                  <a:lnTo>
                    <a:pt x="435" y="30"/>
                  </a:lnTo>
                  <a:lnTo>
                    <a:pt x="437" y="869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" name="Freeform 738">
              <a:extLst>
                <a:ext uri="{FF2B5EF4-FFF2-40B4-BE49-F238E27FC236}">
                  <a16:creationId xmlns:a16="http://schemas.microsoft.com/office/drawing/2014/main" id="{87DF4E96-6A31-4F8F-B48C-7E0273702F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33545" y="3742672"/>
              <a:ext cx="56546" cy="36753"/>
            </a:xfrm>
            <a:custGeom>
              <a:avLst/>
              <a:gdLst>
                <a:gd name="T0" fmla="*/ 42 w 51"/>
                <a:gd name="T1" fmla="*/ 33 h 33"/>
                <a:gd name="T2" fmla="*/ 9 w 51"/>
                <a:gd name="T3" fmla="*/ 33 h 33"/>
                <a:gd name="T4" fmla="*/ 0 w 51"/>
                <a:gd name="T5" fmla="*/ 24 h 33"/>
                <a:gd name="T6" fmla="*/ 0 w 51"/>
                <a:gd name="T7" fmla="*/ 9 h 33"/>
                <a:gd name="T8" fmla="*/ 9 w 51"/>
                <a:gd name="T9" fmla="*/ 0 h 33"/>
                <a:gd name="T10" fmla="*/ 42 w 51"/>
                <a:gd name="T11" fmla="*/ 0 h 33"/>
                <a:gd name="T12" fmla="*/ 51 w 51"/>
                <a:gd name="T13" fmla="*/ 9 h 33"/>
                <a:gd name="T14" fmla="*/ 51 w 51"/>
                <a:gd name="T15" fmla="*/ 24 h 33"/>
                <a:gd name="T16" fmla="*/ 42 w 51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3">
                  <a:moveTo>
                    <a:pt x="42" y="33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4" y="33"/>
                    <a:pt x="0" y="29"/>
                    <a:pt x="0" y="2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7" y="0"/>
                    <a:pt x="51" y="4"/>
                    <a:pt x="51" y="9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9"/>
                    <a:pt x="47" y="33"/>
                    <a:pt x="42" y="33"/>
                  </a:cubicBezTo>
                  <a:close/>
                </a:path>
              </a:pathLst>
            </a:custGeom>
            <a:solidFill>
              <a:srgbClr val="BA8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" name="Freeform 739">
              <a:extLst>
                <a:ext uri="{FF2B5EF4-FFF2-40B4-BE49-F238E27FC236}">
                  <a16:creationId xmlns:a16="http://schemas.microsoft.com/office/drawing/2014/main" id="{C6D8C158-E0C5-4D9D-8143-586A9C43C8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96794" y="3761518"/>
              <a:ext cx="130052" cy="404295"/>
            </a:xfrm>
            <a:custGeom>
              <a:avLst/>
              <a:gdLst>
                <a:gd name="T0" fmla="*/ 48 w 117"/>
                <a:gd name="T1" fmla="*/ 0 h 363"/>
                <a:gd name="T2" fmla="*/ 71 w 117"/>
                <a:gd name="T3" fmla="*/ 0 h 363"/>
                <a:gd name="T4" fmla="*/ 117 w 117"/>
                <a:gd name="T5" fmla="*/ 295 h 363"/>
                <a:gd name="T6" fmla="*/ 59 w 117"/>
                <a:gd name="T7" fmla="*/ 363 h 363"/>
                <a:gd name="T8" fmla="*/ 0 w 117"/>
                <a:gd name="T9" fmla="*/ 294 h 363"/>
                <a:gd name="T10" fmla="*/ 48 w 117"/>
                <a:gd name="T1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363">
                  <a:moveTo>
                    <a:pt x="48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117" y="295"/>
                    <a:pt x="117" y="295"/>
                    <a:pt x="117" y="295"/>
                  </a:cubicBezTo>
                  <a:cubicBezTo>
                    <a:pt x="117" y="295"/>
                    <a:pt x="73" y="363"/>
                    <a:pt x="59" y="363"/>
                  </a:cubicBezTo>
                  <a:cubicBezTo>
                    <a:pt x="44" y="363"/>
                    <a:pt x="0" y="294"/>
                    <a:pt x="0" y="294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BA8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" name="Freeform 740">
              <a:extLst>
                <a:ext uri="{FF2B5EF4-FFF2-40B4-BE49-F238E27FC236}">
                  <a16:creationId xmlns:a16="http://schemas.microsoft.com/office/drawing/2014/main" id="{BA4D33FA-C260-413A-BBF6-24E24C9B3E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21032" y="4086652"/>
              <a:ext cx="76807" cy="82461"/>
            </a:xfrm>
            <a:custGeom>
              <a:avLst/>
              <a:gdLst>
                <a:gd name="T0" fmla="*/ 5 w 69"/>
                <a:gd name="T1" fmla="*/ 14 h 74"/>
                <a:gd name="T2" fmla="*/ 0 w 69"/>
                <a:gd name="T3" fmla="*/ 74 h 74"/>
                <a:gd name="T4" fmla="*/ 64 w 69"/>
                <a:gd name="T5" fmla="*/ 74 h 74"/>
                <a:gd name="T6" fmla="*/ 62 w 69"/>
                <a:gd name="T7" fmla="*/ 0 h 74"/>
                <a:gd name="T8" fmla="*/ 5 w 69"/>
                <a:gd name="T9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4">
                  <a:moveTo>
                    <a:pt x="5" y="14"/>
                  </a:moveTo>
                  <a:cubicBezTo>
                    <a:pt x="1" y="31"/>
                    <a:pt x="0" y="55"/>
                    <a:pt x="0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9" y="39"/>
                    <a:pt x="62" y="0"/>
                    <a:pt x="62" y="0"/>
                  </a:cubicBezTo>
                  <a:lnTo>
                    <a:pt x="5" y="14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" name="Freeform 741">
              <a:extLst>
                <a:ext uri="{FF2B5EF4-FFF2-40B4-BE49-F238E27FC236}">
                  <a16:creationId xmlns:a16="http://schemas.microsoft.com/office/drawing/2014/main" id="{41BF93AF-61B7-4ED0-BA93-24063668138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26269" y="4086652"/>
              <a:ext cx="77750" cy="82461"/>
            </a:xfrm>
            <a:custGeom>
              <a:avLst/>
              <a:gdLst>
                <a:gd name="T0" fmla="*/ 7 w 70"/>
                <a:gd name="T1" fmla="*/ 0 h 74"/>
                <a:gd name="T2" fmla="*/ 5 w 70"/>
                <a:gd name="T3" fmla="*/ 74 h 74"/>
                <a:gd name="T4" fmla="*/ 69 w 70"/>
                <a:gd name="T5" fmla="*/ 74 h 74"/>
                <a:gd name="T6" fmla="*/ 65 w 70"/>
                <a:gd name="T7" fmla="*/ 14 h 74"/>
                <a:gd name="T8" fmla="*/ 7 w 70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4">
                  <a:moveTo>
                    <a:pt x="7" y="0"/>
                  </a:moveTo>
                  <a:cubicBezTo>
                    <a:pt x="7" y="0"/>
                    <a:pt x="0" y="39"/>
                    <a:pt x="5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70" y="55"/>
                    <a:pt x="69" y="31"/>
                    <a:pt x="65" y="14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5" name="Freeform 742">
              <a:extLst>
                <a:ext uri="{FF2B5EF4-FFF2-40B4-BE49-F238E27FC236}">
                  <a16:creationId xmlns:a16="http://schemas.microsoft.com/office/drawing/2014/main" id="{2DB01581-1E56-4C6F-842E-9605BFA07F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73599" y="3731834"/>
              <a:ext cx="224766" cy="437279"/>
            </a:xfrm>
            <a:custGeom>
              <a:avLst/>
              <a:gdLst>
                <a:gd name="T0" fmla="*/ 149 w 202"/>
                <a:gd name="T1" fmla="*/ 0 h 393"/>
                <a:gd name="T2" fmla="*/ 85 w 202"/>
                <a:gd name="T3" fmla="*/ 20 h 393"/>
                <a:gd name="T4" fmla="*/ 0 w 202"/>
                <a:gd name="T5" fmla="*/ 324 h 393"/>
                <a:gd name="T6" fmla="*/ 55 w 202"/>
                <a:gd name="T7" fmla="*/ 341 h 393"/>
                <a:gd name="T8" fmla="*/ 51 w 202"/>
                <a:gd name="T9" fmla="*/ 393 h 393"/>
                <a:gd name="T10" fmla="*/ 112 w 202"/>
                <a:gd name="T11" fmla="*/ 393 h 393"/>
                <a:gd name="T12" fmla="*/ 201 w 202"/>
                <a:gd name="T13" fmla="*/ 221 h 393"/>
                <a:gd name="T14" fmla="*/ 155 w 202"/>
                <a:gd name="T15" fmla="*/ 6 h 393"/>
                <a:gd name="T16" fmla="*/ 149 w 202"/>
                <a:gd name="T17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2" h="393">
                  <a:moveTo>
                    <a:pt x="149" y="0"/>
                  </a:moveTo>
                  <a:cubicBezTo>
                    <a:pt x="125" y="3"/>
                    <a:pt x="97" y="8"/>
                    <a:pt x="85" y="20"/>
                  </a:cubicBezTo>
                  <a:cubicBezTo>
                    <a:pt x="62" y="44"/>
                    <a:pt x="0" y="291"/>
                    <a:pt x="0" y="324"/>
                  </a:cubicBezTo>
                  <a:cubicBezTo>
                    <a:pt x="0" y="324"/>
                    <a:pt x="32" y="342"/>
                    <a:pt x="55" y="341"/>
                  </a:cubicBezTo>
                  <a:cubicBezTo>
                    <a:pt x="51" y="393"/>
                    <a:pt x="51" y="393"/>
                    <a:pt x="51" y="393"/>
                  </a:cubicBezTo>
                  <a:cubicBezTo>
                    <a:pt x="112" y="393"/>
                    <a:pt x="112" y="393"/>
                    <a:pt x="112" y="393"/>
                  </a:cubicBezTo>
                  <a:cubicBezTo>
                    <a:pt x="154" y="366"/>
                    <a:pt x="202" y="314"/>
                    <a:pt x="201" y="221"/>
                  </a:cubicBezTo>
                  <a:cubicBezTo>
                    <a:pt x="199" y="54"/>
                    <a:pt x="155" y="6"/>
                    <a:pt x="155" y="6"/>
                  </a:cubicBezTo>
                  <a:lnTo>
                    <a:pt x="149" y="0"/>
                  </a:lnTo>
                  <a:close/>
                </a:path>
              </a:pathLst>
            </a:custGeom>
            <a:solidFill>
              <a:srgbClr val="C6C2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6" name="Rectangle 743">
              <a:extLst>
                <a:ext uri="{FF2B5EF4-FFF2-40B4-BE49-F238E27FC236}">
                  <a16:creationId xmlns:a16="http://schemas.microsoft.com/office/drawing/2014/main" id="{798D51EE-1CE4-468A-AD71-AAF7210EDF3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338154" y="4072045"/>
              <a:ext cx="67855" cy="22618"/>
            </a:xfrm>
            <a:prstGeom prst="rect">
              <a:avLst/>
            </a:pr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7" name="Freeform 744">
              <a:extLst>
                <a:ext uri="{FF2B5EF4-FFF2-40B4-BE49-F238E27FC236}">
                  <a16:creationId xmlns:a16="http://schemas.microsoft.com/office/drawing/2014/main" id="{6A56EF4E-C62F-44DC-84C8-0019775D4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02711" y="3843039"/>
              <a:ext cx="48063" cy="268116"/>
            </a:xfrm>
            <a:custGeom>
              <a:avLst/>
              <a:gdLst>
                <a:gd name="T0" fmla="*/ 12 w 43"/>
                <a:gd name="T1" fmla="*/ 241 h 241"/>
                <a:gd name="T2" fmla="*/ 43 w 43"/>
                <a:gd name="T3" fmla="*/ 0 h 241"/>
                <a:gd name="T4" fmla="*/ 0 w 43"/>
                <a:gd name="T5" fmla="*/ 240 h 241"/>
                <a:gd name="T6" fmla="*/ 12 w 43"/>
                <a:gd name="T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241">
                  <a:moveTo>
                    <a:pt x="12" y="241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4" y="241"/>
                    <a:pt x="9" y="241"/>
                    <a:pt x="12" y="241"/>
                  </a:cubicBez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8" name="Freeform 745">
              <a:extLst>
                <a:ext uri="{FF2B5EF4-FFF2-40B4-BE49-F238E27FC236}">
                  <a16:creationId xmlns:a16="http://schemas.microsoft.com/office/drawing/2014/main" id="{E4DB9DB9-7620-4283-9F51-4F12CB98A9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80196" y="3739372"/>
              <a:ext cx="83404" cy="146073"/>
            </a:xfrm>
            <a:custGeom>
              <a:avLst/>
              <a:gdLst>
                <a:gd name="T0" fmla="*/ 75 w 75"/>
                <a:gd name="T1" fmla="*/ 131 h 131"/>
                <a:gd name="T2" fmla="*/ 34 w 75"/>
                <a:gd name="T3" fmla="*/ 0 h 131"/>
                <a:gd name="T4" fmla="*/ 0 w 75"/>
                <a:gd name="T5" fmla="*/ 57 h 131"/>
                <a:gd name="T6" fmla="*/ 36 w 75"/>
                <a:gd name="T7" fmla="*/ 67 h 131"/>
                <a:gd name="T8" fmla="*/ 19 w 75"/>
                <a:gd name="T9" fmla="*/ 93 h 131"/>
                <a:gd name="T10" fmla="*/ 75 w 75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31">
                  <a:moveTo>
                    <a:pt x="75" y="131"/>
                  </a:moveTo>
                  <a:cubicBezTo>
                    <a:pt x="64" y="41"/>
                    <a:pt x="39" y="6"/>
                    <a:pt x="34" y="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19" y="93"/>
                    <a:pt x="19" y="93"/>
                    <a:pt x="19" y="93"/>
                  </a:cubicBezTo>
                  <a:lnTo>
                    <a:pt x="75" y="131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9" name="Freeform 746">
              <a:extLst>
                <a:ext uri="{FF2B5EF4-FFF2-40B4-BE49-F238E27FC236}">
                  <a16:creationId xmlns:a16="http://schemas.microsoft.com/office/drawing/2014/main" id="{A7870CFB-502A-4904-B412-9394B20FA3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25274" y="3731834"/>
              <a:ext cx="223823" cy="437279"/>
            </a:xfrm>
            <a:custGeom>
              <a:avLst/>
              <a:gdLst>
                <a:gd name="T0" fmla="*/ 201 w 201"/>
                <a:gd name="T1" fmla="*/ 324 h 393"/>
                <a:gd name="T2" fmla="*/ 116 w 201"/>
                <a:gd name="T3" fmla="*/ 20 h 393"/>
                <a:gd name="T4" fmla="*/ 52 w 201"/>
                <a:gd name="T5" fmla="*/ 0 h 393"/>
                <a:gd name="T6" fmla="*/ 47 w 201"/>
                <a:gd name="T7" fmla="*/ 6 h 393"/>
                <a:gd name="T8" fmla="*/ 1 w 201"/>
                <a:gd name="T9" fmla="*/ 221 h 393"/>
                <a:gd name="T10" fmla="*/ 89 w 201"/>
                <a:gd name="T11" fmla="*/ 393 h 393"/>
                <a:gd name="T12" fmla="*/ 151 w 201"/>
                <a:gd name="T13" fmla="*/ 393 h 393"/>
                <a:gd name="T14" fmla="*/ 146 w 201"/>
                <a:gd name="T15" fmla="*/ 341 h 393"/>
                <a:gd name="T16" fmla="*/ 201 w 201"/>
                <a:gd name="T17" fmla="*/ 324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393">
                  <a:moveTo>
                    <a:pt x="201" y="324"/>
                  </a:moveTo>
                  <a:cubicBezTo>
                    <a:pt x="201" y="291"/>
                    <a:pt x="140" y="44"/>
                    <a:pt x="116" y="20"/>
                  </a:cubicBezTo>
                  <a:cubicBezTo>
                    <a:pt x="104" y="8"/>
                    <a:pt x="76" y="3"/>
                    <a:pt x="52" y="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2" y="54"/>
                    <a:pt x="1" y="221"/>
                  </a:cubicBezTo>
                  <a:cubicBezTo>
                    <a:pt x="0" y="314"/>
                    <a:pt x="47" y="366"/>
                    <a:pt x="89" y="393"/>
                  </a:cubicBezTo>
                  <a:cubicBezTo>
                    <a:pt x="151" y="393"/>
                    <a:pt x="151" y="393"/>
                    <a:pt x="151" y="393"/>
                  </a:cubicBezTo>
                  <a:cubicBezTo>
                    <a:pt x="146" y="341"/>
                    <a:pt x="146" y="341"/>
                    <a:pt x="146" y="341"/>
                  </a:cubicBezTo>
                  <a:cubicBezTo>
                    <a:pt x="170" y="342"/>
                    <a:pt x="201" y="324"/>
                    <a:pt x="201" y="324"/>
                  </a:cubicBezTo>
                  <a:close/>
                </a:path>
              </a:pathLst>
            </a:custGeom>
            <a:solidFill>
              <a:srgbClr val="C6C2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0" name="Rectangle 747">
              <a:extLst>
                <a:ext uri="{FF2B5EF4-FFF2-40B4-BE49-F238E27FC236}">
                  <a16:creationId xmlns:a16="http://schemas.microsoft.com/office/drawing/2014/main" id="{49D7319C-DA4A-472D-AAAD-3A2D4917FD0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3116688" y="4072045"/>
              <a:ext cx="68795" cy="22618"/>
            </a:xfrm>
            <a:prstGeom prst="rect">
              <a:avLst/>
            </a:pr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1" name="Freeform 748">
              <a:extLst>
                <a:ext uri="{FF2B5EF4-FFF2-40B4-BE49-F238E27FC236}">
                  <a16:creationId xmlns:a16="http://schemas.microsoft.com/office/drawing/2014/main" id="{E83980D6-259A-4C21-9EBF-DD6BAEFF5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73337" y="3843039"/>
              <a:ext cx="46648" cy="268116"/>
            </a:xfrm>
            <a:custGeom>
              <a:avLst/>
              <a:gdLst>
                <a:gd name="T0" fmla="*/ 30 w 42"/>
                <a:gd name="T1" fmla="*/ 241 h 241"/>
                <a:gd name="T2" fmla="*/ 0 w 42"/>
                <a:gd name="T3" fmla="*/ 0 h 241"/>
                <a:gd name="T4" fmla="*/ 42 w 42"/>
                <a:gd name="T5" fmla="*/ 240 h 241"/>
                <a:gd name="T6" fmla="*/ 30 w 42"/>
                <a:gd name="T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241">
                  <a:moveTo>
                    <a:pt x="30" y="24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2" y="240"/>
                    <a:pt x="42" y="240"/>
                    <a:pt x="42" y="240"/>
                  </a:cubicBezTo>
                  <a:cubicBezTo>
                    <a:pt x="38" y="241"/>
                    <a:pt x="34" y="241"/>
                    <a:pt x="30" y="241"/>
                  </a:cubicBez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2" name="Freeform 749">
              <a:extLst>
                <a:ext uri="{FF2B5EF4-FFF2-40B4-BE49-F238E27FC236}">
                  <a16:creationId xmlns:a16="http://schemas.microsoft.com/office/drawing/2014/main" id="{E096EC07-BF01-41DE-BC13-F24DD2479F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59096" y="3739372"/>
              <a:ext cx="83404" cy="146073"/>
            </a:xfrm>
            <a:custGeom>
              <a:avLst/>
              <a:gdLst>
                <a:gd name="T0" fmla="*/ 0 w 75"/>
                <a:gd name="T1" fmla="*/ 131 h 131"/>
                <a:gd name="T2" fmla="*/ 40 w 75"/>
                <a:gd name="T3" fmla="*/ 0 h 131"/>
                <a:gd name="T4" fmla="*/ 75 w 75"/>
                <a:gd name="T5" fmla="*/ 57 h 131"/>
                <a:gd name="T6" fmla="*/ 39 w 75"/>
                <a:gd name="T7" fmla="*/ 67 h 131"/>
                <a:gd name="T8" fmla="*/ 55 w 75"/>
                <a:gd name="T9" fmla="*/ 93 h 131"/>
                <a:gd name="T10" fmla="*/ 0 w 75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31">
                  <a:moveTo>
                    <a:pt x="0" y="131"/>
                  </a:moveTo>
                  <a:cubicBezTo>
                    <a:pt x="10" y="41"/>
                    <a:pt x="35" y="6"/>
                    <a:pt x="40" y="0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55" y="93"/>
                    <a:pt x="55" y="93"/>
                    <a:pt x="55" y="93"/>
                  </a:cubicBezTo>
                  <a:lnTo>
                    <a:pt x="0" y="131"/>
                  </a:lnTo>
                  <a:close/>
                </a:path>
              </a:pathLst>
            </a:custGeom>
            <a:solidFill>
              <a:srgbClr val="B5B2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3" name="Freeform 750">
              <a:extLst>
                <a:ext uri="{FF2B5EF4-FFF2-40B4-BE49-F238E27FC236}">
                  <a16:creationId xmlns:a16="http://schemas.microsoft.com/office/drawing/2014/main" id="{4FB6E750-3563-4810-9561-E0FBFE2CBE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28155" y="3459006"/>
              <a:ext cx="141362" cy="190367"/>
            </a:xfrm>
            <a:custGeom>
              <a:avLst/>
              <a:gdLst>
                <a:gd name="T0" fmla="*/ 77 w 127"/>
                <a:gd name="T1" fmla="*/ 24 h 171"/>
                <a:gd name="T2" fmla="*/ 21 w 127"/>
                <a:gd name="T3" fmla="*/ 25 h 171"/>
                <a:gd name="T4" fmla="*/ 127 w 127"/>
                <a:gd name="T5" fmla="*/ 167 h 171"/>
                <a:gd name="T6" fmla="*/ 77 w 127"/>
                <a:gd name="T7" fmla="*/ 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71">
                  <a:moveTo>
                    <a:pt x="77" y="24"/>
                  </a:moveTo>
                  <a:cubicBezTo>
                    <a:pt x="77" y="24"/>
                    <a:pt x="46" y="0"/>
                    <a:pt x="21" y="25"/>
                  </a:cubicBezTo>
                  <a:cubicBezTo>
                    <a:pt x="0" y="46"/>
                    <a:pt x="15" y="171"/>
                    <a:pt x="127" y="167"/>
                  </a:cubicBezTo>
                  <a:lnTo>
                    <a:pt x="77" y="24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4" name="Freeform 751">
              <a:extLst>
                <a:ext uri="{FF2B5EF4-FFF2-40B4-BE49-F238E27FC236}">
                  <a16:creationId xmlns:a16="http://schemas.microsoft.com/office/drawing/2014/main" id="{4AA86FA3-ECE8-453E-B56A-2A1B122EE50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948468" y="3459006"/>
              <a:ext cx="141362" cy="190367"/>
            </a:xfrm>
            <a:custGeom>
              <a:avLst/>
              <a:gdLst>
                <a:gd name="T0" fmla="*/ 50 w 127"/>
                <a:gd name="T1" fmla="*/ 24 h 171"/>
                <a:gd name="T2" fmla="*/ 106 w 127"/>
                <a:gd name="T3" fmla="*/ 25 h 171"/>
                <a:gd name="T4" fmla="*/ 0 w 127"/>
                <a:gd name="T5" fmla="*/ 167 h 171"/>
                <a:gd name="T6" fmla="*/ 50 w 127"/>
                <a:gd name="T7" fmla="*/ 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71">
                  <a:moveTo>
                    <a:pt x="50" y="24"/>
                  </a:moveTo>
                  <a:cubicBezTo>
                    <a:pt x="50" y="24"/>
                    <a:pt x="81" y="0"/>
                    <a:pt x="106" y="25"/>
                  </a:cubicBezTo>
                  <a:cubicBezTo>
                    <a:pt x="127" y="46"/>
                    <a:pt x="112" y="171"/>
                    <a:pt x="0" y="167"/>
                  </a:cubicBezTo>
                  <a:lnTo>
                    <a:pt x="50" y="24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5" name="Freeform 752">
              <a:extLst>
                <a:ext uri="{FF2B5EF4-FFF2-40B4-BE49-F238E27FC236}">
                  <a16:creationId xmlns:a16="http://schemas.microsoft.com/office/drawing/2014/main" id="{AE44A7FE-75FA-4B3F-B70B-8C808E3EDF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996530" y="3191830"/>
              <a:ext cx="523981" cy="562148"/>
            </a:xfrm>
            <a:custGeom>
              <a:avLst/>
              <a:gdLst>
                <a:gd name="T0" fmla="*/ 471 w 471"/>
                <a:gd name="T1" fmla="*/ 180 h 505"/>
                <a:gd name="T2" fmla="*/ 235 w 471"/>
                <a:gd name="T3" fmla="*/ 505 h 505"/>
                <a:gd name="T4" fmla="*/ 0 w 471"/>
                <a:gd name="T5" fmla="*/ 180 h 505"/>
                <a:gd name="T6" fmla="*/ 471 w 471"/>
                <a:gd name="T7" fmla="*/ 18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1" h="505">
                  <a:moveTo>
                    <a:pt x="471" y="180"/>
                  </a:moveTo>
                  <a:cubicBezTo>
                    <a:pt x="471" y="360"/>
                    <a:pt x="365" y="505"/>
                    <a:pt x="235" y="505"/>
                  </a:cubicBezTo>
                  <a:cubicBezTo>
                    <a:pt x="105" y="505"/>
                    <a:pt x="0" y="360"/>
                    <a:pt x="0" y="180"/>
                  </a:cubicBezTo>
                  <a:cubicBezTo>
                    <a:pt x="0" y="0"/>
                    <a:pt x="471" y="0"/>
                    <a:pt x="471" y="180"/>
                  </a:cubicBez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26" name="组合 225">
              <a:extLst>
                <a:ext uri="{FF2B5EF4-FFF2-40B4-BE49-F238E27FC236}">
                  <a16:creationId xmlns:a16="http://schemas.microsoft.com/office/drawing/2014/main" id="{FF18A07B-5381-4BA8-96DC-EE04D9898484}"/>
                </a:ext>
              </a:extLst>
            </p:cNvPr>
            <p:cNvGrpSpPr/>
            <p:nvPr/>
          </p:nvGrpSpPr>
          <p:grpSpPr>
            <a:xfrm>
              <a:off x="3027629" y="3478796"/>
              <a:ext cx="460840" cy="51362"/>
              <a:chOff x="5427929" y="1944620"/>
              <a:chExt cx="460840" cy="51362"/>
            </a:xfrm>
          </p:grpSpPr>
          <p:sp>
            <p:nvSpPr>
              <p:cNvPr id="232" name="Freeform 753">
                <a:extLst>
                  <a:ext uri="{FF2B5EF4-FFF2-40B4-BE49-F238E27FC236}">
                    <a16:creationId xmlns:a16="http://schemas.microsoft.com/office/drawing/2014/main" id="{8AEF4286-12BC-43DA-B80E-94CC96A4F87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765314" y="1944620"/>
                <a:ext cx="87644" cy="51362"/>
              </a:xfrm>
              <a:custGeom>
                <a:avLst/>
                <a:gdLst>
                  <a:gd name="T0" fmla="*/ 5 w 79"/>
                  <a:gd name="T1" fmla="*/ 46 h 46"/>
                  <a:gd name="T2" fmla="*/ 0 w 79"/>
                  <a:gd name="T3" fmla="*/ 41 h 46"/>
                  <a:gd name="T4" fmla="*/ 35 w 79"/>
                  <a:gd name="T5" fmla="*/ 1 h 46"/>
                  <a:gd name="T6" fmla="*/ 78 w 79"/>
                  <a:gd name="T7" fmla="*/ 32 h 46"/>
                  <a:gd name="T8" fmla="*/ 74 w 79"/>
                  <a:gd name="T9" fmla="*/ 38 h 46"/>
                  <a:gd name="T10" fmla="*/ 68 w 79"/>
                  <a:gd name="T11" fmla="*/ 34 h 46"/>
                  <a:gd name="T12" fmla="*/ 37 w 79"/>
                  <a:gd name="T13" fmla="*/ 11 h 46"/>
                  <a:gd name="T14" fmla="*/ 36 w 79"/>
                  <a:gd name="T15" fmla="*/ 11 h 46"/>
                  <a:gd name="T16" fmla="*/ 11 w 79"/>
                  <a:gd name="T17" fmla="*/ 41 h 46"/>
                  <a:gd name="T18" fmla="*/ 5 w 79"/>
                  <a:gd name="T1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6">
                    <a:moveTo>
                      <a:pt x="5" y="46"/>
                    </a:moveTo>
                    <a:cubicBezTo>
                      <a:pt x="2" y="46"/>
                      <a:pt x="0" y="43"/>
                      <a:pt x="0" y="41"/>
                    </a:cubicBezTo>
                    <a:cubicBezTo>
                      <a:pt x="0" y="27"/>
                      <a:pt x="7" y="2"/>
                      <a:pt x="35" y="1"/>
                    </a:cubicBezTo>
                    <a:cubicBezTo>
                      <a:pt x="63" y="0"/>
                      <a:pt x="75" y="21"/>
                      <a:pt x="78" y="32"/>
                    </a:cubicBezTo>
                    <a:cubicBezTo>
                      <a:pt x="79" y="35"/>
                      <a:pt x="77" y="37"/>
                      <a:pt x="74" y="38"/>
                    </a:cubicBezTo>
                    <a:cubicBezTo>
                      <a:pt x="71" y="39"/>
                      <a:pt x="68" y="37"/>
                      <a:pt x="68" y="34"/>
                    </a:cubicBezTo>
                    <a:cubicBezTo>
                      <a:pt x="67" y="33"/>
                      <a:pt x="61" y="11"/>
                      <a:pt x="37" y="11"/>
                    </a:cubicBezTo>
                    <a:cubicBezTo>
                      <a:pt x="37" y="11"/>
                      <a:pt x="36" y="11"/>
                      <a:pt x="36" y="11"/>
                    </a:cubicBezTo>
                    <a:cubicBezTo>
                      <a:pt x="11" y="12"/>
                      <a:pt x="11" y="39"/>
                      <a:pt x="11" y="41"/>
                    </a:cubicBezTo>
                    <a:cubicBezTo>
                      <a:pt x="11" y="43"/>
                      <a:pt x="8" y="46"/>
                      <a:pt x="5" y="46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3" name="Freeform 754">
                <a:extLst>
                  <a:ext uri="{FF2B5EF4-FFF2-40B4-BE49-F238E27FC236}">
                    <a16:creationId xmlns:a16="http://schemas.microsoft.com/office/drawing/2014/main" id="{EB1C6266-711F-4475-8B72-58026E03CD0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39764" y="1979490"/>
                <a:ext cx="49005" cy="15549"/>
              </a:xfrm>
              <a:custGeom>
                <a:avLst/>
                <a:gdLst>
                  <a:gd name="T0" fmla="*/ 28 w 44"/>
                  <a:gd name="T1" fmla="*/ 14 h 14"/>
                  <a:gd name="T2" fmla="*/ 5 w 44"/>
                  <a:gd name="T3" fmla="*/ 10 h 14"/>
                  <a:gd name="T4" fmla="*/ 1 w 44"/>
                  <a:gd name="T5" fmla="*/ 4 h 14"/>
                  <a:gd name="T6" fmla="*/ 8 w 44"/>
                  <a:gd name="T7" fmla="*/ 1 h 14"/>
                  <a:gd name="T8" fmla="*/ 36 w 44"/>
                  <a:gd name="T9" fmla="*/ 4 h 14"/>
                  <a:gd name="T10" fmla="*/ 43 w 44"/>
                  <a:gd name="T11" fmla="*/ 7 h 14"/>
                  <a:gd name="T12" fmla="*/ 39 w 44"/>
                  <a:gd name="T13" fmla="*/ 13 h 14"/>
                  <a:gd name="T14" fmla="*/ 28 w 4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4">
                    <a:moveTo>
                      <a:pt x="28" y="14"/>
                    </a:moveTo>
                    <a:cubicBezTo>
                      <a:pt x="22" y="14"/>
                      <a:pt x="14" y="13"/>
                      <a:pt x="5" y="10"/>
                    </a:cubicBezTo>
                    <a:cubicBezTo>
                      <a:pt x="2" y="10"/>
                      <a:pt x="0" y="7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25" y="6"/>
                      <a:pt x="36" y="4"/>
                      <a:pt x="36" y="4"/>
                    </a:cubicBezTo>
                    <a:cubicBezTo>
                      <a:pt x="39" y="3"/>
                      <a:pt x="42" y="4"/>
                      <a:pt x="43" y="7"/>
                    </a:cubicBezTo>
                    <a:cubicBezTo>
                      <a:pt x="44" y="10"/>
                      <a:pt x="42" y="12"/>
                      <a:pt x="39" y="13"/>
                    </a:cubicBezTo>
                    <a:cubicBezTo>
                      <a:pt x="39" y="13"/>
                      <a:pt x="35" y="14"/>
                      <a:pt x="28" y="1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4" name="Freeform 755">
                <a:extLst>
                  <a:ext uri="{FF2B5EF4-FFF2-40B4-BE49-F238E27FC236}">
                    <a16:creationId xmlns:a16="http://schemas.microsoft.com/office/drawing/2014/main" id="{A4BA365F-43EE-4E2D-B44B-E56703F4FE3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839764" y="1956871"/>
                <a:ext cx="49005" cy="26859"/>
              </a:xfrm>
              <a:custGeom>
                <a:avLst/>
                <a:gdLst>
                  <a:gd name="T0" fmla="*/ 38 w 44"/>
                  <a:gd name="T1" fmla="*/ 24 h 24"/>
                  <a:gd name="T2" fmla="*/ 3 w 44"/>
                  <a:gd name="T3" fmla="*/ 9 h 24"/>
                  <a:gd name="T4" fmla="*/ 2 w 44"/>
                  <a:gd name="T5" fmla="*/ 2 h 24"/>
                  <a:gd name="T6" fmla="*/ 10 w 44"/>
                  <a:gd name="T7" fmla="*/ 2 h 24"/>
                  <a:gd name="T8" fmla="*/ 38 w 44"/>
                  <a:gd name="T9" fmla="*/ 14 h 24"/>
                  <a:gd name="T10" fmla="*/ 38 w 44"/>
                  <a:gd name="T11" fmla="*/ 14 h 24"/>
                  <a:gd name="T12" fmla="*/ 44 w 44"/>
                  <a:gd name="T13" fmla="*/ 19 h 24"/>
                  <a:gd name="T14" fmla="*/ 39 w 44"/>
                  <a:gd name="T15" fmla="*/ 24 h 24"/>
                  <a:gd name="T16" fmla="*/ 38 w 44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24">
                    <a:moveTo>
                      <a:pt x="38" y="24"/>
                    </a:moveTo>
                    <a:cubicBezTo>
                      <a:pt x="22" y="24"/>
                      <a:pt x="4" y="10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4" y="0"/>
                      <a:pt x="8" y="0"/>
                      <a:pt x="10" y="2"/>
                    </a:cubicBezTo>
                    <a:cubicBezTo>
                      <a:pt x="14" y="5"/>
                      <a:pt x="28" y="14"/>
                      <a:pt x="38" y="14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41" y="14"/>
                      <a:pt x="44" y="16"/>
                      <a:pt x="44" y="19"/>
                    </a:cubicBezTo>
                    <a:cubicBezTo>
                      <a:pt x="44" y="22"/>
                      <a:pt x="42" y="24"/>
                      <a:pt x="39" y="24"/>
                    </a:cubicBezTo>
                    <a:lnTo>
                      <a:pt x="38" y="24"/>
                    </a:ln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5" name="Freeform 756">
                <a:extLst>
                  <a:ext uri="{FF2B5EF4-FFF2-40B4-BE49-F238E27FC236}">
                    <a16:creationId xmlns:a16="http://schemas.microsoft.com/office/drawing/2014/main" id="{0CE87CB0-46B8-47D2-A9B6-2CB9F6241CB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63271" y="1944620"/>
                <a:ext cx="88116" cy="51362"/>
              </a:xfrm>
              <a:custGeom>
                <a:avLst/>
                <a:gdLst>
                  <a:gd name="T0" fmla="*/ 74 w 79"/>
                  <a:gd name="T1" fmla="*/ 46 h 46"/>
                  <a:gd name="T2" fmla="*/ 74 w 79"/>
                  <a:gd name="T3" fmla="*/ 46 h 46"/>
                  <a:gd name="T4" fmla="*/ 68 w 79"/>
                  <a:gd name="T5" fmla="*/ 41 h 46"/>
                  <a:gd name="T6" fmla="*/ 44 w 79"/>
                  <a:gd name="T7" fmla="*/ 11 h 46"/>
                  <a:gd name="T8" fmla="*/ 12 w 79"/>
                  <a:gd name="T9" fmla="*/ 34 h 46"/>
                  <a:gd name="T10" fmla="*/ 5 w 79"/>
                  <a:gd name="T11" fmla="*/ 38 h 46"/>
                  <a:gd name="T12" fmla="*/ 1 w 79"/>
                  <a:gd name="T13" fmla="*/ 32 h 46"/>
                  <a:gd name="T14" fmla="*/ 44 w 79"/>
                  <a:gd name="T15" fmla="*/ 1 h 46"/>
                  <a:gd name="T16" fmla="*/ 79 w 79"/>
                  <a:gd name="T17" fmla="*/ 41 h 46"/>
                  <a:gd name="T18" fmla="*/ 74 w 79"/>
                  <a:gd name="T1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6">
                    <a:moveTo>
                      <a:pt x="74" y="46"/>
                    </a:moveTo>
                    <a:cubicBezTo>
                      <a:pt x="74" y="46"/>
                      <a:pt x="74" y="46"/>
                      <a:pt x="74" y="46"/>
                    </a:cubicBezTo>
                    <a:cubicBezTo>
                      <a:pt x="71" y="46"/>
                      <a:pt x="68" y="43"/>
                      <a:pt x="68" y="41"/>
                    </a:cubicBezTo>
                    <a:cubicBezTo>
                      <a:pt x="68" y="39"/>
                      <a:pt x="68" y="12"/>
                      <a:pt x="44" y="11"/>
                    </a:cubicBezTo>
                    <a:cubicBezTo>
                      <a:pt x="18" y="10"/>
                      <a:pt x="12" y="33"/>
                      <a:pt x="12" y="34"/>
                    </a:cubicBezTo>
                    <a:cubicBezTo>
                      <a:pt x="11" y="37"/>
                      <a:pt x="8" y="39"/>
                      <a:pt x="5" y="38"/>
                    </a:cubicBezTo>
                    <a:cubicBezTo>
                      <a:pt x="2" y="37"/>
                      <a:pt x="0" y="35"/>
                      <a:pt x="1" y="32"/>
                    </a:cubicBezTo>
                    <a:cubicBezTo>
                      <a:pt x="4" y="21"/>
                      <a:pt x="16" y="0"/>
                      <a:pt x="44" y="1"/>
                    </a:cubicBezTo>
                    <a:cubicBezTo>
                      <a:pt x="72" y="2"/>
                      <a:pt x="79" y="27"/>
                      <a:pt x="79" y="41"/>
                    </a:cubicBezTo>
                    <a:cubicBezTo>
                      <a:pt x="79" y="43"/>
                      <a:pt x="77" y="46"/>
                      <a:pt x="74" y="46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6" name="Freeform 757">
                <a:extLst>
                  <a:ext uri="{FF2B5EF4-FFF2-40B4-BE49-F238E27FC236}">
                    <a16:creationId xmlns:a16="http://schemas.microsoft.com/office/drawing/2014/main" id="{F6954ED4-2529-4AD3-8E51-550AD554D34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27931" y="1979490"/>
                <a:ext cx="47591" cy="15549"/>
              </a:xfrm>
              <a:custGeom>
                <a:avLst/>
                <a:gdLst>
                  <a:gd name="T0" fmla="*/ 15 w 43"/>
                  <a:gd name="T1" fmla="*/ 14 h 14"/>
                  <a:gd name="T2" fmla="*/ 4 w 43"/>
                  <a:gd name="T3" fmla="*/ 13 h 14"/>
                  <a:gd name="T4" fmla="*/ 1 w 43"/>
                  <a:gd name="T5" fmla="*/ 7 h 14"/>
                  <a:gd name="T6" fmla="*/ 7 w 43"/>
                  <a:gd name="T7" fmla="*/ 4 h 14"/>
                  <a:gd name="T8" fmla="*/ 35 w 43"/>
                  <a:gd name="T9" fmla="*/ 1 h 14"/>
                  <a:gd name="T10" fmla="*/ 42 w 43"/>
                  <a:gd name="T11" fmla="*/ 4 h 14"/>
                  <a:gd name="T12" fmla="*/ 39 w 43"/>
                  <a:gd name="T13" fmla="*/ 10 h 14"/>
                  <a:gd name="T14" fmla="*/ 15 w 43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4">
                    <a:moveTo>
                      <a:pt x="15" y="14"/>
                    </a:moveTo>
                    <a:cubicBezTo>
                      <a:pt x="9" y="14"/>
                      <a:pt x="5" y="13"/>
                      <a:pt x="4" y="13"/>
                    </a:cubicBezTo>
                    <a:cubicBezTo>
                      <a:pt x="1" y="12"/>
                      <a:pt x="0" y="10"/>
                      <a:pt x="1" y="7"/>
                    </a:cubicBezTo>
                    <a:cubicBezTo>
                      <a:pt x="1" y="4"/>
                      <a:pt x="4" y="3"/>
                      <a:pt x="7" y="4"/>
                    </a:cubicBezTo>
                    <a:cubicBezTo>
                      <a:pt x="8" y="4"/>
                      <a:pt x="19" y="6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7"/>
                      <a:pt x="41" y="10"/>
                      <a:pt x="39" y="10"/>
                    </a:cubicBezTo>
                    <a:cubicBezTo>
                      <a:pt x="29" y="13"/>
                      <a:pt x="21" y="14"/>
                      <a:pt x="15" y="1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7" name="Freeform 758">
                <a:extLst>
                  <a:ext uri="{FF2B5EF4-FFF2-40B4-BE49-F238E27FC236}">
                    <a16:creationId xmlns:a16="http://schemas.microsoft.com/office/drawing/2014/main" id="{949C90BB-4EA5-4570-8A96-7F2C97A90D6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5427929" y="1956871"/>
                <a:ext cx="49005" cy="26859"/>
              </a:xfrm>
              <a:custGeom>
                <a:avLst/>
                <a:gdLst>
                  <a:gd name="T0" fmla="*/ 6 w 44"/>
                  <a:gd name="T1" fmla="*/ 24 h 24"/>
                  <a:gd name="T2" fmla="*/ 6 w 44"/>
                  <a:gd name="T3" fmla="*/ 24 h 24"/>
                  <a:gd name="T4" fmla="*/ 0 w 44"/>
                  <a:gd name="T5" fmla="*/ 19 h 24"/>
                  <a:gd name="T6" fmla="*/ 6 w 44"/>
                  <a:gd name="T7" fmla="*/ 14 h 24"/>
                  <a:gd name="T8" fmla="*/ 6 w 44"/>
                  <a:gd name="T9" fmla="*/ 14 h 24"/>
                  <a:gd name="T10" fmla="*/ 34 w 44"/>
                  <a:gd name="T11" fmla="*/ 2 h 24"/>
                  <a:gd name="T12" fmla="*/ 42 w 44"/>
                  <a:gd name="T13" fmla="*/ 2 h 24"/>
                  <a:gd name="T14" fmla="*/ 41 w 44"/>
                  <a:gd name="T15" fmla="*/ 9 h 24"/>
                  <a:gd name="T16" fmla="*/ 6 w 44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24">
                    <a:moveTo>
                      <a:pt x="6" y="24"/>
                    </a:moveTo>
                    <a:cubicBezTo>
                      <a:pt x="6" y="24"/>
                      <a:pt x="6" y="24"/>
                      <a:pt x="6" y="24"/>
                    </a:cubicBezTo>
                    <a:cubicBezTo>
                      <a:pt x="3" y="24"/>
                      <a:pt x="0" y="22"/>
                      <a:pt x="0" y="19"/>
                    </a:cubicBezTo>
                    <a:cubicBezTo>
                      <a:pt x="0" y="16"/>
                      <a:pt x="3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16" y="14"/>
                      <a:pt x="30" y="5"/>
                      <a:pt x="34" y="2"/>
                    </a:cubicBezTo>
                    <a:cubicBezTo>
                      <a:pt x="37" y="0"/>
                      <a:pt x="40" y="0"/>
                      <a:pt x="42" y="2"/>
                    </a:cubicBezTo>
                    <a:cubicBezTo>
                      <a:pt x="44" y="5"/>
                      <a:pt x="44" y="8"/>
                      <a:pt x="41" y="9"/>
                    </a:cubicBezTo>
                    <a:cubicBezTo>
                      <a:pt x="41" y="10"/>
                      <a:pt x="22" y="24"/>
                      <a:pt x="6" y="24"/>
                    </a:cubicBezTo>
                    <a:close/>
                  </a:path>
                </a:pathLst>
              </a:custGeom>
              <a:solidFill>
                <a:srgbClr val="3A33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227" name="Freeform 759">
              <a:extLst>
                <a:ext uri="{FF2B5EF4-FFF2-40B4-BE49-F238E27FC236}">
                  <a16:creationId xmlns:a16="http://schemas.microsoft.com/office/drawing/2014/main" id="{21150750-F50B-4059-962F-8A43CA7737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04332" y="3625812"/>
              <a:ext cx="110263" cy="57017"/>
            </a:xfrm>
            <a:custGeom>
              <a:avLst/>
              <a:gdLst>
                <a:gd name="T0" fmla="*/ 0 w 99"/>
                <a:gd name="T1" fmla="*/ 17 h 51"/>
                <a:gd name="T2" fmla="*/ 27 w 99"/>
                <a:gd name="T3" fmla="*/ 0 h 51"/>
                <a:gd name="T4" fmla="*/ 49 w 99"/>
                <a:gd name="T5" fmla="*/ 14 h 51"/>
                <a:gd name="T6" fmla="*/ 78 w 99"/>
                <a:gd name="T7" fmla="*/ 1 h 51"/>
                <a:gd name="T8" fmla="*/ 99 w 99"/>
                <a:gd name="T9" fmla="*/ 18 h 51"/>
                <a:gd name="T10" fmla="*/ 48 w 99"/>
                <a:gd name="T11" fmla="*/ 51 h 51"/>
                <a:gd name="T12" fmla="*/ 0 w 99"/>
                <a:gd name="T13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51">
                  <a:moveTo>
                    <a:pt x="0" y="17"/>
                  </a:moveTo>
                  <a:cubicBezTo>
                    <a:pt x="0" y="17"/>
                    <a:pt x="13" y="0"/>
                    <a:pt x="27" y="0"/>
                  </a:cubicBezTo>
                  <a:cubicBezTo>
                    <a:pt x="42" y="1"/>
                    <a:pt x="49" y="14"/>
                    <a:pt x="49" y="14"/>
                  </a:cubicBezTo>
                  <a:cubicBezTo>
                    <a:pt x="49" y="14"/>
                    <a:pt x="62" y="1"/>
                    <a:pt x="78" y="1"/>
                  </a:cubicBezTo>
                  <a:cubicBezTo>
                    <a:pt x="93" y="1"/>
                    <a:pt x="99" y="18"/>
                    <a:pt x="99" y="18"/>
                  </a:cubicBezTo>
                  <a:cubicBezTo>
                    <a:pt x="99" y="18"/>
                    <a:pt x="84" y="51"/>
                    <a:pt x="48" y="51"/>
                  </a:cubicBezTo>
                  <a:cubicBezTo>
                    <a:pt x="12" y="51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8" name="Freeform 760">
              <a:extLst>
                <a:ext uri="{FF2B5EF4-FFF2-40B4-BE49-F238E27FC236}">
                  <a16:creationId xmlns:a16="http://schemas.microsoft.com/office/drawing/2014/main" id="{31B6305D-6B30-432F-B179-4BE46EAF8A9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31191" y="3558900"/>
              <a:ext cx="55603" cy="23561"/>
            </a:xfrm>
            <a:custGeom>
              <a:avLst/>
              <a:gdLst>
                <a:gd name="T0" fmla="*/ 0 w 50"/>
                <a:gd name="T1" fmla="*/ 21 h 21"/>
                <a:gd name="T2" fmla="*/ 24 w 50"/>
                <a:gd name="T3" fmla="*/ 1 h 21"/>
                <a:gd name="T4" fmla="*/ 50 w 50"/>
                <a:gd name="T5" fmla="*/ 21 h 21"/>
                <a:gd name="T6" fmla="*/ 24 w 50"/>
                <a:gd name="T7" fmla="*/ 9 h 21"/>
                <a:gd name="T8" fmla="*/ 0 w 5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1">
                  <a:moveTo>
                    <a:pt x="0" y="21"/>
                  </a:moveTo>
                  <a:cubicBezTo>
                    <a:pt x="0" y="21"/>
                    <a:pt x="2" y="1"/>
                    <a:pt x="24" y="1"/>
                  </a:cubicBezTo>
                  <a:cubicBezTo>
                    <a:pt x="45" y="0"/>
                    <a:pt x="50" y="21"/>
                    <a:pt x="50" y="21"/>
                  </a:cubicBezTo>
                  <a:cubicBezTo>
                    <a:pt x="50" y="21"/>
                    <a:pt x="38" y="9"/>
                    <a:pt x="24" y="9"/>
                  </a:cubicBezTo>
                  <a:cubicBezTo>
                    <a:pt x="11" y="9"/>
                    <a:pt x="0" y="21"/>
                    <a:pt x="0" y="21"/>
                  </a:cubicBezTo>
                  <a:close/>
                </a:path>
              </a:pathLst>
            </a:custGeom>
            <a:solidFill>
              <a:srgbClr val="EFC4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9" name="Freeform 761">
              <a:extLst>
                <a:ext uri="{FF2B5EF4-FFF2-40B4-BE49-F238E27FC236}">
                  <a16:creationId xmlns:a16="http://schemas.microsoft.com/office/drawing/2014/main" id="{F2108DCA-37B8-4FB7-8DCF-2695F2534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07368" y="3435445"/>
              <a:ext cx="142776" cy="37696"/>
            </a:xfrm>
            <a:custGeom>
              <a:avLst/>
              <a:gdLst>
                <a:gd name="T0" fmla="*/ 0 w 128"/>
                <a:gd name="T1" fmla="*/ 22 h 34"/>
                <a:gd name="T2" fmla="*/ 1 w 128"/>
                <a:gd name="T3" fmla="*/ 10 h 34"/>
                <a:gd name="T4" fmla="*/ 3 w 128"/>
                <a:gd name="T5" fmla="*/ 7 h 34"/>
                <a:gd name="T6" fmla="*/ 126 w 128"/>
                <a:gd name="T7" fmla="*/ 19 h 34"/>
                <a:gd name="T8" fmla="*/ 127 w 128"/>
                <a:gd name="T9" fmla="*/ 23 h 34"/>
                <a:gd name="T10" fmla="*/ 120 w 128"/>
                <a:gd name="T11" fmla="*/ 33 h 34"/>
                <a:gd name="T12" fmla="*/ 116 w 128"/>
                <a:gd name="T13" fmla="*/ 34 h 34"/>
                <a:gd name="T14" fmla="*/ 3 w 128"/>
                <a:gd name="T15" fmla="*/ 24 h 34"/>
                <a:gd name="T16" fmla="*/ 0 w 128"/>
                <a:gd name="T17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4">
                  <a:moveTo>
                    <a:pt x="0" y="22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2" y="7"/>
                    <a:pt x="3" y="7"/>
                  </a:cubicBezTo>
                  <a:cubicBezTo>
                    <a:pt x="18" y="6"/>
                    <a:pt x="91" y="0"/>
                    <a:pt x="126" y="19"/>
                  </a:cubicBezTo>
                  <a:cubicBezTo>
                    <a:pt x="127" y="20"/>
                    <a:pt x="128" y="22"/>
                    <a:pt x="127" y="2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19" y="34"/>
                    <a:pt x="118" y="34"/>
                    <a:pt x="116" y="34"/>
                  </a:cubicBezTo>
                  <a:cubicBezTo>
                    <a:pt x="106" y="30"/>
                    <a:pt x="64" y="18"/>
                    <a:pt x="3" y="24"/>
                  </a:cubicBezTo>
                  <a:cubicBezTo>
                    <a:pt x="2" y="25"/>
                    <a:pt x="0" y="23"/>
                    <a:pt x="0" y="22"/>
                  </a:cubicBezTo>
                  <a:close/>
                </a:path>
              </a:pathLst>
            </a:custGeom>
            <a:solidFill>
              <a:srgbClr val="AD3E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0" name="Freeform 762">
              <a:extLst>
                <a:ext uri="{FF2B5EF4-FFF2-40B4-BE49-F238E27FC236}">
                  <a16:creationId xmlns:a16="http://schemas.microsoft.com/office/drawing/2014/main" id="{4A3BE4BC-B811-46C3-9C00-5C20B68F825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68312" y="3435445"/>
              <a:ext cx="142304" cy="37696"/>
            </a:xfrm>
            <a:custGeom>
              <a:avLst/>
              <a:gdLst>
                <a:gd name="T0" fmla="*/ 128 w 128"/>
                <a:gd name="T1" fmla="*/ 20 h 34"/>
                <a:gd name="T2" fmla="*/ 127 w 128"/>
                <a:gd name="T3" fmla="*/ 8 h 34"/>
                <a:gd name="T4" fmla="*/ 125 w 128"/>
                <a:gd name="T5" fmla="*/ 6 h 34"/>
                <a:gd name="T6" fmla="*/ 2 w 128"/>
                <a:gd name="T7" fmla="*/ 19 h 34"/>
                <a:gd name="T8" fmla="*/ 1 w 128"/>
                <a:gd name="T9" fmla="*/ 23 h 34"/>
                <a:gd name="T10" fmla="*/ 9 w 128"/>
                <a:gd name="T11" fmla="*/ 33 h 34"/>
                <a:gd name="T12" fmla="*/ 12 w 128"/>
                <a:gd name="T13" fmla="*/ 34 h 34"/>
                <a:gd name="T14" fmla="*/ 125 w 128"/>
                <a:gd name="T15" fmla="*/ 23 h 34"/>
                <a:gd name="T16" fmla="*/ 128 w 128"/>
                <a:gd name="T17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34">
                  <a:moveTo>
                    <a:pt x="128" y="20"/>
                  </a:moveTo>
                  <a:cubicBezTo>
                    <a:pt x="127" y="8"/>
                    <a:pt x="127" y="8"/>
                    <a:pt x="127" y="8"/>
                  </a:cubicBezTo>
                  <a:cubicBezTo>
                    <a:pt x="127" y="7"/>
                    <a:pt x="126" y="6"/>
                    <a:pt x="125" y="6"/>
                  </a:cubicBezTo>
                  <a:cubicBezTo>
                    <a:pt x="110" y="4"/>
                    <a:pt x="37" y="0"/>
                    <a:pt x="2" y="19"/>
                  </a:cubicBezTo>
                  <a:cubicBezTo>
                    <a:pt x="1" y="20"/>
                    <a:pt x="0" y="22"/>
                    <a:pt x="1" y="2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11" y="34"/>
                    <a:pt x="12" y="34"/>
                  </a:cubicBezTo>
                  <a:cubicBezTo>
                    <a:pt x="22" y="30"/>
                    <a:pt x="64" y="17"/>
                    <a:pt x="125" y="23"/>
                  </a:cubicBezTo>
                  <a:cubicBezTo>
                    <a:pt x="127" y="23"/>
                    <a:pt x="128" y="22"/>
                    <a:pt x="128" y="20"/>
                  </a:cubicBezTo>
                  <a:close/>
                </a:path>
              </a:pathLst>
            </a:custGeom>
            <a:solidFill>
              <a:srgbClr val="AD3E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1" name="Freeform 763">
              <a:extLst>
                <a:ext uri="{FF2B5EF4-FFF2-40B4-BE49-F238E27FC236}">
                  <a16:creationId xmlns:a16="http://schemas.microsoft.com/office/drawing/2014/main" id="{E6F83C95-C7B5-46FF-8E31-26B773CD99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985221" y="3198427"/>
              <a:ext cx="570160" cy="276128"/>
            </a:xfrm>
            <a:custGeom>
              <a:avLst/>
              <a:gdLst>
                <a:gd name="T0" fmla="*/ 37 w 512"/>
                <a:gd name="T1" fmla="*/ 248 h 248"/>
                <a:gd name="T2" fmla="*/ 368 w 512"/>
                <a:gd name="T3" fmla="*/ 134 h 248"/>
                <a:gd name="T4" fmla="*/ 512 w 512"/>
                <a:gd name="T5" fmla="*/ 204 h 248"/>
                <a:gd name="T6" fmla="*/ 512 w 512"/>
                <a:gd name="T7" fmla="*/ 0 h 248"/>
                <a:gd name="T8" fmla="*/ 0 w 512"/>
                <a:gd name="T9" fmla="*/ 36 h 248"/>
                <a:gd name="T10" fmla="*/ 0 w 512"/>
                <a:gd name="T11" fmla="*/ 161 h 248"/>
                <a:gd name="T12" fmla="*/ 37 w 512"/>
                <a:gd name="T13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2" h="248">
                  <a:moveTo>
                    <a:pt x="37" y="248"/>
                  </a:moveTo>
                  <a:cubicBezTo>
                    <a:pt x="37" y="248"/>
                    <a:pt x="309" y="203"/>
                    <a:pt x="368" y="134"/>
                  </a:cubicBezTo>
                  <a:cubicBezTo>
                    <a:pt x="368" y="134"/>
                    <a:pt x="424" y="210"/>
                    <a:pt x="512" y="204"/>
                  </a:cubicBezTo>
                  <a:cubicBezTo>
                    <a:pt x="512" y="0"/>
                    <a:pt x="512" y="0"/>
                    <a:pt x="512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37" y="248"/>
                  </a:lnTo>
                  <a:close/>
                </a:path>
              </a:pathLst>
            </a:custGeom>
            <a:solidFill>
              <a:srgbClr val="C650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238" name="组合 237">
            <a:extLst>
              <a:ext uri="{FF2B5EF4-FFF2-40B4-BE49-F238E27FC236}">
                <a16:creationId xmlns:a16="http://schemas.microsoft.com/office/drawing/2014/main" id="{4B1C653D-BE42-476A-AD9E-A5449693A4E9}"/>
              </a:ext>
            </a:extLst>
          </p:cNvPr>
          <p:cNvGrpSpPr/>
          <p:nvPr/>
        </p:nvGrpSpPr>
        <p:grpSpPr>
          <a:xfrm>
            <a:off x="9829789" y="2201477"/>
            <a:ext cx="625370" cy="867481"/>
            <a:chOff x="5628831" y="3047356"/>
            <a:chExt cx="819439" cy="1136684"/>
          </a:xfrm>
        </p:grpSpPr>
        <p:sp>
          <p:nvSpPr>
            <p:cNvPr id="239" name="Freeform 1541">
              <a:extLst>
                <a:ext uri="{FF2B5EF4-FFF2-40B4-BE49-F238E27FC236}">
                  <a16:creationId xmlns:a16="http://schemas.microsoft.com/office/drawing/2014/main" id="{6172EA2B-7746-4F04-9246-19054236C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4157" y="3728199"/>
              <a:ext cx="643634" cy="454411"/>
            </a:xfrm>
            <a:custGeom>
              <a:avLst/>
              <a:gdLst>
                <a:gd name="T0" fmla="*/ 599 w 599"/>
                <a:gd name="T1" fmla="*/ 423 h 423"/>
                <a:gd name="T2" fmla="*/ 438 w 599"/>
                <a:gd name="T3" fmla="*/ 0 h 423"/>
                <a:gd name="T4" fmla="*/ 406 w 599"/>
                <a:gd name="T5" fmla="*/ 0 h 423"/>
                <a:gd name="T6" fmla="*/ 288 w 599"/>
                <a:gd name="T7" fmla="*/ 187 h 423"/>
                <a:gd name="T8" fmla="*/ 170 w 599"/>
                <a:gd name="T9" fmla="*/ 0 h 423"/>
                <a:gd name="T10" fmla="*/ 137 w 599"/>
                <a:gd name="T11" fmla="*/ 0 h 423"/>
                <a:gd name="T12" fmla="*/ 0 w 599"/>
                <a:gd name="T13" fmla="*/ 255 h 423"/>
                <a:gd name="T14" fmla="*/ 100 w 599"/>
                <a:gd name="T15" fmla="*/ 285 h 423"/>
                <a:gd name="T16" fmla="*/ 84 w 599"/>
                <a:gd name="T17" fmla="*/ 423 h 423"/>
                <a:gd name="T18" fmla="*/ 599 w 599"/>
                <a:gd name="T19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423">
                  <a:moveTo>
                    <a:pt x="599" y="423"/>
                  </a:moveTo>
                  <a:cubicBezTo>
                    <a:pt x="546" y="165"/>
                    <a:pt x="438" y="0"/>
                    <a:pt x="438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379" y="74"/>
                    <a:pt x="342" y="139"/>
                    <a:pt x="288" y="187"/>
                  </a:cubicBezTo>
                  <a:cubicBezTo>
                    <a:pt x="233" y="139"/>
                    <a:pt x="197" y="74"/>
                    <a:pt x="170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0"/>
                    <a:pt x="21" y="107"/>
                    <a:pt x="0" y="255"/>
                  </a:cubicBezTo>
                  <a:cubicBezTo>
                    <a:pt x="100" y="285"/>
                    <a:pt x="100" y="285"/>
                    <a:pt x="100" y="285"/>
                  </a:cubicBezTo>
                  <a:cubicBezTo>
                    <a:pt x="100" y="285"/>
                    <a:pt x="91" y="354"/>
                    <a:pt x="84" y="423"/>
                  </a:cubicBezTo>
                  <a:lnTo>
                    <a:pt x="599" y="423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0" name="Rectangle 1538">
              <a:extLst>
                <a:ext uri="{FF2B5EF4-FFF2-40B4-BE49-F238E27FC236}">
                  <a16:creationId xmlns:a16="http://schemas.microsoft.com/office/drawing/2014/main" id="{F98CA80A-B63B-4996-ABAC-D2212BE12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5424" y="3719193"/>
              <a:ext cx="250631" cy="229708"/>
            </a:xfrm>
            <a:prstGeom prst="rect">
              <a:avLst/>
            </a:prstGeom>
            <a:solidFill>
              <a:srgbClr val="F9F5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1" name="Freeform 1539">
              <a:extLst>
                <a:ext uri="{FF2B5EF4-FFF2-40B4-BE49-F238E27FC236}">
                  <a16:creationId xmlns:a16="http://schemas.microsoft.com/office/drawing/2014/main" id="{57BF8665-88BC-4D31-9A81-D10909F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200" y="3780145"/>
              <a:ext cx="119175" cy="279741"/>
            </a:xfrm>
            <a:custGeom>
              <a:avLst/>
              <a:gdLst>
                <a:gd name="T0" fmla="*/ 106 w 262"/>
                <a:gd name="T1" fmla="*/ 0 h 615"/>
                <a:gd name="T2" fmla="*/ 0 w 262"/>
                <a:gd name="T3" fmla="*/ 442 h 615"/>
                <a:gd name="T4" fmla="*/ 135 w 262"/>
                <a:gd name="T5" fmla="*/ 615 h 615"/>
                <a:gd name="T6" fmla="*/ 262 w 262"/>
                <a:gd name="T7" fmla="*/ 456 h 615"/>
                <a:gd name="T8" fmla="*/ 156 w 262"/>
                <a:gd name="T9" fmla="*/ 0 h 615"/>
                <a:gd name="T10" fmla="*/ 106 w 262"/>
                <a:gd name="T11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2" h="615">
                  <a:moveTo>
                    <a:pt x="106" y="0"/>
                  </a:moveTo>
                  <a:lnTo>
                    <a:pt x="0" y="442"/>
                  </a:lnTo>
                  <a:lnTo>
                    <a:pt x="135" y="615"/>
                  </a:lnTo>
                  <a:lnTo>
                    <a:pt x="262" y="456"/>
                  </a:lnTo>
                  <a:lnTo>
                    <a:pt x="15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4234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2" name="Freeform 1540">
              <a:extLst>
                <a:ext uri="{FF2B5EF4-FFF2-40B4-BE49-F238E27FC236}">
                  <a16:creationId xmlns:a16="http://schemas.microsoft.com/office/drawing/2014/main" id="{E1FCC7B3-B3C8-4FF1-9A6F-CF7A5BF23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0954" y="3754671"/>
              <a:ext cx="45031" cy="36389"/>
            </a:xfrm>
            <a:custGeom>
              <a:avLst/>
              <a:gdLst>
                <a:gd name="T0" fmla="*/ 30 w 42"/>
                <a:gd name="T1" fmla="*/ 34 h 34"/>
                <a:gd name="T2" fmla="*/ 11 w 42"/>
                <a:gd name="T3" fmla="*/ 34 h 34"/>
                <a:gd name="T4" fmla="*/ 0 w 42"/>
                <a:gd name="T5" fmla="*/ 22 h 34"/>
                <a:gd name="T6" fmla="*/ 0 w 42"/>
                <a:gd name="T7" fmla="*/ 12 h 34"/>
                <a:gd name="T8" fmla="*/ 11 w 42"/>
                <a:gd name="T9" fmla="*/ 0 h 34"/>
                <a:gd name="T10" fmla="*/ 30 w 42"/>
                <a:gd name="T11" fmla="*/ 0 h 34"/>
                <a:gd name="T12" fmla="*/ 42 w 42"/>
                <a:gd name="T13" fmla="*/ 12 h 34"/>
                <a:gd name="T14" fmla="*/ 42 w 42"/>
                <a:gd name="T15" fmla="*/ 22 h 34"/>
                <a:gd name="T16" fmla="*/ 30 w 42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4">
                  <a:moveTo>
                    <a:pt x="30" y="34"/>
                  </a:moveTo>
                  <a:cubicBezTo>
                    <a:pt x="11" y="34"/>
                    <a:pt x="11" y="34"/>
                    <a:pt x="11" y="34"/>
                  </a:cubicBezTo>
                  <a:cubicBezTo>
                    <a:pt x="5" y="34"/>
                    <a:pt x="0" y="29"/>
                    <a:pt x="0" y="2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7" y="0"/>
                    <a:pt x="42" y="5"/>
                    <a:pt x="42" y="1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9"/>
                    <a:pt x="37" y="34"/>
                    <a:pt x="30" y="34"/>
                  </a:cubicBezTo>
                  <a:close/>
                </a:path>
              </a:pathLst>
            </a:custGeom>
            <a:solidFill>
              <a:srgbClr val="382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3" name="Freeform 1541">
              <a:extLst>
                <a:ext uri="{FF2B5EF4-FFF2-40B4-BE49-F238E27FC236}">
                  <a16:creationId xmlns:a16="http://schemas.microsoft.com/office/drawing/2014/main" id="{7FC85334-BC8E-4791-9A41-9193655C7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636" y="3723305"/>
              <a:ext cx="643634" cy="454411"/>
            </a:xfrm>
            <a:custGeom>
              <a:avLst/>
              <a:gdLst>
                <a:gd name="T0" fmla="*/ 599 w 599"/>
                <a:gd name="T1" fmla="*/ 423 h 423"/>
                <a:gd name="T2" fmla="*/ 438 w 599"/>
                <a:gd name="T3" fmla="*/ 0 h 423"/>
                <a:gd name="T4" fmla="*/ 406 w 599"/>
                <a:gd name="T5" fmla="*/ 0 h 423"/>
                <a:gd name="T6" fmla="*/ 288 w 599"/>
                <a:gd name="T7" fmla="*/ 187 h 423"/>
                <a:gd name="T8" fmla="*/ 170 w 599"/>
                <a:gd name="T9" fmla="*/ 0 h 423"/>
                <a:gd name="T10" fmla="*/ 137 w 599"/>
                <a:gd name="T11" fmla="*/ 0 h 423"/>
                <a:gd name="T12" fmla="*/ 0 w 599"/>
                <a:gd name="T13" fmla="*/ 255 h 423"/>
                <a:gd name="T14" fmla="*/ 100 w 599"/>
                <a:gd name="T15" fmla="*/ 285 h 423"/>
                <a:gd name="T16" fmla="*/ 84 w 599"/>
                <a:gd name="T17" fmla="*/ 423 h 423"/>
                <a:gd name="T18" fmla="*/ 599 w 599"/>
                <a:gd name="T19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423">
                  <a:moveTo>
                    <a:pt x="599" y="423"/>
                  </a:moveTo>
                  <a:cubicBezTo>
                    <a:pt x="546" y="165"/>
                    <a:pt x="438" y="0"/>
                    <a:pt x="438" y="0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379" y="74"/>
                    <a:pt x="342" y="139"/>
                    <a:pt x="288" y="187"/>
                  </a:cubicBezTo>
                  <a:cubicBezTo>
                    <a:pt x="233" y="139"/>
                    <a:pt x="197" y="74"/>
                    <a:pt x="170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0"/>
                    <a:pt x="21" y="107"/>
                    <a:pt x="0" y="255"/>
                  </a:cubicBezTo>
                  <a:cubicBezTo>
                    <a:pt x="100" y="285"/>
                    <a:pt x="100" y="285"/>
                    <a:pt x="100" y="285"/>
                  </a:cubicBezTo>
                  <a:cubicBezTo>
                    <a:pt x="100" y="285"/>
                    <a:pt x="91" y="354"/>
                    <a:pt x="84" y="423"/>
                  </a:cubicBezTo>
                  <a:lnTo>
                    <a:pt x="599" y="423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4" name="Freeform 1542">
              <a:extLst>
                <a:ext uri="{FF2B5EF4-FFF2-40B4-BE49-F238E27FC236}">
                  <a16:creationId xmlns:a16="http://schemas.microsoft.com/office/drawing/2014/main" id="{71C6A3D6-A819-43B8-B79C-C10524C98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506" y="3911146"/>
              <a:ext cx="12736" cy="253815"/>
            </a:xfrm>
            <a:custGeom>
              <a:avLst/>
              <a:gdLst>
                <a:gd name="T0" fmla="*/ 3 w 12"/>
                <a:gd name="T1" fmla="*/ 236 h 236"/>
                <a:gd name="T2" fmla="*/ 12 w 12"/>
                <a:gd name="T3" fmla="*/ 236 h 236"/>
                <a:gd name="T4" fmla="*/ 12 w 12"/>
                <a:gd name="T5" fmla="*/ 0 h 236"/>
                <a:gd name="T6" fmla="*/ 3 w 12"/>
                <a:gd name="T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6">
                  <a:moveTo>
                    <a:pt x="3" y="236"/>
                  </a:moveTo>
                  <a:cubicBezTo>
                    <a:pt x="12" y="236"/>
                    <a:pt x="12" y="236"/>
                    <a:pt x="12" y="23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" y="76"/>
                    <a:pt x="0" y="164"/>
                    <a:pt x="3" y="236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5" name="Freeform 1543">
              <a:extLst>
                <a:ext uri="{FF2B5EF4-FFF2-40B4-BE49-F238E27FC236}">
                  <a16:creationId xmlns:a16="http://schemas.microsoft.com/office/drawing/2014/main" id="{75747E90-3920-4739-956C-0DDFC7338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946" y="3741481"/>
              <a:ext cx="163297" cy="169665"/>
            </a:xfrm>
            <a:custGeom>
              <a:avLst/>
              <a:gdLst>
                <a:gd name="T0" fmla="*/ 45 w 152"/>
                <a:gd name="T1" fmla="*/ 0 h 158"/>
                <a:gd name="T2" fmla="*/ 24 w 152"/>
                <a:gd name="T3" fmla="*/ 80 h 158"/>
                <a:gd name="T4" fmla="*/ 70 w 152"/>
                <a:gd name="T5" fmla="*/ 99 h 158"/>
                <a:gd name="T6" fmla="*/ 54 w 152"/>
                <a:gd name="T7" fmla="*/ 130 h 158"/>
                <a:gd name="T8" fmla="*/ 152 w 152"/>
                <a:gd name="T9" fmla="*/ 158 h 158"/>
                <a:gd name="T10" fmla="*/ 45 w 152"/>
                <a:gd name="T11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58">
                  <a:moveTo>
                    <a:pt x="45" y="0"/>
                  </a:moveTo>
                  <a:cubicBezTo>
                    <a:pt x="28" y="21"/>
                    <a:pt x="0" y="62"/>
                    <a:pt x="24" y="80"/>
                  </a:cubicBezTo>
                  <a:cubicBezTo>
                    <a:pt x="37" y="91"/>
                    <a:pt x="70" y="99"/>
                    <a:pt x="70" y="99"/>
                  </a:cubicBezTo>
                  <a:cubicBezTo>
                    <a:pt x="70" y="99"/>
                    <a:pt x="45" y="113"/>
                    <a:pt x="54" y="130"/>
                  </a:cubicBezTo>
                  <a:cubicBezTo>
                    <a:pt x="66" y="157"/>
                    <a:pt x="152" y="158"/>
                    <a:pt x="152" y="158"/>
                  </a:cubicBezTo>
                  <a:cubicBezTo>
                    <a:pt x="105" y="116"/>
                    <a:pt x="71" y="62"/>
                    <a:pt x="45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6" name="Freeform 1544">
              <a:extLst>
                <a:ext uri="{FF2B5EF4-FFF2-40B4-BE49-F238E27FC236}">
                  <a16:creationId xmlns:a16="http://schemas.microsoft.com/office/drawing/2014/main" id="{54EE785D-2078-4EBD-BC96-88698F22D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242" y="3741481"/>
              <a:ext cx="163752" cy="169665"/>
            </a:xfrm>
            <a:custGeom>
              <a:avLst/>
              <a:gdLst>
                <a:gd name="T0" fmla="*/ 106 w 152"/>
                <a:gd name="T1" fmla="*/ 0 h 158"/>
                <a:gd name="T2" fmla="*/ 128 w 152"/>
                <a:gd name="T3" fmla="*/ 80 h 158"/>
                <a:gd name="T4" fmla="*/ 82 w 152"/>
                <a:gd name="T5" fmla="*/ 99 h 158"/>
                <a:gd name="T6" fmla="*/ 98 w 152"/>
                <a:gd name="T7" fmla="*/ 130 h 158"/>
                <a:gd name="T8" fmla="*/ 0 w 152"/>
                <a:gd name="T9" fmla="*/ 158 h 158"/>
                <a:gd name="T10" fmla="*/ 106 w 152"/>
                <a:gd name="T11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58">
                  <a:moveTo>
                    <a:pt x="106" y="0"/>
                  </a:moveTo>
                  <a:cubicBezTo>
                    <a:pt x="123" y="21"/>
                    <a:pt x="152" y="62"/>
                    <a:pt x="128" y="80"/>
                  </a:cubicBezTo>
                  <a:cubicBezTo>
                    <a:pt x="114" y="91"/>
                    <a:pt x="82" y="99"/>
                    <a:pt x="82" y="99"/>
                  </a:cubicBezTo>
                  <a:cubicBezTo>
                    <a:pt x="82" y="99"/>
                    <a:pt x="106" y="113"/>
                    <a:pt x="98" y="130"/>
                  </a:cubicBezTo>
                  <a:cubicBezTo>
                    <a:pt x="85" y="157"/>
                    <a:pt x="0" y="158"/>
                    <a:pt x="0" y="158"/>
                  </a:cubicBezTo>
                  <a:cubicBezTo>
                    <a:pt x="47" y="116"/>
                    <a:pt x="80" y="62"/>
                    <a:pt x="106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7" name="Freeform 1545">
              <a:extLst>
                <a:ext uri="{FF2B5EF4-FFF2-40B4-BE49-F238E27FC236}">
                  <a16:creationId xmlns:a16="http://schemas.microsoft.com/office/drawing/2014/main" id="{CFE255B8-4F26-4C33-8ED5-6AF11E021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3822" y="3897499"/>
              <a:ext cx="57313" cy="267460"/>
            </a:xfrm>
            <a:custGeom>
              <a:avLst/>
              <a:gdLst>
                <a:gd name="T0" fmla="*/ 0 w 53"/>
                <a:gd name="T1" fmla="*/ 0 h 249"/>
                <a:gd name="T2" fmla="*/ 35 w 53"/>
                <a:gd name="T3" fmla="*/ 249 h 249"/>
                <a:gd name="T4" fmla="*/ 53 w 53"/>
                <a:gd name="T5" fmla="*/ 249 h 249"/>
                <a:gd name="T6" fmla="*/ 0 w 53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49">
                  <a:moveTo>
                    <a:pt x="0" y="0"/>
                  </a:moveTo>
                  <a:cubicBezTo>
                    <a:pt x="14" y="69"/>
                    <a:pt x="27" y="180"/>
                    <a:pt x="35" y="249"/>
                  </a:cubicBezTo>
                  <a:cubicBezTo>
                    <a:pt x="53" y="249"/>
                    <a:pt x="53" y="249"/>
                    <a:pt x="53" y="249"/>
                  </a:cubicBezTo>
                  <a:cubicBezTo>
                    <a:pt x="37" y="14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8" name="Freeform 1546">
              <a:extLst>
                <a:ext uri="{FF2B5EF4-FFF2-40B4-BE49-F238E27FC236}">
                  <a16:creationId xmlns:a16="http://schemas.microsoft.com/office/drawing/2014/main" id="{6E059419-76A3-4CAE-A9FD-7F5C222D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177" y="3870662"/>
              <a:ext cx="35480" cy="146012"/>
            </a:xfrm>
            <a:custGeom>
              <a:avLst/>
              <a:gdLst>
                <a:gd name="T0" fmla="*/ 18 w 33"/>
                <a:gd name="T1" fmla="*/ 136 h 136"/>
                <a:gd name="T2" fmla="*/ 33 w 33"/>
                <a:gd name="T3" fmla="*/ 0 h 136"/>
                <a:gd name="T4" fmla="*/ 0 w 33"/>
                <a:gd name="T5" fmla="*/ 131 h 136"/>
                <a:gd name="T6" fmla="*/ 18 w 33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36">
                  <a:moveTo>
                    <a:pt x="18" y="136"/>
                  </a:moveTo>
                  <a:cubicBezTo>
                    <a:pt x="18" y="136"/>
                    <a:pt x="24" y="48"/>
                    <a:pt x="33" y="0"/>
                  </a:cubicBezTo>
                  <a:cubicBezTo>
                    <a:pt x="33" y="0"/>
                    <a:pt x="6" y="66"/>
                    <a:pt x="0" y="131"/>
                  </a:cubicBezTo>
                  <a:lnTo>
                    <a:pt x="18" y="136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9" name="Freeform 1551">
              <a:extLst>
                <a:ext uri="{FF2B5EF4-FFF2-40B4-BE49-F238E27FC236}">
                  <a16:creationId xmlns:a16="http://schemas.microsoft.com/office/drawing/2014/main" id="{D6C7FE08-6729-4AEB-9636-16CD23119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831" y="3047356"/>
              <a:ext cx="799653" cy="448041"/>
            </a:xfrm>
            <a:custGeom>
              <a:avLst/>
              <a:gdLst>
                <a:gd name="T0" fmla="*/ 128 w 744"/>
                <a:gd name="T1" fmla="*/ 417 h 417"/>
                <a:gd name="T2" fmla="*/ 128 w 744"/>
                <a:gd name="T3" fmla="*/ 237 h 417"/>
                <a:gd name="T4" fmla="*/ 60 w 744"/>
                <a:gd name="T5" fmla="*/ 88 h 417"/>
                <a:gd name="T6" fmla="*/ 400 w 744"/>
                <a:gd name="T7" fmla="*/ 0 h 417"/>
                <a:gd name="T8" fmla="*/ 740 w 744"/>
                <a:gd name="T9" fmla="*/ 158 h 417"/>
                <a:gd name="T10" fmla="*/ 719 w 744"/>
                <a:gd name="T11" fmla="*/ 259 h 417"/>
                <a:gd name="T12" fmla="*/ 707 w 744"/>
                <a:gd name="T13" fmla="*/ 417 h 417"/>
                <a:gd name="T14" fmla="*/ 128 w 744"/>
                <a:gd name="T15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4" h="417">
                  <a:moveTo>
                    <a:pt x="128" y="417"/>
                  </a:moveTo>
                  <a:cubicBezTo>
                    <a:pt x="128" y="417"/>
                    <a:pt x="106" y="301"/>
                    <a:pt x="128" y="237"/>
                  </a:cubicBezTo>
                  <a:cubicBezTo>
                    <a:pt x="128" y="237"/>
                    <a:pt x="0" y="189"/>
                    <a:pt x="60" y="88"/>
                  </a:cubicBezTo>
                  <a:cubicBezTo>
                    <a:pt x="110" y="3"/>
                    <a:pt x="315" y="0"/>
                    <a:pt x="400" y="0"/>
                  </a:cubicBezTo>
                  <a:cubicBezTo>
                    <a:pt x="484" y="0"/>
                    <a:pt x="744" y="7"/>
                    <a:pt x="740" y="158"/>
                  </a:cubicBezTo>
                  <a:cubicBezTo>
                    <a:pt x="738" y="233"/>
                    <a:pt x="719" y="259"/>
                    <a:pt x="719" y="259"/>
                  </a:cubicBezTo>
                  <a:cubicBezTo>
                    <a:pt x="719" y="259"/>
                    <a:pt x="740" y="340"/>
                    <a:pt x="707" y="417"/>
                  </a:cubicBezTo>
                  <a:lnTo>
                    <a:pt x="128" y="417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0" name="Freeform 1552">
              <a:extLst>
                <a:ext uri="{FF2B5EF4-FFF2-40B4-BE49-F238E27FC236}">
                  <a16:creationId xmlns:a16="http://schemas.microsoft.com/office/drawing/2014/main" id="{67E92D80-BDB0-4E03-AAEC-11856E46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156" y="3329829"/>
              <a:ext cx="52765" cy="19560"/>
            </a:xfrm>
            <a:custGeom>
              <a:avLst/>
              <a:gdLst>
                <a:gd name="T0" fmla="*/ 1 w 49"/>
                <a:gd name="T1" fmla="*/ 18 h 18"/>
                <a:gd name="T2" fmla="*/ 49 w 49"/>
                <a:gd name="T3" fmla="*/ 7 h 18"/>
                <a:gd name="T4" fmla="*/ 48 w 49"/>
                <a:gd name="T5" fmla="*/ 0 h 18"/>
                <a:gd name="T6" fmla="*/ 0 w 49"/>
                <a:gd name="T7" fmla="*/ 10 h 18"/>
                <a:gd name="T8" fmla="*/ 1 w 4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8">
                  <a:moveTo>
                    <a:pt x="1" y="18"/>
                  </a:moveTo>
                  <a:cubicBezTo>
                    <a:pt x="2" y="18"/>
                    <a:pt x="30" y="17"/>
                    <a:pt x="49" y="7"/>
                  </a:cubicBezTo>
                  <a:cubicBezTo>
                    <a:pt x="49" y="4"/>
                    <a:pt x="48" y="2"/>
                    <a:pt x="48" y="0"/>
                  </a:cubicBezTo>
                  <a:cubicBezTo>
                    <a:pt x="31" y="10"/>
                    <a:pt x="1" y="10"/>
                    <a:pt x="0" y="10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1" name="Freeform 1553">
              <a:extLst>
                <a:ext uri="{FF2B5EF4-FFF2-40B4-BE49-F238E27FC236}">
                  <a16:creationId xmlns:a16="http://schemas.microsoft.com/office/drawing/2014/main" id="{FF12BA45-272F-45E3-B06B-03C0F0477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609" y="3358938"/>
              <a:ext cx="61408" cy="18195"/>
            </a:xfrm>
            <a:custGeom>
              <a:avLst/>
              <a:gdLst>
                <a:gd name="T0" fmla="*/ 0 w 57"/>
                <a:gd name="T1" fmla="*/ 17 h 17"/>
                <a:gd name="T2" fmla="*/ 57 w 57"/>
                <a:gd name="T3" fmla="*/ 7 h 17"/>
                <a:gd name="T4" fmla="*/ 56 w 57"/>
                <a:gd name="T5" fmla="*/ 0 h 17"/>
                <a:gd name="T6" fmla="*/ 0 w 57"/>
                <a:gd name="T7" fmla="*/ 9 h 17"/>
                <a:gd name="T8" fmla="*/ 0 w 5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7">
                  <a:moveTo>
                    <a:pt x="0" y="17"/>
                  </a:moveTo>
                  <a:cubicBezTo>
                    <a:pt x="2" y="17"/>
                    <a:pt x="31" y="16"/>
                    <a:pt x="57" y="7"/>
                  </a:cubicBezTo>
                  <a:cubicBezTo>
                    <a:pt x="57" y="5"/>
                    <a:pt x="56" y="2"/>
                    <a:pt x="56" y="0"/>
                  </a:cubicBezTo>
                  <a:cubicBezTo>
                    <a:pt x="31" y="8"/>
                    <a:pt x="0" y="9"/>
                    <a:pt x="0" y="9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2" name="Freeform 1554">
              <a:extLst>
                <a:ext uri="{FF2B5EF4-FFF2-40B4-BE49-F238E27FC236}">
                  <a16:creationId xmlns:a16="http://schemas.microsoft.com/office/drawing/2014/main" id="{A3F583FD-E4A2-44A3-88F7-63C9FBF95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425" y="3388960"/>
              <a:ext cx="65501" cy="15010"/>
            </a:xfrm>
            <a:custGeom>
              <a:avLst/>
              <a:gdLst>
                <a:gd name="T0" fmla="*/ 0 w 61"/>
                <a:gd name="T1" fmla="*/ 14 h 14"/>
                <a:gd name="T2" fmla="*/ 61 w 61"/>
                <a:gd name="T3" fmla="*/ 7 h 14"/>
                <a:gd name="T4" fmla="*/ 61 w 61"/>
                <a:gd name="T5" fmla="*/ 0 h 14"/>
                <a:gd name="T6" fmla="*/ 0 w 61"/>
                <a:gd name="T7" fmla="*/ 6 h 14"/>
                <a:gd name="T8" fmla="*/ 0 w 6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4">
                  <a:moveTo>
                    <a:pt x="0" y="14"/>
                  </a:moveTo>
                  <a:cubicBezTo>
                    <a:pt x="2" y="14"/>
                    <a:pt x="36" y="13"/>
                    <a:pt x="61" y="7"/>
                  </a:cubicBezTo>
                  <a:cubicBezTo>
                    <a:pt x="61" y="5"/>
                    <a:pt x="61" y="2"/>
                    <a:pt x="61" y="0"/>
                  </a:cubicBezTo>
                  <a:cubicBezTo>
                    <a:pt x="36" y="5"/>
                    <a:pt x="0" y="6"/>
                    <a:pt x="0" y="6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3" name="Freeform 1555">
              <a:extLst>
                <a:ext uri="{FF2B5EF4-FFF2-40B4-BE49-F238E27FC236}">
                  <a16:creationId xmlns:a16="http://schemas.microsoft.com/office/drawing/2014/main" id="{C4FE4AD3-3BA0-4B84-9C84-881C90BA4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0241" y="3417163"/>
              <a:ext cx="67776" cy="11827"/>
            </a:xfrm>
            <a:custGeom>
              <a:avLst/>
              <a:gdLst>
                <a:gd name="T0" fmla="*/ 0 w 63"/>
                <a:gd name="T1" fmla="*/ 3 h 11"/>
                <a:gd name="T2" fmla="*/ 0 w 63"/>
                <a:gd name="T3" fmla="*/ 11 h 11"/>
                <a:gd name="T4" fmla="*/ 17 w 63"/>
                <a:gd name="T5" fmla="*/ 11 h 11"/>
                <a:gd name="T6" fmla="*/ 62 w 63"/>
                <a:gd name="T7" fmla="*/ 8 h 11"/>
                <a:gd name="T8" fmla="*/ 63 w 63"/>
                <a:gd name="T9" fmla="*/ 0 h 11"/>
                <a:gd name="T10" fmla="*/ 0 w 63"/>
                <a:gd name="T1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1">
                  <a:moveTo>
                    <a:pt x="0" y="3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7" y="11"/>
                    <a:pt x="17" y="11"/>
                  </a:cubicBezTo>
                  <a:cubicBezTo>
                    <a:pt x="30" y="11"/>
                    <a:pt x="48" y="11"/>
                    <a:pt x="62" y="8"/>
                  </a:cubicBezTo>
                  <a:cubicBezTo>
                    <a:pt x="62" y="5"/>
                    <a:pt x="63" y="3"/>
                    <a:pt x="63" y="0"/>
                  </a:cubicBezTo>
                  <a:cubicBezTo>
                    <a:pt x="39" y="5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4" name="Freeform 1556">
              <a:extLst>
                <a:ext uri="{FF2B5EF4-FFF2-40B4-BE49-F238E27FC236}">
                  <a16:creationId xmlns:a16="http://schemas.microsoft.com/office/drawing/2014/main" id="{6C13B4F7-D42E-4668-A6AD-DEB00018F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0241" y="3444000"/>
              <a:ext cx="64592" cy="9552"/>
            </a:xfrm>
            <a:custGeom>
              <a:avLst/>
              <a:gdLst>
                <a:gd name="T0" fmla="*/ 0 w 60"/>
                <a:gd name="T1" fmla="*/ 1 h 9"/>
                <a:gd name="T2" fmla="*/ 0 w 60"/>
                <a:gd name="T3" fmla="*/ 8 h 9"/>
                <a:gd name="T4" fmla="*/ 27 w 60"/>
                <a:gd name="T5" fmla="*/ 9 h 9"/>
                <a:gd name="T6" fmla="*/ 58 w 60"/>
                <a:gd name="T7" fmla="*/ 8 h 9"/>
                <a:gd name="T8" fmla="*/ 60 w 60"/>
                <a:gd name="T9" fmla="*/ 0 h 9"/>
                <a:gd name="T10" fmla="*/ 0 w 60"/>
                <a:gd name="T1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9">
                  <a:moveTo>
                    <a:pt x="0" y="1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3" y="9"/>
                    <a:pt x="14" y="9"/>
                    <a:pt x="27" y="9"/>
                  </a:cubicBezTo>
                  <a:cubicBezTo>
                    <a:pt x="37" y="9"/>
                    <a:pt x="48" y="9"/>
                    <a:pt x="58" y="8"/>
                  </a:cubicBezTo>
                  <a:cubicBezTo>
                    <a:pt x="59" y="5"/>
                    <a:pt x="59" y="2"/>
                    <a:pt x="60" y="0"/>
                  </a:cubicBezTo>
                  <a:cubicBezTo>
                    <a:pt x="41" y="3"/>
                    <a:pt x="13" y="2"/>
                    <a:pt x="0" y="1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5" name="Freeform 1557">
              <a:extLst>
                <a:ext uri="{FF2B5EF4-FFF2-40B4-BE49-F238E27FC236}">
                  <a16:creationId xmlns:a16="http://schemas.microsoft.com/office/drawing/2014/main" id="{438B3997-4B11-42DA-8B6E-2D6364C40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8923" y="3325734"/>
              <a:ext cx="59133" cy="23653"/>
            </a:xfrm>
            <a:custGeom>
              <a:avLst/>
              <a:gdLst>
                <a:gd name="T0" fmla="*/ 55 w 55"/>
                <a:gd name="T1" fmla="*/ 14 h 22"/>
                <a:gd name="T2" fmla="*/ 1 w 55"/>
                <a:gd name="T3" fmla="*/ 0 h 22"/>
                <a:gd name="T4" fmla="*/ 0 w 55"/>
                <a:gd name="T5" fmla="*/ 8 h 22"/>
                <a:gd name="T6" fmla="*/ 54 w 55"/>
                <a:gd name="T7" fmla="*/ 22 h 22"/>
                <a:gd name="T8" fmla="*/ 55 w 55"/>
                <a:gd name="T9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2">
                  <a:moveTo>
                    <a:pt x="55" y="14"/>
                  </a:moveTo>
                  <a:cubicBezTo>
                    <a:pt x="54" y="14"/>
                    <a:pt x="20" y="13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  <a:cubicBezTo>
                    <a:pt x="21" y="21"/>
                    <a:pt x="53" y="22"/>
                    <a:pt x="54" y="22"/>
                  </a:cubicBezTo>
                  <a:lnTo>
                    <a:pt x="55" y="14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6" name="Freeform 1558">
              <a:extLst>
                <a:ext uri="{FF2B5EF4-FFF2-40B4-BE49-F238E27FC236}">
                  <a16:creationId xmlns:a16="http://schemas.microsoft.com/office/drawing/2014/main" id="{A1F62929-28D2-476E-912E-A33FF3233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649" y="3356666"/>
              <a:ext cx="65501" cy="20469"/>
            </a:xfrm>
            <a:custGeom>
              <a:avLst/>
              <a:gdLst>
                <a:gd name="T0" fmla="*/ 61 w 61"/>
                <a:gd name="T1" fmla="*/ 11 h 19"/>
                <a:gd name="T2" fmla="*/ 0 w 61"/>
                <a:gd name="T3" fmla="*/ 0 h 19"/>
                <a:gd name="T4" fmla="*/ 0 w 61"/>
                <a:gd name="T5" fmla="*/ 8 h 19"/>
                <a:gd name="T6" fmla="*/ 61 w 61"/>
                <a:gd name="T7" fmla="*/ 19 h 19"/>
                <a:gd name="T8" fmla="*/ 61 w 61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9">
                  <a:moveTo>
                    <a:pt x="61" y="11"/>
                  </a:moveTo>
                  <a:cubicBezTo>
                    <a:pt x="61" y="11"/>
                    <a:pt x="26" y="1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26" y="18"/>
                    <a:pt x="59" y="19"/>
                    <a:pt x="61" y="19"/>
                  </a:cubicBezTo>
                  <a:lnTo>
                    <a:pt x="61" y="11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7" name="Freeform 1559">
              <a:extLst>
                <a:ext uri="{FF2B5EF4-FFF2-40B4-BE49-F238E27FC236}">
                  <a16:creationId xmlns:a16="http://schemas.microsoft.com/office/drawing/2014/main" id="{47D3D8C9-1876-43EC-B70D-43F7FAC69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740" y="3388051"/>
              <a:ext cx="69594" cy="15920"/>
            </a:xfrm>
            <a:custGeom>
              <a:avLst/>
              <a:gdLst>
                <a:gd name="T0" fmla="*/ 65 w 65"/>
                <a:gd name="T1" fmla="*/ 7 h 15"/>
                <a:gd name="T2" fmla="*/ 0 w 65"/>
                <a:gd name="T3" fmla="*/ 0 h 15"/>
                <a:gd name="T4" fmla="*/ 0 w 65"/>
                <a:gd name="T5" fmla="*/ 7 h 15"/>
                <a:gd name="T6" fmla="*/ 65 w 65"/>
                <a:gd name="T7" fmla="*/ 15 h 15"/>
                <a:gd name="T8" fmla="*/ 65 w 65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5">
                  <a:moveTo>
                    <a:pt x="65" y="7"/>
                  </a:moveTo>
                  <a:cubicBezTo>
                    <a:pt x="65" y="7"/>
                    <a:pt x="25" y="6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6" y="13"/>
                    <a:pt x="63" y="15"/>
                    <a:pt x="65" y="15"/>
                  </a:cubicBezTo>
                  <a:lnTo>
                    <a:pt x="65" y="7"/>
                  </a:ln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8" name="Freeform 1560">
              <a:extLst>
                <a:ext uri="{FF2B5EF4-FFF2-40B4-BE49-F238E27FC236}">
                  <a16:creationId xmlns:a16="http://schemas.microsoft.com/office/drawing/2014/main" id="{D2D6004B-1A14-440F-A5CA-7534D4380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649" y="3415797"/>
              <a:ext cx="72323" cy="13190"/>
            </a:xfrm>
            <a:custGeom>
              <a:avLst/>
              <a:gdLst>
                <a:gd name="T0" fmla="*/ 67 w 67"/>
                <a:gd name="T1" fmla="*/ 12 h 12"/>
                <a:gd name="T2" fmla="*/ 67 w 67"/>
                <a:gd name="T3" fmla="*/ 4 h 12"/>
                <a:gd name="T4" fmla="*/ 0 w 67"/>
                <a:gd name="T5" fmla="*/ 0 h 12"/>
                <a:gd name="T6" fmla="*/ 1 w 67"/>
                <a:gd name="T7" fmla="*/ 8 h 12"/>
                <a:gd name="T8" fmla="*/ 50 w 67"/>
                <a:gd name="T9" fmla="*/ 12 h 12"/>
                <a:gd name="T10" fmla="*/ 67 w 67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12">
                  <a:moveTo>
                    <a:pt x="67" y="12"/>
                  </a:moveTo>
                  <a:cubicBezTo>
                    <a:pt x="67" y="4"/>
                    <a:pt x="67" y="4"/>
                    <a:pt x="67" y="4"/>
                  </a:cubicBezTo>
                  <a:cubicBezTo>
                    <a:pt x="66" y="4"/>
                    <a:pt x="23" y="6"/>
                    <a:pt x="0" y="0"/>
                  </a:cubicBezTo>
                  <a:cubicBezTo>
                    <a:pt x="0" y="3"/>
                    <a:pt x="1" y="6"/>
                    <a:pt x="1" y="8"/>
                  </a:cubicBezTo>
                  <a:cubicBezTo>
                    <a:pt x="16" y="12"/>
                    <a:pt x="36" y="12"/>
                    <a:pt x="50" y="12"/>
                  </a:cubicBezTo>
                  <a:cubicBezTo>
                    <a:pt x="60" y="12"/>
                    <a:pt x="66" y="12"/>
                    <a:pt x="67" y="12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9" name="Freeform 1561">
              <a:extLst>
                <a:ext uri="{FF2B5EF4-FFF2-40B4-BE49-F238E27FC236}">
                  <a16:creationId xmlns:a16="http://schemas.microsoft.com/office/drawing/2014/main" id="{2019A952-6E58-46C9-A9EC-A29EDCD08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8923" y="3442634"/>
              <a:ext cx="70048" cy="10918"/>
            </a:xfrm>
            <a:custGeom>
              <a:avLst/>
              <a:gdLst>
                <a:gd name="T0" fmla="*/ 65 w 65"/>
                <a:gd name="T1" fmla="*/ 9 h 10"/>
                <a:gd name="T2" fmla="*/ 65 w 65"/>
                <a:gd name="T3" fmla="*/ 2 h 10"/>
                <a:gd name="T4" fmla="*/ 0 w 65"/>
                <a:gd name="T5" fmla="*/ 0 h 10"/>
                <a:gd name="T6" fmla="*/ 1 w 65"/>
                <a:gd name="T7" fmla="*/ 8 h 10"/>
                <a:gd name="T8" fmla="*/ 38 w 65"/>
                <a:gd name="T9" fmla="*/ 10 h 10"/>
                <a:gd name="T10" fmla="*/ 65 w 65"/>
                <a:gd name="T1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0">
                  <a:moveTo>
                    <a:pt x="65" y="9"/>
                  </a:moveTo>
                  <a:cubicBezTo>
                    <a:pt x="65" y="2"/>
                    <a:pt x="65" y="2"/>
                    <a:pt x="65" y="2"/>
                  </a:cubicBezTo>
                  <a:cubicBezTo>
                    <a:pt x="51" y="3"/>
                    <a:pt x="19" y="4"/>
                    <a:pt x="0" y="0"/>
                  </a:cubicBezTo>
                  <a:cubicBezTo>
                    <a:pt x="0" y="3"/>
                    <a:pt x="1" y="5"/>
                    <a:pt x="1" y="8"/>
                  </a:cubicBezTo>
                  <a:cubicBezTo>
                    <a:pt x="12" y="10"/>
                    <a:pt x="26" y="10"/>
                    <a:pt x="38" y="10"/>
                  </a:cubicBezTo>
                  <a:cubicBezTo>
                    <a:pt x="51" y="10"/>
                    <a:pt x="62" y="10"/>
                    <a:pt x="65" y="9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0" name="Freeform 1562">
              <a:extLst>
                <a:ext uri="{FF2B5EF4-FFF2-40B4-BE49-F238E27FC236}">
                  <a16:creationId xmlns:a16="http://schemas.microsoft.com/office/drawing/2014/main" id="{5EE51576-5C26-4F63-B5B5-551D00A07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4382" y="3302992"/>
              <a:ext cx="67776" cy="21833"/>
            </a:xfrm>
            <a:custGeom>
              <a:avLst/>
              <a:gdLst>
                <a:gd name="T0" fmla="*/ 63 w 63"/>
                <a:gd name="T1" fmla="*/ 20 h 20"/>
                <a:gd name="T2" fmla="*/ 63 w 63"/>
                <a:gd name="T3" fmla="*/ 13 h 20"/>
                <a:gd name="T4" fmla="*/ 63 w 63"/>
                <a:gd name="T5" fmla="*/ 13 h 20"/>
                <a:gd name="T6" fmla="*/ 2 w 63"/>
                <a:gd name="T7" fmla="*/ 0 h 20"/>
                <a:gd name="T8" fmla="*/ 0 w 63"/>
                <a:gd name="T9" fmla="*/ 7 h 20"/>
                <a:gd name="T10" fmla="*/ 63 w 63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20">
                  <a:moveTo>
                    <a:pt x="63" y="20"/>
                  </a:moveTo>
                  <a:cubicBezTo>
                    <a:pt x="63" y="13"/>
                    <a:pt x="63" y="13"/>
                    <a:pt x="63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33" y="13"/>
                    <a:pt x="12" y="4"/>
                    <a:pt x="2" y="0"/>
                  </a:cubicBezTo>
                  <a:cubicBezTo>
                    <a:pt x="1" y="2"/>
                    <a:pt x="0" y="4"/>
                    <a:pt x="0" y="7"/>
                  </a:cubicBezTo>
                  <a:cubicBezTo>
                    <a:pt x="11" y="12"/>
                    <a:pt x="33" y="20"/>
                    <a:pt x="63" y="2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1" name="Freeform 1563">
              <a:extLst>
                <a:ext uri="{FF2B5EF4-FFF2-40B4-BE49-F238E27FC236}">
                  <a16:creationId xmlns:a16="http://schemas.microsoft.com/office/drawing/2014/main" id="{D917E646-0D81-429C-A010-0E26EDC1F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353" y="3450368"/>
              <a:ext cx="99160" cy="201959"/>
            </a:xfrm>
            <a:custGeom>
              <a:avLst/>
              <a:gdLst>
                <a:gd name="T0" fmla="*/ 92 w 92"/>
                <a:gd name="T1" fmla="*/ 37 h 188"/>
                <a:gd name="T2" fmla="*/ 32 w 92"/>
                <a:gd name="T3" fmla="*/ 19 h 188"/>
                <a:gd name="T4" fmla="*/ 92 w 92"/>
                <a:gd name="T5" fmla="*/ 188 h 188"/>
                <a:gd name="T6" fmla="*/ 92 w 92"/>
                <a:gd name="T7" fmla="*/ 3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88">
                  <a:moveTo>
                    <a:pt x="92" y="37"/>
                  </a:moveTo>
                  <a:cubicBezTo>
                    <a:pt x="92" y="37"/>
                    <a:pt x="67" y="0"/>
                    <a:pt x="32" y="19"/>
                  </a:cubicBezTo>
                  <a:cubicBezTo>
                    <a:pt x="0" y="36"/>
                    <a:pt x="20" y="167"/>
                    <a:pt x="92" y="188"/>
                  </a:cubicBezTo>
                  <a:lnTo>
                    <a:pt x="92" y="37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2" name="Freeform 1564">
              <a:extLst>
                <a:ext uri="{FF2B5EF4-FFF2-40B4-BE49-F238E27FC236}">
                  <a16:creationId xmlns:a16="http://schemas.microsoft.com/office/drawing/2014/main" id="{C95C89BE-14BA-40E7-AA15-04B8D7563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425" y="3450368"/>
              <a:ext cx="100070" cy="201959"/>
            </a:xfrm>
            <a:custGeom>
              <a:avLst/>
              <a:gdLst>
                <a:gd name="T0" fmla="*/ 0 w 93"/>
                <a:gd name="T1" fmla="*/ 37 h 188"/>
                <a:gd name="T2" fmla="*/ 61 w 93"/>
                <a:gd name="T3" fmla="*/ 19 h 188"/>
                <a:gd name="T4" fmla="*/ 0 w 93"/>
                <a:gd name="T5" fmla="*/ 188 h 188"/>
                <a:gd name="T6" fmla="*/ 0 w 93"/>
                <a:gd name="T7" fmla="*/ 3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" h="188">
                  <a:moveTo>
                    <a:pt x="0" y="37"/>
                  </a:moveTo>
                  <a:cubicBezTo>
                    <a:pt x="0" y="37"/>
                    <a:pt x="26" y="0"/>
                    <a:pt x="61" y="19"/>
                  </a:cubicBezTo>
                  <a:cubicBezTo>
                    <a:pt x="93" y="36"/>
                    <a:pt x="72" y="167"/>
                    <a:pt x="0" y="188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F4D3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3" name="Freeform 1565">
              <a:extLst>
                <a:ext uri="{FF2B5EF4-FFF2-40B4-BE49-F238E27FC236}">
                  <a16:creationId xmlns:a16="http://schemas.microsoft.com/office/drawing/2014/main" id="{FC0AB11F-563F-4579-9690-6A823F68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8503" y="3297533"/>
              <a:ext cx="549021" cy="466692"/>
            </a:xfrm>
            <a:custGeom>
              <a:avLst/>
              <a:gdLst>
                <a:gd name="T0" fmla="*/ 511 w 511"/>
                <a:gd name="T1" fmla="*/ 359 h 434"/>
                <a:gd name="T2" fmla="*/ 256 w 511"/>
                <a:gd name="T3" fmla="*/ 434 h 434"/>
                <a:gd name="T4" fmla="*/ 0 w 511"/>
                <a:gd name="T5" fmla="*/ 359 h 434"/>
                <a:gd name="T6" fmla="*/ 0 w 511"/>
                <a:gd name="T7" fmla="*/ 43 h 434"/>
                <a:gd name="T8" fmla="*/ 44 w 511"/>
                <a:gd name="T9" fmla="*/ 0 h 434"/>
                <a:gd name="T10" fmla="*/ 468 w 511"/>
                <a:gd name="T11" fmla="*/ 0 h 434"/>
                <a:gd name="T12" fmla="*/ 511 w 511"/>
                <a:gd name="T13" fmla="*/ 43 h 434"/>
                <a:gd name="T14" fmla="*/ 511 w 511"/>
                <a:gd name="T15" fmla="*/ 359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1" h="434">
                  <a:moveTo>
                    <a:pt x="511" y="359"/>
                  </a:moveTo>
                  <a:cubicBezTo>
                    <a:pt x="511" y="359"/>
                    <a:pt x="455" y="434"/>
                    <a:pt x="256" y="434"/>
                  </a:cubicBezTo>
                  <a:cubicBezTo>
                    <a:pt x="56" y="434"/>
                    <a:pt x="0" y="359"/>
                    <a:pt x="0" y="35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468" y="0"/>
                    <a:pt x="468" y="0"/>
                    <a:pt x="468" y="0"/>
                  </a:cubicBezTo>
                  <a:cubicBezTo>
                    <a:pt x="492" y="0"/>
                    <a:pt x="511" y="19"/>
                    <a:pt x="511" y="43"/>
                  </a:cubicBezTo>
                  <a:lnTo>
                    <a:pt x="511" y="359"/>
                  </a:lnTo>
                  <a:close/>
                </a:path>
              </a:pathLst>
            </a:custGeom>
            <a:solidFill>
              <a:srgbClr val="F9D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4" name="Oval 1566">
              <a:extLst>
                <a:ext uri="{FF2B5EF4-FFF2-40B4-BE49-F238E27FC236}">
                  <a16:creationId xmlns:a16="http://schemas.microsoft.com/office/drawing/2014/main" id="{0BD04443-6EF0-4003-A949-69710BB4F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2198" y="3476295"/>
              <a:ext cx="61408" cy="60951"/>
            </a:xfrm>
            <a:prstGeom prst="ellipse">
              <a:avLst/>
            </a:prstGeom>
            <a:solidFill>
              <a:srgbClr val="3A33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5" name="Freeform 1567">
              <a:extLst>
                <a:ext uri="{FF2B5EF4-FFF2-40B4-BE49-F238E27FC236}">
                  <a16:creationId xmlns:a16="http://schemas.microsoft.com/office/drawing/2014/main" id="{54E95B05-033D-4B56-9A4E-24D249781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4025" y="3479480"/>
              <a:ext cx="24562" cy="15920"/>
            </a:xfrm>
            <a:custGeom>
              <a:avLst/>
              <a:gdLst>
                <a:gd name="T0" fmla="*/ 23 w 23"/>
                <a:gd name="T1" fmla="*/ 5 h 15"/>
                <a:gd name="T2" fmla="*/ 13 w 23"/>
                <a:gd name="T3" fmla="*/ 14 h 15"/>
                <a:gd name="T4" fmla="*/ 1 w 23"/>
                <a:gd name="T5" fmla="*/ 10 h 15"/>
                <a:gd name="T6" fmla="*/ 11 w 23"/>
                <a:gd name="T7" fmla="*/ 1 h 15"/>
                <a:gd name="T8" fmla="*/ 23 w 23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5"/>
                  </a:moveTo>
                  <a:cubicBezTo>
                    <a:pt x="23" y="9"/>
                    <a:pt x="19" y="12"/>
                    <a:pt x="13" y="14"/>
                  </a:cubicBezTo>
                  <a:cubicBezTo>
                    <a:pt x="7" y="15"/>
                    <a:pt x="2" y="13"/>
                    <a:pt x="1" y="10"/>
                  </a:cubicBezTo>
                  <a:cubicBezTo>
                    <a:pt x="0" y="6"/>
                    <a:pt x="5" y="2"/>
                    <a:pt x="11" y="1"/>
                  </a:cubicBezTo>
                  <a:cubicBezTo>
                    <a:pt x="17" y="0"/>
                    <a:pt x="22" y="2"/>
                    <a:pt x="23" y="5"/>
                  </a:cubicBezTo>
                  <a:close/>
                </a:path>
              </a:pathLst>
            </a:custGeom>
            <a:solidFill>
              <a:srgbClr val="E8DF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6" name="Freeform 1568">
              <a:extLst>
                <a:ext uri="{FF2B5EF4-FFF2-40B4-BE49-F238E27FC236}">
                  <a16:creationId xmlns:a16="http://schemas.microsoft.com/office/drawing/2014/main" id="{9CECDE80-6082-43BA-AFCB-0C87D3733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5809" y="3393509"/>
              <a:ext cx="109623" cy="63226"/>
            </a:xfrm>
            <a:custGeom>
              <a:avLst/>
              <a:gdLst>
                <a:gd name="T0" fmla="*/ 0 w 241"/>
                <a:gd name="T1" fmla="*/ 0 h 139"/>
                <a:gd name="T2" fmla="*/ 4 w 241"/>
                <a:gd name="T3" fmla="*/ 78 h 139"/>
                <a:gd name="T4" fmla="*/ 241 w 241"/>
                <a:gd name="T5" fmla="*/ 139 h 139"/>
                <a:gd name="T6" fmla="*/ 241 w 241"/>
                <a:gd name="T7" fmla="*/ 66 h 139"/>
                <a:gd name="T8" fmla="*/ 0 w 241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0" y="0"/>
                  </a:moveTo>
                  <a:lnTo>
                    <a:pt x="4" y="78"/>
                  </a:lnTo>
                  <a:lnTo>
                    <a:pt x="241" y="139"/>
                  </a:lnTo>
                  <a:lnTo>
                    <a:pt x="241" y="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7" name="Oval 1569">
              <a:extLst>
                <a:ext uri="{FF2B5EF4-FFF2-40B4-BE49-F238E27FC236}">
                  <a16:creationId xmlns:a16="http://schemas.microsoft.com/office/drawing/2014/main" id="{2C2378A8-4EFE-407B-BEA3-AD7E6B1B8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6516" y="3476295"/>
              <a:ext cx="61408" cy="60951"/>
            </a:xfrm>
            <a:prstGeom prst="ellipse">
              <a:avLst/>
            </a:prstGeom>
            <a:solidFill>
              <a:srgbClr val="3A33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8" name="Freeform 1570">
              <a:extLst>
                <a:ext uri="{FF2B5EF4-FFF2-40B4-BE49-F238E27FC236}">
                  <a16:creationId xmlns:a16="http://schemas.microsoft.com/office/drawing/2014/main" id="{C76B4A0E-6B15-4212-8EBD-0E5AD36D2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8343" y="3479480"/>
              <a:ext cx="25017" cy="15920"/>
            </a:xfrm>
            <a:custGeom>
              <a:avLst/>
              <a:gdLst>
                <a:gd name="T0" fmla="*/ 22 w 23"/>
                <a:gd name="T1" fmla="*/ 5 h 15"/>
                <a:gd name="T2" fmla="*/ 12 w 23"/>
                <a:gd name="T3" fmla="*/ 14 h 15"/>
                <a:gd name="T4" fmla="*/ 0 w 23"/>
                <a:gd name="T5" fmla="*/ 10 h 15"/>
                <a:gd name="T6" fmla="*/ 10 w 23"/>
                <a:gd name="T7" fmla="*/ 1 h 15"/>
                <a:gd name="T8" fmla="*/ 22 w 23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2" y="5"/>
                  </a:moveTo>
                  <a:cubicBezTo>
                    <a:pt x="23" y="9"/>
                    <a:pt x="18" y="12"/>
                    <a:pt x="12" y="14"/>
                  </a:cubicBezTo>
                  <a:cubicBezTo>
                    <a:pt x="6" y="15"/>
                    <a:pt x="1" y="13"/>
                    <a:pt x="0" y="10"/>
                  </a:cubicBezTo>
                  <a:cubicBezTo>
                    <a:pt x="0" y="6"/>
                    <a:pt x="4" y="2"/>
                    <a:pt x="10" y="1"/>
                  </a:cubicBezTo>
                  <a:cubicBezTo>
                    <a:pt x="16" y="0"/>
                    <a:pt x="21" y="2"/>
                    <a:pt x="22" y="5"/>
                  </a:cubicBezTo>
                  <a:close/>
                </a:path>
              </a:pathLst>
            </a:custGeom>
            <a:solidFill>
              <a:srgbClr val="E8DF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9" name="Freeform 1571">
              <a:extLst>
                <a:ext uri="{FF2B5EF4-FFF2-40B4-BE49-F238E27FC236}">
                  <a16:creationId xmlns:a16="http://schemas.microsoft.com/office/drawing/2014/main" id="{BE7DE29A-5D9C-4A58-B018-5AC1FDA1A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4689" y="3393509"/>
              <a:ext cx="109623" cy="63226"/>
            </a:xfrm>
            <a:custGeom>
              <a:avLst/>
              <a:gdLst>
                <a:gd name="T0" fmla="*/ 241 w 241"/>
                <a:gd name="T1" fmla="*/ 0 h 139"/>
                <a:gd name="T2" fmla="*/ 237 w 241"/>
                <a:gd name="T3" fmla="*/ 78 h 139"/>
                <a:gd name="T4" fmla="*/ 0 w 241"/>
                <a:gd name="T5" fmla="*/ 139 h 139"/>
                <a:gd name="T6" fmla="*/ 0 w 241"/>
                <a:gd name="T7" fmla="*/ 66 h 139"/>
                <a:gd name="T8" fmla="*/ 241 w 241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139">
                  <a:moveTo>
                    <a:pt x="241" y="0"/>
                  </a:moveTo>
                  <a:lnTo>
                    <a:pt x="237" y="78"/>
                  </a:lnTo>
                  <a:lnTo>
                    <a:pt x="0" y="139"/>
                  </a:lnTo>
                  <a:lnTo>
                    <a:pt x="0" y="66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515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0" name="Freeform 1574">
              <a:extLst>
                <a:ext uri="{FF2B5EF4-FFF2-40B4-BE49-F238E27FC236}">
                  <a16:creationId xmlns:a16="http://schemas.microsoft.com/office/drawing/2014/main" id="{160A43D1-6D0D-4744-B7B6-A50AAE1A7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758" y="3559080"/>
              <a:ext cx="83695" cy="22290"/>
            </a:xfrm>
            <a:custGeom>
              <a:avLst/>
              <a:gdLst>
                <a:gd name="T0" fmla="*/ 38 w 78"/>
                <a:gd name="T1" fmla="*/ 0 h 21"/>
                <a:gd name="T2" fmla="*/ 78 w 78"/>
                <a:gd name="T3" fmla="*/ 21 h 21"/>
                <a:gd name="T4" fmla="*/ 39 w 78"/>
                <a:gd name="T5" fmla="*/ 10 h 21"/>
                <a:gd name="T6" fmla="*/ 0 w 78"/>
                <a:gd name="T7" fmla="*/ 21 h 21"/>
                <a:gd name="T8" fmla="*/ 38 w 7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21">
                  <a:moveTo>
                    <a:pt x="38" y="0"/>
                  </a:moveTo>
                  <a:cubicBezTo>
                    <a:pt x="63" y="0"/>
                    <a:pt x="78" y="21"/>
                    <a:pt x="78" y="21"/>
                  </a:cubicBezTo>
                  <a:cubicBezTo>
                    <a:pt x="78" y="21"/>
                    <a:pt x="60" y="10"/>
                    <a:pt x="39" y="10"/>
                  </a:cubicBezTo>
                  <a:cubicBezTo>
                    <a:pt x="18" y="10"/>
                    <a:pt x="0" y="21"/>
                    <a:pt x="0" y="21"/>
                  </a:cubicBezTo>
                  <a:cubicBezTo>
                    <a:pt x="0" y="21"/>
                    <a:pt x="13" y="0"/>
                    <a:pt x="38" y="0"/>
                  </a:cubicBezTo>
                  <a:close/>
                </a:path>
              </a:pathLst>
            </a:custGeom>
            <a:solidFill>
              <a:srgbClr val="EFC4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1" name="Freeform 1545">
              <a:extLst>
                <a:ext uri="{FF2B5EF4-FFF2-40B4-BE49-F238E27FC236}">
                  <a16:creationId xmlns:a16="http://schemas.microsoft.com/office/drawing/2014/main" id="{2C0AED71-E8F5-4455-B1E9-1163771C0C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77378" y="3916580"/>
              <a:ext cx="57313" cy="267460"/>
            </a:xfrm>
            <a:custGeom>
              <a:avLst/>
              <a:gdLst>
                <a:gd name="T0" fmla="*/ 0 w 53"/>
                <a:gd name="T1" fmla="*/ 0 h 249"/>
                <a:gd name="T2" fmla="*/ 35 w 53"/>
                <a:gd name="T3" fmla="*/ 249 h 249"/>
                <a:gd name="T4" fmla="*/ 53 w 53"/>
                <a:gd name="T5" fmla="*/ 249 h 249"/>
                <a:gd name="T6" fmla="*/ 0 w 53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49">
                  <a:moveTo>
                    <a:pt x="0" y="0"/>
                  </a:moveTo>
                  <a:cubicBezTo>
                    <a:pt x="14" y="69"/>
                    <a:pt x="27" y="180"/>
                    <a:pt x="35" y="249"/>
                  </a:cubicBezTo>
                  <a:cubicBezTo>
                    <a:pt x="53" y="249"/>
                    <a:pt x="53" y="249"/>
                    <a:pt x="53" y="249"/>
                  </a:cubicBezTo>
                  <a:cubicBezTo>
                    <a:pt x="37" y="14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93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72" name="组合 271">
              <a:extLst>
                <a:ext uri="{FF2B5EF4-FFF2-40B4-BE49-F238E27FC236}">
                  <a16:creationId xmlns:a16="http://schemas.microsoft.com/office/drawing/2014/main" id="{F6BEDBB0-A6D7-409B-96F3-451ED46C7C05}"/>
                </a:ext>
              </a:extLst>
            </p:cNvPr>
            <p:cNvGrpSpPr/>
            <p:nvPr/>
          </p:nvGrpSpPr>
          <p:grpSpPr>
            <a:xfrm>
              <a:off x="6001272" y="3658928"/>
              <a:ext cx="175557" cy="63031"/>
              <a:chOff x="7311428" y="3676256"/>
              <a:chExt cx="175557" cy="63031"/>
            </a:xfrm>
          </p:grpSpPr>
          <p:sp>
            <p:nvSpPr>
              <p:cNvPr id="273" name="Freeform 1665">
                <a:extLst>
                  <a:ext uri="{FF2B5EF4-FFF2-40B4-BE49-F238E27FC236}">
                    <a16:creationId xmlns:a16="http://schemas.microsoft.com/office/drawing/2014/main" id="{57208567-C0EA-40DB-B265-BB6A7486B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1428" y="3676256"/>
                <a:ext cx="175557" cy="63031"/>
              </a:xfrm>
              <a:custGeom>
                <a:avLst/>
                <a:gdLst>
                  <a:gd name="T0" fmla="*/ 23 w 192"/>
                  <a:gd name="T1" fmla="*/ 9 h 69"/>
                  <a:gd name="T2" fmla="*/ 169 w 192"/>
                  <a:gd name="T3" fmla="*/ 0 h 69"/>
                  <a:gd name="T4" fmla="*/ 96 w 192"/>
                  <a:gd name="T5" fmla="*/ 68 h 69"/>
                  <a:gd name="T6" fmla="*/ 23 w 192"/>
                  <a:gd name="T7" fmla="*/ 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2" h="69">
                    <a:moveTo>
                      <a:pt x="23" y="9"/>
                    </a:moveTo>
                    <a:cubicBezTo>
                      <a:pt x="23" y="9"/>
                      <a:pt x="107" y="15"/>
                      <a:pt x="169" y="0"/>
                    </a:cubicBezTo>
                    <a:cubicBezTo>
                      <a:pt x="169" y="0"/>
                      <a:pt x="192" y="69"/>
                      <a:pt x="96" y="68"/>
                    </a:cubicBezTo>
                    <a:cubicBezTo>
                      <a:pt x="0" y="67"/>
                      <a:pt x="23" y="9"/>
                      <a:pt x="23" y="9"/>
                    </a:cubicBezTo>
                    <a:close/>
                  </a:path>
                </a:pathLst>
              </a:custGeom>
              <a:solidFill>
                <a:srgbClr val="49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4" name="Freeform 1666">
                <a:extLst>
                  <a:ext uri="{FF2B5EF4-FFF2-40B4-BE49-F238E27FC236}">
                    <a16:creationId xmlns:a16="http://schemas.microsoft.com/office/drawing/2014/main" id="{DAF78240-C8E0-4312-8994-C657D08FD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0871" y="3703711"/>
                <a:ext cx="104019" cy="34803"/>
              </a:xfrm>
              <a:custGeom>
                <a:avLst/>
                <a:gdLst>
                  <a:gd name="T0" fmla="*/ 59 w 114"/>
                  <a:gd name="T1" fmla="*/ 0 h 38"/>
                  <a:gd name="T2" fmla="*/ 0 w 114"/>
                  <a:gd name="T3" fmla="*/ 28 h 38"/>
                  <a:gd name="T4" fmla="*/ 53 w 114"/>
                  <a:gd name="T5" fmla="*/ 38 h 38"/>
                  <a:gd name="T6" fmla="*/ 114 w 114"/>
                  <a:gd name="T7" fmla="*/ 21 h 38"/>
                  <a:gd name="T8" fmla="*/ 59 w 11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38">
                    <a:moveTo>
                      <a:pt x="59" y="0"/>
                    </a:moveTo>
                    <a:cubicBezTo>
                      <a:pt x="32" y="0"/>
                      <a:pt x="9" y="11"/>
                      <a:pt x="0" y="28"/>
                    </a:cubicBezTo>
                    <a:cubicBezTo>
                      <a:pt x="12" y="34"/>
                      <a:pt x="28" y="38"/>
                      <a:pt x="53" y="38"/>
                    </a:cubicBezTo>
                    <a:cubicBezTo>
                      <a:pt x="84" y="38"/>
                      <a:pt x="103" y="31"/>
                      <a:pt x="114" y="21"/>
                    </a:cubicBezTo>
                    <a:cubicBezTo>
                      <a:pt x="103" y="8"/>
                      <a:pt x="83" y="0"/>
                      <a:pt x="59" y="0"/>
                    </a:cubicBezTo>
                    <a:close/>
                  </a:path>
                </a:pathLst>
              </a:custGeom>
              <a:solidFill>
                <a:srgbClr val="C650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9097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8"/>
          <p:cNvSpPr>
            <a:spLocks noChangeArrowheads="1"/>
          </p:cNvSpPr>
          <p:nvPr/>
        </p:nvSpPr>
        <p:spPr bwMode="auto">
          <a:xfrm flipH="1">
            <a:off x="1913635" y="2303545"/>
            <a:ext cx="1990725" cy="3595116"/>
          </a:xfrm>
          <a:custGeom>
            <a:avLst/>
            <a:gdLst>
              <a:gd name="T0" fmla="*/ 519152188 w 1254"/>
              <a:gd name="T1" fmla="*/ 2147483646 h 1103"/>
              <a:gd name="T2" fmla="*/ 2147483646 w 1254"/>
              <a:gd name="T3" fmla="*/ 2147483646 h 1103"/>
              <a:gd name="T4" fmla="*/ 2147483646 w 1254"/>
              <a:gd name="T5" fmla="*/ 0 h 1103"/>
              <a:gd name="T6" fmla="*/ 519152188 w 1254"/>
              <a:gd name="T7" fmla="*/ 0 h 1103"/>
              <a:gd name="T8" fmla="*/ 0 w 1254"/>
              <a:gd name="T9" fmla="*/ 1388601028 h 1103"/>
              <a:gd name="T10" fmla="*/ 519152188 w 1254"/>
              <a:gd name="T11" fmla="*/ 2147483646 h 110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54"/>
              <a:gd name="T19" fmla="*/ 0 h 1103"/>
              <a:gd name="T20" fmla="*/ 1254 w 1254"/>
              <a:gd name="T21" fmla="*/ 1103 h 110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54" h="1103">
                <a:moveTo>
                  <a:pt x="206" y="1103"/>
                </a:moveTo>
                <a:lnTo>
                  <a:pt x="1254" y="1103"/>
                </a:lnTo>
                <a:lnTo>
                  <a:pt x="1254" y="0"/>
                </a:lnTo>
                <a:lnTo>
                  <a:pt x="206" y="0"/>
                </a:lnTo>
                <a:lnTo>
                  <a:pt x="0" y="550"/>
                </a:lnTo>
                <a:lnTo>
                  <a:pt x="206" y="1103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" name="Freeform 69"/>
          <p:cNvSpPr>
            <a:spLocks noChangeArrowheads="1"/>
          </p:cNvSpPr>
          <p:nvPr/>
        </p:nvSpPr>
        <p:spPr bwMode="auto">
          <a:xfrm>
            <a:off x="9011418" y="2290657"/>
            <a:ext cx="2382005" cy="3595116"/>
          </a:xfrm>
          <a:custGeom>
            <a:avLst/>
            <a:gdLst>
              <a:gd name="T0" fmla="*/ 2147483646 w 1255"/>
              <a:gd name="T1" fmla="*/ 2147483646 h 1103"/>
              <a:gd name="T2" fmla="*/ 0 w 1255"/>
              <a:gd name="T3" fmla="*/ 2147483646 h 1103"/>
              <a:gd name="T4" fmla="*/ 0 w 1255"/>
              <a:gd name="T5" fmla="*/ 0 h 1103"/>
              <a:gd name="T6" fmla="*/ 2147483646 w 1255"/>
              <a:gd name="T7" fmla="*/ 0 h 1103"/>
              <a:gd name="T8" fmla="*/ 2147483646 w 1255"/>
              <a:gd name="T9" fmla="*/ 1388601028 h 1103"/>
              <a:gd name="T10" fmla="*/ 2147483646 w 1255"/>
              <a:gd name="T11" fmla="*/ 2147483646 h 110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55"/>
              <a:gd name="T19" fmla="*/ 0 h 1103"/>
              <a:gd name="T20" fmla="*/ 1255 w 1255"/>
              <a:gd name="T21" fmla="*/ 1103 h 110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55" h="1103">
                <a:moveTo>
                  <a:pt x="1049" y="1103"/>
                </a:moveTo>
                <a:lnTo>
                  <a:pt x="0" y="1103"/>
                </a:lnTo>
                <a:lnTo>
                  <a:pt x="0" y="0"/>
                </a:lnTo>
                <a:lnTo>
                  <a:pt x="1049" y="0"/>
                </a:lnTo>
                <a:lnTo>
                  <a:pt x="1255" y="550"/>
                </a:lnTo>
                <a:lnTo>
                  <a:pt x="1049" y="1103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4" name="Freeform 68"/>
          <p:cNvSpPr>
            <a:spLocks noChangeArrowheads="1"/>
          </p:cNvSpPr>
          <p:nvPr/>
        </p:nvSpPr>
        <p:spPr bwMode="auto">
          <a:xfrm flipH="1">
            <a:off x="3986272" y="2303545"/>
            <a:ext cx="4933072" cy="3595116"/>
          </a:xfrm>
          <a:custGeom>
            <a:avLst/>
            <a:gdLst>
              <a:gd name="T0" fmla="*/ 519152188 w 1254"/>
              <a:gd name="T1" fmla="*/ 2147483646 h 1103"/>
              <a:gd name="T2" fmla="*/ 2147483646 w 1254"/>
              <a:gd name="T3" fmla="*/ 2147483646 h 1103"/>
              <a:gd name="T4" fmla="*/ 2147483646 w 1254"/>
              <a:gd name="T5" fmla="*/ 0 h 1103"/>
              <a:gd name="T6" fmla="*/ 519152188 w 1254"/>
              <a:gd name="T7" fmla="*/ 0 h 1103"/>
              <a:gd name="T8" fmla="*/ 0 w 1254"/>
              <a:gd name="T9" fmla="*/ 1388601028 h 1103"/>
              <a:gd name="T10" fmla="*/ 519152188 w 1254"/>
              <a:gd name="T11" fmla="*/ 2147483646 h 110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54"/>
              <a:gd name="T19" fmla="*/ 0 h 1103"/>
              <a:gd name="T20" fmla="*/ 1254 w 1254"/>
              <a:gd name="T21" fmla="*/ 1103 h 110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54" h="1103">
                <a:moveTo>
                  <a:pt x="206" y="1103"/>
                </a:moveTo>
                <a:lnTo>
                  <a:pt x="1254" y="1103"/>
                </a:lnTo>
                <a:lnTo>
                  <a:pt x="1254" y="0"/>
                </a:lnTo>
                <a:lnTo>
                  <a:pt x="206" y="0"/>
                </a:lnTo>
                <a:lnTo>
                  <a:pt x="0" y="550"/>
                </a:lnTo>
                <a:lnTo>
                  <a:pt x="206" y="1103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2" name="任意多边形 21"/>
          <p:cNvSpPr/>
          <p:nvPr/>
        </p:nvSpPr>
        <p:spPr>
          <a:xfrm>
            <a:off x="3986275" y="1741062"/>
            <a:ext cx="4087877" cy="454278"/>
          </a:xfrm>
          <a:custGeom>
            <a:avLst/>
            <a:gdLst>
              <a:gd name="connsiteX0" fmla="*/ 0 w 3495203"/>
              <a:gd name="connsiteY0" fmla="*/ 0 h 454279"/>
              <a:gd name="connsiteX1" fmla="*/ 3318453 w 3495203"/>
              <a:gd name="connsiteY1" fmla="*/ 0 h 454279"/>
              <a:gd name="connsiteX2" fmla="*/ 3495203 w 3495203"/>
              <a:gd name="connsiteY2" fmla="*/ 454279 h 454279"/>
              <a:gd name="connsiteX3" fmla="*/ 0 w 3495203"/>
              <a:gd name="connsiteY3" fmla="*/ 454279 h 454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95203" h="454279">
                <a:moveTo>
                  <a:pt x="0" y="0"/>
                </a:moveTo>
                <a:lnTo>
                  <a:pt x="3318453" y="0"/>
                </a:lnTo>
                <a:lnTo>
                  <a:pt x="3495203" y="454279"/>
                </a:lnTo>
                <a:lnTo>
                  <a:pt x="0" y="454279"/>
                </a:lnTo>
                <a:close/>
              </a:path>
            </a:pathLst>
          </a:custGeom>
          <a:solidFill>
            <a:srgbClr val="EBAC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>
            <a:off x="9011418" y="1728173"/>
            <a:ext cx="1979670" cy="454278"/>
          </a:xfrm>
          <a:custGeom>
            <a:avLst/>
            <a:gdLst>
              <a:gd name="connsiteX0" fmla="*/ 0 w 2056940"/>
              <a:gd name="connsiteY0" fmla="*/ 0 h 454279"/>
              <a:gd name="connsiteX1" fmla="*/ 1952917 w 2056940"/>
              <a:gd name="connsiteY1" fmla="*/ 0 h 454279"/>
              <a:gd name="connsiteX2" fmla="*/ 2056940 w 2056940"/>
              <a:gd name="connsiteY2" fmla="*/ 454279 h 454279"/>
              <a:gd name="connsiteX3" fmla="*/ 0 w 2056940"/>
              <a:gd name="connsiteY3" fmla="*/ 454279 h 454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6940" h="454279">
                <a:moveTo>
                  <a:pt x="0" y="0"/>
                </a:moveTo>
                <a:lnTo>
                  <a:pt x="1952917" y="0"/>
                </a:lnTo>
                <a:lnTo>
                  <a:pt x="2056940" y="454279"/>
                </a:lnTo>
                <a:lnTo>
                  <a:pt x="0" y="454279"/>
                </a:lnTo>
                <a:close/>
              </a:path>
            </a:pathLst>
          </a:custGeom>
          <a:solidFill>
            <a:srgbClr val="A2B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任意多边形 26"/>
          <p:cNvSpPr/>
          <p:nvPr/>
        </p:nvSpPr>
        <p:spPr>
          <a:xfrm>
            <a:off x="1913635" y="1741064"/>
            <a:ext cx="1649068" cy="454276"/>
          </a:xfrm>
          <a:custGeom>
            <a:avLst/>
            <a:gdLst>
              <a:gd name="connsiteX0" fmla="*/ 0 w 1649068"/>
              <a:gd name="connsiteY0" fmla="*/ 0 h 454277"/>
              <a:gd name="connsiteX1" fmla="*/ 1562981 w 1649068"/>
              <a:gd name="connsiteY1" fmla="*/ 0 h 454277"/>
              <a:gd name="connsiteX2" fmla="*/ 1649068 w 1649068"/>
              <a:gd name="connsiteY2" fmla="*/ 454277 h 454277"/>
              <a:gd name="connsiteX3" fmla="*/ 0 w 1649068"/>
              <a:gd name="connsiteY3" fmla="*/ 454277 h 454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9068" h="454277">
                <a:moveTo>
                  <a:pt x="0" y="0"/>
                </a:moveTo>
                <a:lnTo>
                  <a:pt x="1562981" y="0"/>
                </a:lnTo>
                <a:lnTo>
                  <a:pt x="1649068" y="454277"/>
                </a:lnTo>
                <a:lnTo>
                  <a:pt x="0" y="454277"/>
                </a:lnTo>
                <a:close/>
              </a:path>
            </a:pathLst>
          </a:custGeom>
          <a:solidFill>
            <a:srgbClr val="F83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文本框 27"/>
          <p:cNvSpPr txBox="1"/>
          <p:nvPr/>
        </p:nvSpPr>
        <p:spPr>
          <a:xfrm>
            <a:off x="1962144" y="1804467"/>
            <a:ext cx="1521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  <a:latin typeface="+mn-ea"/>
              </a:rPr>
              <a:t>STEP1   </a:t>
            </a:r>
            <a:r>
              <a:rPr lang="zh-CN" altLang="en-US" sz="1400" dirty="0">
                <a:solidFill>
                  <a:schemeClr val="bg1"/>
                </a:solidFill>
                <a:latin typeface="+mn-ea"/>
              </a:rPr>
              <a:t>拍照上传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5075801" y="1814312"/>
            <a:ext cx="1521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  <a:latin typeface="+mn-ea"/>
              </a:rPr>
              <a:t>STEP2   </a:t>
            </a:r>
            <a:r>
              <a:rPr lang="zh-CN" altLang="en-US" sz="1400" dirty="0">
                <a:solidFill>
                  <a:schemeClr val="bg1"/>
                </a:solidFill>
                <a:latin typeface="+mn-ea"/>
              </a:rPr>
              <a:t>作业批阅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9196278" y="1791578"/>
            <a:ext cx="1521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  <a:latin typeface="+mn-ea"/>
              </a:rPr>
              <a:t>STEP3   </a:t>
            </a:r>
            <a:r>
              <a:rPr lang="zh-CN" altLang="en-US" sz="1400" dirty="0">
                <a:solidFill>
                  <a:schemeClr val="bg1"/>
                </a:solidFill>
                <a:latin typeface="+mn-ea"/>
              </a:rPr>
              <a:t>数据反馈</a:t>
            </a:r>
          </a:p>
        </p:txBody>
      </p:sp>
      <p:grpSp>
        <p:nvGrpSpPr>
          <p:cNvPr id="54" name="组合 53"/>
          <p:cNvGrpSpPr/>
          <p:nvPr/>
        </p:nvGrpSpPr>
        <p:grpSpPr>
          <a:xfrm>
            <a:off x="4704414" y="4238764"/>
            <a:ext cx="596213" cy="562465"/>
            <a:chOff x="9152569" y="4219636"/>
            <a:chExt cx="883661" cy="833643"/>
          </a:xfrm>
          <a:solidFill>
            <a:schemeClr val="bg1"/>
          </a:solidFill>
        </p:grpSpPr>
        <p:sp>
          <p:nvSpPr>
            <p:cNvPr id="50" name="Oval 243"/>
            <p:cNvSpPr>
              <a:spLocks noChangeArrowheads="1"/>
            </p:cNvSpPr>
            <p:nvPr/>
          </p:nvSpPr>
          <p:spPr bwMode="auto">
            <a:xfrm>
              <a:off x="9452680" y="4219636"/>
              <a:ext cx="283438" cy="28621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244"/>
            <p:cNvSpPr>
              <a:spLocks noEditPoints="1"/>
            </p:cNvSpPr>
            <p:nvPr/>
          </p:nvSpPr>
          <p:spPr bwMode="auto">
            <a:xfrm>
              <a:off x="9152569" y="4569766"/>
              <a:ext cx="883661" cy="483513"/>
            </a:xfrm>
            <a:custGeom>
              <a:avLst/>
              <a:gdLst>
                <a:gd name="T0" fmla="*/ 292 w 292"/>
                <a:gd name="T1" fmla="*/ 126 h 160"/>
                <a:gd name="T2" fmla="*/ 261 w 292"/>
                <a:gd name="T3" fmla="*/ 126 h 160"/>
                <a:gd name="T4" fmla="*/ 266 w 292"/>
                <a:gd name="T5" fmla="*/ 120 h 160"/>
                <a:gd name="T6" fmla="*/ 266 w 292"/>
                <a:gd name="T7" fmla="*/ 104 h 160"/>
                <a:gd name="T8" fmla="*/ 266 w 292"/>
                <a:gd name="T9" fmla="*/ 104 h 160"/>
                <a:gd name="T10" fmla="*/ 222 w 292"/>
                <a:gd name="T11" fmla="*/ 29 h 160"/>
                <a:gd name="T12" fmla="*/ 198 w 292"/>
                <a:gd name="T13" fmla="*/ 9 h 160"/>
                <a:gd name="T14" fmla="*/ 175 w 292"/>
                <a:gd name="T15" fmla="*/ 0 h 160"/>
                <a:gd name="T16" fmla="*/ 175 w 292"/>
                <a:gd name="T17" fmla="*/ 30 h 160"/>
                <a:gd name="T18" fmla="*/ 146 w 292"/>
                <a:gd name="T19" fmla="*/ 6 h 160"/>
                <a:gd name="T20" fmla="*/ 118 w 292"/>
                <a:gd name="T21" fmla="*/ 30 h 160"/>
                <a:gd name="T22" fmla="*/ 118 w 292"/>
                <a:gd name="T23" fmla="*/ 0 h 160"/>
                <a:gd name="T24" fmla="*/ 95 w 292"/>
                <a:gd name="T25" fmla="*/ 9 h 160"/>
                <a:gd name="T26" fmla="*/ 72 w 292"/>
                <a:gd name="T27" fmla="*/ 29 h 160"/>
                <a:gd name="T28" fmla="*/ 27 w 292"/>
                <a:gd name="T29" fmla="*/ 103 h 160"/>
                <a:gd name="T30" fmla="*/ 27 w 292"/>
                <a:gd name="T31" fmla="*/ 103 h 160"/>
                <a:gd name="T32" fmla="*/ 27 w 292"/>
                <a:gd name="T33" fmla="*/ 120 h 160"/>
                <a:gd name="T34" fmla="*/ 33 w 292"/>
                <a:gd name="T35" fmla="*/ 126 h 160"/>
                <a:gd name="T36" fmla="*/ 0 w 292"/>
                <a:gd name="T37" fmla="*/ 126 h 160"/>
                <a:gd name="T38" fmla="*/ 0 w 292"/>
                <a:gd name="T39" fmla="*/ 160 h 160"/>
                <a:gd name="T40" fmla="*/ 292 w 292"/>
                <a:gd name="T41" fmla="*/ 160 h 160"/>
                <a:gd name="T42" fmla="*/ 292 w 292"/>
                <a:gd name="T43" fmla="*/ 126 h 160"/>
                <a:gd name="T44" fmla="*/ 60 w 292"/>
                <a:gd name="T45" fmla="*/ 67 h 160"/>
                <a:gd name="T46" fmla="*/ 71 w 292"/>
                <a:gd name="T47" fmla="*/ 56 h 160"/>
                <a:gd name="T48" fmla="*/ 212 w 292"/>
                <a:gd name="T49" fmla="*/ 56 h 160"/>
                <a:gd name="T50" fmla="*/ 223 w 292"/>
                <a:gd name="T51" fmla="*/ 67 h 160"/>
                <a:gd name="T52" fmla="*/ 223 w 292"/>
                <a:gd name="T53" fmla="*/ 126 h 160"/>
                <a:gd name="T54" fmla="*/ 209 w 292"/>
                <a:gd name="T55" fmla="*/ 126 h 160"/>
                <a:gd name="T56" fmla="*/ 209 w 292"/>
                <a:gd name="T57" fmla="*/ 70 h 160"/>
                <a:gd name="T58" fmla="*/ 75 w 292"/>
                <a:gd name="T59" fmla="*/ 70 h 160"/>
                <a:gd name="T60" fmla="*/ 75 w 292"/>
                <a:gd name="T61" fmla="*/ 126 h 160"/>
                <a:gd name="T62" fmla="*/ 60 w 292"/>
                <a:gd name="T63" fmla="*/ 126 h 160"/>
                <a:gd name="T64" fmla="*/ 60 w 292"/>
                <a:gd name="T65" fmla="*/ 67 h 160"/>
                <a:gd name="T66" fmla="*/ 116 w 292"/>
                <a:gd name="T67" fmla="*/ 104 h 160"/>
                <a:gd name="T68" fmla="*/ 142 w 292"/>
                <a:gd name="T69" fmla="*/ 89 h 160"/>
                <a:gd name="T70" fmla="*/ 168 w 292"/>
                <a:gd name="T71" fmla="*/ 104 h 160"/>
                <a:gd name="T72" fmla="*/ 142 w 292"/>
                <a:gd name="T73" fmla="*/ 118 h 160"/>
                <a:gd name="T74" fmla="*/ 116 w 292"/>
                <a:gd name="T75" fmla="*/ 10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2" h="160">
                  <a:moveTo>
                    <a:pt x="292" y="126"/>
                  </a:moveTo>
                  <a:cubicBezTo>
                    <a:pt x="261" y="126"/>
                    <a:pt x="261" y="126"/>
                    <a:pt x="261" y="126"/>
                  </a:cubicBezTo>
                  <a:cubicBezTo>
                    <a:pt x="263" y="124"/>
                    <a:pt x="265" y="122"/>
                    <a:pt x="266" y="120"/>
                  </a:cubicBezTo>
                  <a:cubicBezTo>
                    <a:pt x="269" y="115"/>
                    <a:pt x="269" y="109"/>
                    <a:pt x="266" y="104"/>
                  </a:cubicBezTo>
                  <a:cubicBezTo>
                    <a:pt x="266" y="104"/>
                    <a:pt x="266" y="104"/>
                    <a:pt x="266" y="104"/>
                  </a:cubicBezTo>
                  <a:cubicBezTo>
                    <a:pt x="222" y="29"/>
                    <a:pt x="222" y="29"/>
                    <a:pt x="222" y="29"/>
                  </a:cubicBezTo>
                  <a:cubicBezTo>
                    <a:pt x="216" y="20"/>
                    <a:pt x="208" y="13"/>
                    <a:pt x="198" y="9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85" y="13"/>
                    <a:pt x="77" y="20"/>
                    <a:pt x="72" y="29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4" y="108"/>
                    <a:pt x="24" y="115"/>
                    <a:pt x="27" y="120"/>
                  </a:cubicBezTo>
                  <a:cubicBezTo>
                    <a:pt x="28" y="122"/>
                    <a:pt x="30" y="124"/>
                    <a:pt x="33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292" y="160"/>
                    <a:pt x="292" y="160"/>
                    <a:pt x="292" y="160"/>
                  </a:cubicBezTo>
                  <a:lnTo>
                    <a:pt x="292" y="126"/>
                  </a:lnTo>
                  <a:close/>
                  <a:moveTo>
                    <a:pt x="60" y="67"/>
                  </a:moveTo>
                  <a:cubicBezTo>
                    <a:pt x="60" y="61"/>
                    <a:pt x="65" y="56"/>
                    <a:pt x="71" y="56"/>
                  </a:cubicBezTo>
                  <a:cubicBezTo>
                    <a:pt x="212" y="56"/>
                    <a:pt x="212" y="56"/>
                    <a:pt x="212" y="56"/>
                  </a:cubicBezTo>
                  <a:cubicBezTo>
                    <a:pt x="218" y="56"/>
                    <a:pt x="223" y="61"/>
                    <a:pt x="223" y="67"/>
                  </a:cubicBezTo>
                  <a:cubicBezTo>
                    <a:pt x="223" y="126"/>
                    <a:pt x="223" y="126"/>
                    <a:pt x="223" y="126"/>
                  </a:cubicBezTo>
                  <a:cubicBezTo>
                    <a:pt x="209" y="126"/>
                    <a:pt x="209" y="126"/>
                    <a:pt x="209" y="126"/>
                  </a:cubicBezTo>
                  <a:cubicBezTo>
                    <a:pt x="209" y="70"/>
                    <a:pt x="209" y="70"/>
                    <a:pt x="209" y="70"/>
                  </a:cubicBezTo>
                  <a:cubicBezTo>
                    <a:pt x="75" y="70"/>
                    <a:pt x="75" y="70"/>
                    <a:pt x="75" y="70"/>
                  </a:cubicBezTo>
                  <a:cubicBezTo>
                    <a:pt x="75" y="126"/>
                    <a:pt x="75" y="126"/>
                    <a:pt x="75" y="126"/>
                  </a:cubicBezTo>
                  <a:cubicBezTo>
                    <a:pt x="60" y="126"/>
                    <a:pt x="60" y="126"/>
                    <a:pt x="60" y="126"/>
                  </a:cubicBezTo>
                  <a:lnTo>
                    <a:pt x="60" y="67"/>
                  </a:lnTo>
                  <a:close/>
                  <a:moveTo>
                    <a:pt x="116" y="104"/>
                  </a:moveTo>
                  <a:cubicBezTo>
                    <a:pt x="116" y="96"/>
                    <a:pt x="128" y="89"/>
                    <a:pt x="142" y="89"/>
                  </a:cubicBezTo>
                  <a:cubicBezTo>
                    <a:pt x="156" y="89"/>
                    <a:pt x="168" y="96"/>
                    <a:pt x="168" y="104"/>
                  </a:cubicBezTo>
                  <a:cubicBezTo>
                    <a:pt x="168" y="112"/>
                    <a:pt x="156" y="118"/>
                    <a:pt x="142" y="118"/>
                  </a:cubicBezTo>
                  <a:cubicBezTo>
                    <a:pt x="128" y="118"/>
                    <a:pt x="116" y="112"/>
                    <a:pt x="116" y="10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4730026" y="3256169"/>
            <a:ext cx="606413" cy="744801"/>
            <a:chOff x="5696899" y="3157861"/>
            <a:chExt cx="606413" cy="744801"/>
          </a:xfrm>
        </p:grpSpPr>
        <p:sp>
          <p:nvSpPr>
            <p:cNvPr id="45" name="Freeform 227"/>
            <p:cNvSpPr>
              <a:spLocks/>
            </p:cNvSpPr>
            <p:nvPr/>
          </p:nvSpPr>
          <p:spPr bwMode="auto">
            <a:xfrm rot="18242179">
              <a:off x="5935559" y="3741746"/>
              <a:ext cx="142800" cy="179032"/>
            </a:xfrm>
            <a:custGeom>
              <a:avLst/>
              <a:gdLst>
                <a:gd name="T0" fmla="*/ 62 w 62"/>
                <a:gd name="T1" fmla="*/ 64 h 77"/>
                <a:gd name="T2" fmla="*/ 25 w 62"/>
                <a:gd name="T3" fmla="*/ 28 h 77"/>
                <a:gd name="T4" fmla="*/ 36 w 62"/>
                <a:gd name="T5" fmla="*/ 24 h 77"/>
                <a:gd name="T6" fmla="*/ 6 w 62"/>
                <a:gd name="T7" fmla="*/ 0 h 77"/>
                <a:gd name="T8" fmla="*/ 0 w 62"/>
                <a:gd name="T9" fmla="*/ 38 h 77"/>
                <a:gd name="T10" fmla="*/ 11 w 62"/>
                <a:gd name="T11" fmla="*/ 34 h 77"/>
                <a:gd name="T12" fmla="*/ 54 w 62"/>
                <a:gd name="T13" fmla="*/ 77 h 77"/>
                <a:gd name="T14" fmla="*/ 62 w 62"/>
                <a:gd name="T15" fmla="*/ 6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77">
                  <a:moveTo>
                    <a:pt x="62" y="64"/>
                  </a:moveTo>
                  <a:cubicBezTo>
                    <a:pt x="47" y="55"/>
                    <a:pt x="34" y="43"/>
                    <a:pt x="25" y="28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21" y="52"/>
                    <a:pt x="36" y="67"/>
                    <a:pt x="54" y="77"/>
                  </a:cubicBezTo>
                  <a:lnTo>
                    <a:pt x="62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228"/>
            <p:cNvSpPr>
              <a:spLocks/>
            </p:cNvSpPr>
            <p:nvPr/>
          </p:nvSpPr>
          <p:spPr bwMode="auto">
            <a:xfrm rot="17674451">
              <a:off x="6145593" y="3378973"/>
              <a:ext cx="168376" cy="147063"/>
            </a:xfrm>
            <a:custGeom>
              <a:avLst/>
              <a:gdLst>
                <a:gd name="T0" fmla="*/ 72 w 72"/>
                <a:gd name="T1" fmla="*/ 6 h 64"/>
                <a:gd name="T2" fmla="*/ 57 w 72"/>
                <a:gd name="T3" fmla="*/ 0 h 64"/>
                <a:gd name="T4" fmla="*/ 26 w 72"/>
                <a:gd name="T5" fmla="*/ 40 h 64"/>
                <a:gd name="T6" fmla="*/ 21 w 72"/>
                <a:gd name="T7" fmla="*/ 30 h 64"/>
                <a:gd name="T8" fmla="*/ 0 w 72"/>
                <a:gd name="T9" fmla="*/ 62 h 64"/>
                <a:gd name="T10" fmla="*/ 38 w 72"/>
                <a:gd name="T11" fmla="*/ 64 h 64"/>
                <a:gd name="T12" fmla="*/ 33 w 72"/>
                <a:gd name="T13" fmla="*/ 54 h 64"/>
                <a:gd name="T14" fmla="*/ 72 w 72"/>
                <a:gd name="T15" fmla="*/ 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64">
                  <a:moveTo>
                    <a:pt x="72" y="6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50" y="16"/>
                    <a:pt x="40" y="29"/>
                    <a:pt x="26" y="4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50" y="42"/>
                    <a:pt x="63" y="25"/>
                    <a:pt x="7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229"/>
            <p:cNvSpPr>
              <a:spLocks/>
            </p:cNvSpPr>
            <p:nvPr/>
          </p:nvSpPr>
          <p:spPr bwMode="auto">
            <a:xfrm rot="18395972">
              <a:off x="5634024" y="3384031"/>
              <a:ext cx="211003" cy="85253"/>
            </a:xfrm>
            <a:custGeom>
              <a:avLst/>
              <a:gdLst>
                <a:gd name="T0" fmla="*/ 64 w 91"/>
                <a:gd name="T1" fmla="*/ 0 h 37"/>
                <a:gd name="T2" fmla="*/ 61 w 91"/>
                <a:gd name="T3" fmla="*/ 11 h 37"/>
                <a:gd name="T4" fmla="*/ 0 w 91"/>
                <a:gd name="T5" fmla="*/ 19 h 37"/>
                <a:gd name="T6" fmla="*/ 6 w 91"/>
                <a:gd name="T7" fmla="*/ 33 h 37"/>
                <a:gd name="T8" fmla="*/ 56 w 91"/>
                <a:gd name="T9" fmla="*/ 26 h 37"/>
                <a:gd name="T10" fmla="*/ 53 w 91"/>
                <a:gd name="T11" fmla="*/ 37 h 37"/>
                <a:gd name="T12" fmla="*/ 91 w 91"/>
                <a:gd name="T13" fmla="*/ 28 h 37"/>
                <a:gd name="T14" fmla="*/ 64 w 91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37">
                  <a:moveTo>
                    <a:pt x="64" y="0"/>
                  </a:moveTo>
                  <a:cubicBezTo>
                    <a:pt x="61" y="11"/>
                    <a:pt x="61" y="11"/>
                    <a:pt x="61" y="11"/>
                  </a:cubicBezTo>
                  <a:cubicBezTo>
                    <a:pt x="40" y="8"/>
                    <a:pt x="19" y="10"/>
                    <a:pt x="0" y="19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2" y="26"/>
                    <a:pt x="39" y="24"/>
                    <a:pt x="56" y="26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91" y="28"/>
                    <a:pt x="91" y="28"/>
                    <a:pt x="91" y="28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62" name="组合 61"/>
            <p:cNvGrpSpPr/>
            <p:nvPr/>
          </p:nvGrpSpPr>
          <p:grpSpPr>
            <a:xfrm>
              <a:off x="5715466" y="3157861"/>
              <a:ext cx="537590" cy="581928"/>
              <a:chOff x="4145851" y="4351597"/>
              <a:chExt cx="537590" cy="581928"/>
            </a:xfrm>
            <a:solidFill>
              <a:schemeClr val="bg1"/>
            </a:solidFill>
          </p:grpSpPr>
          <p:sp>
            <p:nvSpPr>
              <p:cNvPr id="55" name="Oval 5310"/>
              <p:cNvSpPr>
                <a:spLocks noChangeArrowheads="1"/>
              </p:cNvSpPr>
              <p:nvPr/>
            </p:nvSpPr>
            <p:spPr bwMode="auto">
              <a:xfrm>
                <a:off x="4370308" y="4351597"/>
                <a:ext cx="105301" cy="105301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5311"/>
              <p:cNvSpPr>
                <a:spLocks/>
              </p:cNvSpPr>
              <p:nvPr/>
            </p:nvSpPr>
            <p:spPr bwMode="auto">
              <a:xfrm>
                <a:off x="4298260" y="4470754"/>
                <a:ext cx="241084" cy="124699"/>
              </a:xfrm>
              <a:custGeom>
                <a:avLst/>
                <a:gdLst>
                  <a:gd name="T0" fmla="*/ 26 w 37"/>
                  <a:gd name="T1" fmla="*/ 0 h 19"/>
                  <a:gd name="T2" fmla="*/ 21 w 37"/>
                  <a:gd name="T3" fmla="*/ 0 h 19"/>
                  <a:gd name="T4" fmla="*/ 19 w 37"/>
                  <a:gd name="T5" fmla="*/ 4 h 19"/>
                  <a:gd name="T6" fmla="*/ 17 w 37"/>
                  <a:gd name="T7" fmla="*/ 0 h 19"/>
                  <a:gd name="T8" fmla="*/ 11 w 37"/>
                  <a:gd name="T9" fmla="*/ 0 h 19"/>
                  <a:gd name="T10" fmla="*/ 0 w 37"/>
                  <a:gd name="T11" fmla="*/ 8 h 19"/>
                  <a:gd name="T12" fmla="*/ 0 w 37"/>
                  <a:gd name="T13" fmla="*/ 19 h 19"/>
                  <a:gd name="T14" fmla="*/ 7 w 37"/>
                  <a:gd name="T15" fmla="*/ 19 h 19"/>
                  <a:gd name="T16" fmla="*/ 7 w 37"/>
                  <a:gd name="T17" fmla="*/ 10 h 19"/>
                  <a:gd name="T18" fmla="*/ 9 w 37"/>
                  <a:gd name="T19" fmla="*/ 10 h 19"/>
                  <a:gd name="T20" fmla="*/ 9 w 37"/>
                  <a:gd name="T21" fmla="*/ 19 h 19"/>
                  <a:gd name="T22" fmla="*/ 28 w 37"/>
                  <a:gd name="T23" fmla="*/ 19 h 19"/>
                  <a:gd name="T24" fmla="*/ 28 w 37"/>
                  <a:gd name="T25" fmla="*/ 10 h 19"/>
                  <a:gd name="T26" fmla="*/ 30 w 37"/>
                  <a:gd name="T27" fmla="*/ 10 h 19"/>
                  <a:gd name="T28" fmla="*/ 30 w 37"/>
                  <a:gd name="T29" fmla="*/ 19 h 19"/>
                  <a:gd name="T30" fmla="*/ 37 w 37"/>
                  <a:gd name="T31" fmla="*/ 19 h 19"/>
                  <a:gd name="T32" fmla="*/ 37 w 37"/>
                  <a:gd name="T33" fmla="*/ 8 h 19"/>
                  <a:gd name="T34" fmla="*/ 26 w 37"/>
                  <a:gd name="T3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19">
                    <a:moveTo>
                      <a:pt x="26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8"/>
                      <a:pt x="0" y="8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6" y="0"/>
                      <a:pt x="26" y="0"/>
                      <a:pt x="2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5312"/>
              <p:cNvSpPr>
                <a:spLocks noChangeArrowheads="1"/>
              </p:cNvSpPr>
              <p:nvPr/>
            </p:nvSpPr>
            <p:spPr bwMode="auto">
              <a:xfrm>
                <a:off x="4217899" y="4692441"/>
                <a:ext cx="105301" cy="9698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reeform 5313"/>
              <p:cNvSpPr>
                <a:spLocks/>
              </p:cNvSpPr>
              <p:nvPr/>
            </p:nvSpPr>
            <p:spPr bwMode="auto">
              <a:xfrm>
                <a:off x="4145851" y="4803284"/>
                <a:ext cx="243855" cy="130241"/>
              </a:xfrm>
              <a:custGeom>
                <a:avLst/>
                <a:gdLst>
                  <a:gd name="T0" fmla="*/ 26 w 37"/>
                  <a:gd name="T1" fmla="*/ 1 h 20"/>
                  <a:gd name="T2" fmla="*/ 21 w 37"/>
                  <a:gd name="T3" fmla="*/ 1 h 20"/>
                  <a:gd name="T4" fmla="*/ 19 w 37"/>
                  <a:gd name="T5" fmla="*/ 4 h 20"/>
                  <a:gd name="T6" fmla="*/ 17 w 37"/>
                  <a:gd name="T7" fmla="*/ 1 h 20"/>
                  <a:gd name="T8" fmla="*/ 11 w 37"/>
                  <a:gd name="T9" fmla="*/ 1 h 20"/>
                  <a:gd name="T10" fmla="*/ 0 w 37"/>
                  <a:gd name="T11" fmla="*/ 9 h 20"/>
                  <a:gd name="T12" fmla="*/ 0 w 37"/>
                  <a:gd name="T13" fmla="*/ 20 h 20"/>
                  <a:gd name="T14" fmla="*/ 7 w 37"/>
                  <a:gd name="T15" fmla="*/ 20 h 20"/>
                  <a:gd name="T16" fmla="*/ 7 w 37"/>
                  <a:gd name="T17" fmla="*/ 10 h 20"/>
                  <a:gd name="T18" fmla="*/ 9 w 37"/>
                  <a:gd name="T19" fmla="*/ 10 h 20"/>
                  <a:gd name="T20" fmla="*/ 9 w 37"/>
                  <a:gd name="T21" fmla="*/ 20 h 20"/>
                  <a:gd name="T22" fmla="*/ 28 w 37"/>
                  <a:gd name="T23" fmla="*/ 20 h 20"/>
                  <a:gd name="T24" fmla="*/ 28 w 37"/>
                  <a:gd name="T25" fmla="*/ 10 h 20"/>
                  <a:gd name="T26" fmla="*/ 30 w 37"/>
                  <a:gd name="T27" fmla="*/ 10 h 20"/>
                  <a:gd name="T28" fmla="*/ 30 w 37"/>
                  <a:gd name="T29" fmla="*/ 20 h 20"/>
                  <a:gd name="T30" fmla="*/ 37 w 37"/>
                  <a:gd name="T31" fmla="*/ 20 h 20"/>
                  <a:gd name="T32" fmla="*/ 37 w 37"/>
                  <a:gd name="T33" fmla="*/ 9 h 20"/>
                  <a:gd name="T34" fmla="*/ 26 w 37"/>
                  <a:gd name="T35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20">
                    <a:moveTo>
                      <a:pt x="26" y="1"/>
                    </a:moveTo>
                    <a:cubicBezTo>
                      <a:pt x="21" y="1"/>
                      <a:pt x="21" y="1"/>
                      <a:pt x="21" y="1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"/>
                      <a:pt x="0" y="9"/>
                      <a:pt x="0" y="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6" y="0"/>
                      <a:pt x="26" y="1"/>
                      <a:pt x="26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Oval 5314"/>
              <p:cNvSpPr>
                <a:spLocks noChangeArrowheads="1"/>
              </p:cNvSpPr>
              <p:nvPr/>
            </p:nvSpPr>
            <p:spPr bwMode="auto">
              <a:xfrm>
                <a:off x="4519947" y="4692441"/>
                <a:ext cx="99759" cy="9698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5315"/>
              <p:cNvSpPr>
                <a:spLocks/>
              </p:cNvSpPr>
              <p:nvPr/>
            </p:nvSpPr>
            <p:spPr bwMode="auto">
              <a:xfrm>
                <a:off x="4442357" y="4803284"/>
                <a:ext cx="241084" cy="130241"/>
              </a:xfrm>
              <a:custGeom>
                <a:avLst/>
                <a:gdLst>
                  <a:gd name="T0" fmla="*/ 27 w 37"/>
                  <a:gd name="T1" fmla="*/ 1 h 20"/>
                  <a:gd name="T2" fmla="*/ 22 w 37"/>
                  <a:gd name="T3" fmla="*/ 1 h 20"/>
                  <a:gd name="T4" fmla="*/ 19 w 37"/>
                  <a:gd name="T5" fmla="*/ 4 h 20"/>
                  <a:gd name="T6" fmla="*/ 17 w 37"/>
                  <a:gd name="T7" fmla="*/ 1 h 20"/>
                  <a:gd name="T8" fmla="*/ 11 w 37"/>
                  <a:gd name="T9" fmla="*/ 1 h 20"/>
                  <a:gd name="T10" fmla="*/ 1 w 37"/>
                  <a:gd name="T11" fmla="*/ 9 h 20"/>
                  <a:gd name="T12" fmla="*/ 1 w 37"/>
                  <a:gd name="T13" fmla="*/ 20 h 20"/>
                  <a:gd name="T14" fmla="*/ 7 w 37"/>
                  <a:gd name="T15" fmla="*/ 20 h 20"/>
                  <a:gd name="T16" fmla="*/ 7 w 37"/>
                  <a:gd name="T17" fmla="*/ 10 h 20"/>
                  <a:gd name="T18" fmla="*/ 9 w 37"/>
                  <a:gd name="T19" fmla="*/ 10 h 20"/>
                  <a:gd name="T20" fmla="*/ 9 w 37"/>
                  <a:gd name="T21" fmla="*/ 20 h 20"/>
                  <a:gd name="T22" fmla="*/ 29 w 37"/>
                  <a:gd name="T23" fmla="*/ 20 h 20"/>
                  <a:gd name="T24" fmla="*/ 29 w 37"/>
                  <a:gd name="T25" fmla="*/ 10 h 20"/>
                  <a:gd name="T26" fmla="*/ 31 w 37"/>
                  <a:gd name="T27" fmla="*/ 10 h 20"/>
                  <a:gd name="T28" fmla="*/ 31 w 37"/>
                  <a:gd name="T29" fmla="*/ 20 h 20"/>
                  <a:gd name="T30" fmla="*/ 37 w 37"/>
                  <a:gd name="T31" fmla="*/ 20 h 20"/>
                  <a:gd name="T32" fmla="*/ 37 w 37"/>
                  <a:gd name="T33" fmla="*/ 9 h 20"/>
                  <a:gd name="T34" fmla="*/ 27 w 37"/>
                  <a:gd name="T35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20">
                    <a:moveTo>
                      <a:pt x="27" y="1"/>
                    </a:moveTo>
                    <a:cubicBezTo>
                      <a:pt x="22" y="1"/>
                      <a:pt x="22" y="1"/>
                      <a:pt x="22" y="1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"/>
                      <a:pt x="1" y="9"/>
                      <a:pt x="1" y="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0"/>
                      <a:pt x="27" y="1"/>
                      <a:pt x="27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5316"/>
              <p:cNvSpPr>
                <a:spLocks/>
              </p:cNvSpPr>
              <p:nvPr/>
            </p:nvSpPr>
            <p:spPr bwMode="auto">
              <a:xfrm>
                <a:off x="4342598" y="4620393"/>
                <a:ext cx="152410" cy="163494"/>
              </a:xfrm>
              <a:custGeom>
                <a:avLst/>
                <a:gdLst>
                  <a:gd name="T0" fmla="*/ 50 w 55"/>
                  <a:gd name="T1" fmla="*/ 59 h 59"/>
                  <a:gd name="T2" fmla="*/ 55 w 55"/>
                  <a:gd name="T3" fmla="*/ 54 h 59"/>
                  <a:gd name="T4" fmla="*/ 31 w 55"/>
                  <a:gd name="T5" fmla="*/ 31 h 59"/>
                  <a:gd name="T6" fmla="*/ 31 w 55"/>
                  <a:gd name="T7" fmla="*/ 0 h 59"/>
                  <a:gd name="T8" fmla="*/ 24 w 55"/>
                  <a:gd name="T9" fmla="*/ 0 h 59"/>
                  <a:gd name="T10" fmla="*/ 24 w 55"/>
                  <a:gd name="T11" fmla="*/ 31 h 59"/>
                  <a:gd name="T12" fmla="*/ 0 w 55"/>
                  <a:gd name="T13" fmla="*/ 54 h 59"/>
                  <a:gd name="T14" fmla="*/ 5 w 55"/>
                  <a:gd name="T15" fmla="*/ 59 h 59"/>
                  <a:gd name="T16" fmla="*/ 26 w 55"/>
                  <a:gd name="T17" fmla="*/ 38 h 59"/>
                  <a:gd name="T18" fmla="*/ 29 w 55"/>
                  <a:gd name="T19" fmla="*/ 38 h 59"/>
                  <a:gd name="T20" fmla="*/ 50 w 55"/>
                  <a:gd name="T2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" h="59">
                    <a:moveTo>
                      <a:pt x="50" y="59"/>
                    </a:moveTo>
                    <a:lnTo>
                      <a:pt x="55" y="54"/>
                    </a:lnTo>
                    <a:lnTo>
                      <a:pt x="31" y="31"/>
                    </a:lnTo>
                    <a:lnTo>
                      <a:pt x="31" y="0"/>
                    </a:lnTo>
                    <a:lnTo>
                      <a:pt x="24" y="0"/>
                    </a:lnTo>
                    <a:lnTo>
                      <a:pt x="24" y="31"/>
                    </a:lnTo>
                    <a:lnTo>
                      <a:pt x="0" y="54"/>
                    </a:lnTo>
                    <a:lnTo>
                      <a:pt x="5" y="59"/>
                    </a:lnTo>
                    <a:lnTo>
                      <a:pt x="26" y="38"/>
                    </a:lnTo>
                    <a:lnTo>
                      <a:pt x="29" y="38"/>
                    </a:lnTo>
                    <a:lnTo>
                      <a:pt x="50" y="5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0" name="组合 69"/>
          <p:cNvGrpSpPr/>
          <p:nvPr/>
        </p:nvGrpSpPr>
        <p:grpSpPr>
          <a:xfrm>
            <a:off x="4472446" y="4936017"/>
            <a:ext cx="857111" cy="772346"/>
            <a:chOff x="5886450" y="3302056"/>
            <a:chExt cx="903305" cy="813972"/>
          </a:xfrm>
        </p:grpSpPr>
        <p:sp>
          <p:nvSpPr>
            <p:cNvPr id="65" name="Freeform 21"/>
            <p:cNvSpPr>
              <a:spLocks noEditPoints="1"/>
            </p:cNvSpPr>
            <p:nvPr/>
          </p:nvSpPr>
          <p:spPr bwMode="black">
            <a:xfrm>
              <a:off x="6095182" y="3421634"/>
              <a:ext cx="694573" cy="694394"/>
            </a:xfrm>
            <a:custGeom>
              <a:avLst/>
              <a:gdLst>
                <a:gd name="T0" fmla="*/ 75 w 300"/>
                <a:gd name="T1" fmla="*/ 60 h 300"/>
                <a:gd name="T2" fmla="*/ 37 w 300"/>
                <a:gd name="T3" fmla="*/ 52 h 300"/>
                <a:gd name="T4" fmla="*/ 0 w 300"/>
                <a:gd name="T5" fmla="*/ 60 h 300"/>
                <a:gd name="T6" fmla="*/ 0 w 300"/>
                <a:gd name="T7" fmla="*/ 15 h 300"/>
                <a:gd name="T8" fmla="*/ 37 w 300"/>
                <a:gd name="T9" fmla="*/ 22 h 300"/>
                <a:gd name="T10" fmla="*/ 75 w 300"/>
                <a:gd name="T11" fmla="*/ 15 h 300"/>
                <a:gd name="T12" fmla="*/ 300 w 300"/>
                <a:gd name="T13" fmla="*/ 15 h 300"/>
                <a:gd name="T14" fmla="*/ 262 w 300"/>
                <a:gd name="T15" fmla="*/ 22 h 300"/>
                <a:gd name="T16" fmla="*/ 225 w 300"/>
                <a:gd name="T17" fmla="*/ 15 h 300"/>
                <a:gd name="T18" fmla="*/ 225 w 300"/>
                <a:gd name="T19" fmla="*/ 60 h 300"/>
                <a:gd name="T20" fmla="*/ 262 w 300"/>
                <a:gd name="T21" fmla="*/ 52 h 300"/>
                <a:gd name="T22" fmla="*/ 300 w 300"/>
                <a:gd name="T23" fmla="*/ 60 h 300"/>
                <a:gd name="T24" fmla="*/ 300 w 300"/>
                <a:gd name="T25" fmla="*/ 15 h 300"/>
                <a:gd name="T26" fmla="*/ 173 w 300"/>
                <a:gd name="T27" fmla="*/ 0 h 300"/>
                <a:gd name="T28" fmla="*/ 128 w 300"/>
                <a:gd name="T29" fmla="*/ 0 h 300"/>
                <a:gd name="T30" fmla="*/ 135 w 300"/>
                <a:gd name="T31" fmla="*/ 37 h 300"/>
                <a:gd name="T32" fmla="*/ 128 w 300"/>
                <a:gd name="T33" fmla="*/ 75 h 300"/>
                <a:gd name="T34" fmla="*/ 173 w 300"/>
                <a:gd name="T35" fmla="*/ 75 h 300"/>
                <a:gd name="T36" fmla="*/ 165 w 300"/>
                <a:gd name="T37" fmla="*/ 37 h 300"/>
                <a:gd name="T38" fmla="*/ 38 w 300"/>
                <a:gd name="T39" fmla="*/ 225 h 300"/>
                <a:gd name="T40" fmla="*/ 38 w 300"/>
                <a:gd name="T41" fmla="*/ 300 h 300"/>
                <a:gd name="T42" fmla="*/ 38 w 300"/>
                <a:gd name="T43" fmla="*/ 225 h 300"/>
                <a:gd name="T44" fmla="*/ 38 w 300"/>
                <a:gd name="T45" fmla="*/ 277 h 300"/>
                <a:gd name="T46" fmla="*/ 38 w 300"/>
                <a:gd name="T47" fmla="*/ 247 h 300"/>
                <a:gd name="T48" fmla="*/ 150 w 300"/>
                <a:gd name="T49" fmla="*/ 225 h 300"/>
                <a:gd name="T50" fmla="*/ 150 w 300"/>
                <a:gd name="T51" fmla="*/ 300 h 300"/>
                <a:gd name="T52" fmla="*/ 150 w 300"/>
                <a:gd name="T53" fmla="*/ 225 h 300"/>
                <a:gd name="T54" fmla="*/ 150 w 300"/>
                <a:gd name="T55" fmla="*/ 277 h 300"/>
                <a:gd name="T56" fmla="*/ 150 w 300"/>
                <a:gd name="T57" fmla="*/ 247 h 300"/>
                <a:gd name="T58" fmla="*/ 263 w 300"/>
                <a:gd name="T59" fmla="*/ 225 h 300"/>
                <a:gd name="T60" fmla="*/ 263 w 300"/>
                <a:gd name="T61" fmla="*/ 300 h 300"/>
                <a:gd name="T62" fmla="*/ 263 w 300"/>
                <a:gd name="T63" fmla="*/ 225 h 300"/>
                <a:gd name="T64" fmla="*/ 263 w 300"/>
                <a:gd name="T65" fmla="*/ 277 h 300"/>
                <a:gd name="T66" fmla="*/ 263 w 300"/>
                <a:gd name="T67" fmla="*/ 247 h 300"/>
                <a:gd name="T68" fmla="*/ 162 w 300"/>
                <a:gd name="T69" fmla="*/ 162 h 300"/>
                <a:gd name="T70" fmla="*/ 257 w 300"/>
                <a:gd name="T71" fmla="*/ 174 h 300"/>
                <a:gd name="T72" fmla="*/ 269 w 300"/>
                <a:gd name="T73" fmla="*/ 207 h 300"/>
                <a:gd name="T74" fmla="*/ 162 w 300"/>
                <a:gd name="T75" fmla="*/ 162 h 300"/>
                <a:gd name="T76" fmla="*/ 60 w 300"/>
                <a:gd name="T77" fmla="*/ 166 h 300"/>
                <a:gd name="T78" fmla="*/ 138 w 300"/>
                <a:gd name="T79" fmla="*/ 174 h 300"/>
                <a:gd name="T80" fmla="*/ 65 w 300"/>
                <a:gd name="T81" fmla="*/ 162 h 300"/>
                <a:gd name="T82" fmla="*/ 9 w 300"/>
                <a:gd name="T83" fmla="*/ 105 h 300"/>
                <a:gd name="T84" fmla="*/ 32 w 300"/>
                <a:gd name="T85" fmla="*/ 167 h 300"/>
                <a:gd name="T86" fmla="*/ 44 w 300"/>
                <a:gd name="T87" fmla="*/ 148 h 300"/>
                <a:gd name="T88" fmla="*/ 66 w 300"/>
                <a:gd name="T89" fmla="*/ 105 h 300"/>
                <a:gd name="T90" fmla="*/ 215 w 300"/>
                <a:gd name="T91" fmla="*/ 85 h 300"/>
                <a:gd name="T92" fmla="*/ 231 w 300"/>
                <a:gd name="T93" fmla="*/ 101 h 300"/>
                <a:gd name="T94" fmla="*/ 162 w 300"/>
                <a:gd name="T95" fmla="*/ 149 h 300"/>
                <a:gd name="T96" fmla="*/ 255 w 300"/>
                <a:gd name="T97" fmla="*/ 125 h 300"/>
                <a:gd name="T98" fmla="*/ 215 w 300"/>
                <a:gd name="T99" fmla="*/ 85 h 300"/>
                <a:gd name="T100" fmla="*/ 47 w 300"/>
                <a:gd name="T101" fmla="*/ 153 h 300"/>
                <a:gd name="T102" fmla="*/ 35 w 300"/>
                <a:gd name="T103" fmla="*/ 174 h 300"/>
                <a:gd name="T104" fmla="*/ 44 w 300"/>
                <a:gd name="T105" fmla="*/ 207 h 300"/>
                <a:gd name="T106" fmla="*/ 55 w 300"/>
                <a:gd name="T107" fmla="*/ 162 h 300"/>
                <a:gd name="T108" fmla="*/ 110 w 300"/>
                <a:gd name="T109" fmla="*/ 151 h 300"/>
                <a:gd name="T110" fmla="*/ 138 w 300"/>
                <a:gd name="T111" fmla="*/ 139 h 300"/>
                <a:gd name="T112" fmla="*/ 179 w 300"/>
                <a:gd name="T113" fmla="*/ 105 h 300"/>
                <a:gd name="T114" fmla="*/ 122 w 300"/>
                <a:gd name="T115" fmla="*/ 105 h 300"/>
                <a:gd name="T116" fmla="*/ 144 w 300"/>
                <a:gd name="T117" fmla="*/ 207 h 300"/>
                <a:gd name="T118" fmla="*/ 156 w 300"/>
                <a:gd name="T119" fmla="*/ 10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0" h="300">
                  <a:moveTo>
                    <a:pt x="52" y="37"/>
                  </a:moveTo>
                  <a:cubicBezTo>
                    <a:pt x="75" y="60"/>
                    <a:pt x="75" y="60"/>
                    <a:pt x="75" y="60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5" y="15"/>
                    <a:pt x="75" y="15"/>
                    <a:pt x="75" y="15"/>
                  </a:cubicBezTo>
                  <a:lnTo>
                    <a:pt x="52" y="37"/>
                  </a:lnTo>
                  <a:close/>
                  <a:moveTo>
                    <a:pt x="300" y="15"/>
                  </a:moveTo>
                  <a:cubicBezTo>
                    <a:pt x="285" y="0"/>
                    <a:pt x="285" y="0"/>
                    <a:pt x="285" y="0"/>
                  </a:cubicBezTo>
                  <a:cubicBezTo>
                    <a:pt x="262" y="22"/>
                    <a:pt x="262" y="22"/>
                    <a:pt x="262" y="22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25" y="15"/>
                    <a:pt x="225" y="15"/>
                    <a:pt x="225" y="15"/>
                  </a:cubicBezTo>
                  <a:cubicBezTo>
                    <a:pt x="248" y="37"/>
                    <a:pt x="248" y="37"/>
                    <a:pt x="248" y="37"/>
                  </a:cubicBezTo>
                  <a:cubicBezTo>
                    <a:pt x="225" y="60"/>
                    <a:pt x="225" y="60"/>
                    <a:pt x="225" y="60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62" y="52"/>
                    <a:pt x="262" y="52"/>
                    <a:pt x="262" y="52"/>
                  </a:cubicBezTo>
                  <a:cubicBezTo>
                    <a:pt x="285" y="75"/>
                    <a:pt x="285" y="75"/>
                    <a:pt x="285" y="75"/>
                  </a:cubicBezTo>
                  <a:cubicBezTo>
                    <a:pt x="300" y="60"/>
                    <a:pt x="300" y="60"/>
                    <a:pt x="300" y="60"/>
                  </a:cubicBezTo>
                  <a:cubicBezTo>
                    <a:pt x="277" y="37"/>
                    <a:pt x="277" y="37"/>
                    <a:pt x="277" y="37"/>
                  </a:cubicBezTo>
                  <a:lnTo>
                    <a:pt x="300" y="15"/>
                  </a:lnTo>
                  <a:close/>
                  <a:moveTo>
                    <a:pt x="188" y="15"/>
                  </a:moveTo>
                  <a:cubicBezTo>
                    <a:pt x="173" y="0"/>
                    <a:pt x="173" y="0"/>
                    <a:pt x="173" y="0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13" y="60"/>
                    <a:pt x="113" y="60"/>
                    <a:pt x="113" y="60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50" y="52"/>
                    <a:pt x="150" y="52"/>
                    <a:pt x="150" y="52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65" y="37"/>
                    <a:pt x="165" y="37"/>
                    <a:pt x="165" y="37"/>
                  </a:cubicBezTo>
                  <a:lnTo>
                    <a:pt x="188" y="15"/>
                  </a:lnTo>
                  <a:close/>
                  <a:moveTo>
                    <a:pt x="38" y="225"/>
                  </a:moveTo>
                  <a:cubicBezTo>
                    <a:pt x="17" y="225"/>
                    <a:pt x="0" y="242"/>
                    <a:pt x="0" y="262"/>
                  </a:cubicBezTo>
                  <a:cubicBezTo>
                    <a:pt x="0" y="283"/>
                    <a:pt x="17" y="300"/>
                    <a:pt x="38" y="300"/>
                  </a:cubicBezTo>
                  <a:cubicBezTo>
                    <a:pt x="58" y="300"/>
                    <a:pt x="75" y="283"/>
                    <a:pt x="75" y="262"/>
                  </a:cubicBezTo>
                  <a:cubicBezTo>
                    <a:pt x="75" y="242"/>
                    <a:pt x="58" y="225"/>
                    <a:pt x="38" y="225"/>
                  </a:cubicBezTo>
                  <a:close/>
                  <a:moveTo>
                    <a:pt x="53" y="262"/>
                  </a:moveTo>
                  <a:cubicBezTo>
                    <a:pt x="53" y="271"/>
                    <a:pt x="46" y="277"/>
                    <a:pt x="38" y="277"/>
                  </a:cubicBezTo>
                  <a:cubicBezTo>
                    <a:pt x="29" y="277"/>
                    <a:pt x="23" y="271"/>
                    <a:pt x="23" y="262"/>
                  </a:cubicBezTo>
                  <a:cubicBezTo>
                    <a:pt x="23" y="254"/>
                    <a:pt x="29" y="247"/>
                    <a:pt x="38" y="247"/>
                  </a:cubicBezTo>
                  <a:cubicBezTo>
                    <a:pt x="46" y="247"/>
                    <a:pt x="53" y="254"/>
                    <a:pt x="53" y="262"/>
                  </a:cubicBezTo>
                  <a:close/>
                  <a:moveTo>
                    <a:pt x="150" y="225"/>
                  </a:moveTo>
                  <a:cubicBezTo>
                    <a:pt x="129" y="225"/>
                    <a:pt x="113" y="242"/>
                    <a:pt x="113" y="262"/>
                  </a:cubicBezTo>
                  <a:cubicBezTo>
                    <a:pt x="113" y="283"/>
                    <a:pt x="129" y="300"/>
                    <a:pt x="150" y="300"/>
                  </a:cubicBezTo>
                  <a:cubicBezTo>
                    <a:pt x="171" y="300"/>
                    <a:pt x="188" y="283"/>
                    <a:pt x="188" y="262"/>
                  </a:cubicBezTo>
                  <a:cubicBezTo>
                    <a:pt x="188" y="242"/>
                    <a:pt x="171" y="225"/>
                    <a:pt x="150" y="225"/>
                  </a:cubicBezTo>
                  <a:close/>
                  <a:moveTo>
                    <a:pt x="165" y="262"/>
                  </a:moveTo>
                  <a:cubicBezTo>
                    <a:pt x="165" y="271"/>
                    <a:pt x="158" y="277"/>
                    <a:pt x="150" y="277"/>
                  </a:cubicBezTo>
                  <a:cubicBezTo>
                    <a:pt x="142" y="277"/>
                    <a:pt x="135" y="271"/>
                    <a:pt x="135" y="262"/>
                  </a:cubicBezTo>
                  <a:cubicBezTo>
                    <a:pt x="135" y="254"/>
                    <a:pt x="142" y="247"/>
                    <a:pt x="150" y="247"/>
                  </a:cubicBezTo>
                  <a:cubicBezTo>
                    <a:pt x="158" y="247"/>
                    <a:pt x="165" y="254"/>
                    <a:pt x="165" y="262"/>
                  </a:cubicBezTo>
                  <a:close/>
                  <a:moveTo>
                    <a:pt x="263" y="225"/>
                  </a:moveTo>
                  <a:cubicBezTo>
                    <a:pt x="242" y="225"/>
                    <a:pt x="225" y="242"/>
                    <a:pt x="225" y="262"/>
                  </a:cubicBezTo>
                  <a:cubicBezTo>
                    <a:pt x="225" y="283"/>
                    <a:pt x="242" y="300"/>
                    <a:pt x="263" y="300"/>
                  </a:cubicBezTo>
                  <a:cubicBezTo>
                    <a:pt x="283" y="300"/>
                    <a:pt x="300" y="283"/>
                    <a:pt x="300" y="262"/>
                  </a:cubicBezTo>
                  <a:cubicBezTo>
                    <a:pt x="300" y="242"/>
                    <a:pt x="283" y="225"/>
                    <a:pt x="263" y="225"/>
                  </a:cubicBezTo>
                  <a:close/>
                  <a:moveTo>
                    <a:pt x="278" y="262"/>
                  </a:moveTo>
                  <a:cubicBezTo>
                    <a:pt x="278" y="271"/>
                    <a:pt x="271" y="277"/>
                    <a:pt x="263" y="277"/>
                  </a:cubicBezTo>
                  <a:cubicBezTo>
                    <a:pt x="254" y="277"/>
                    <a:pt x="248" y="271"/>
                    <a:pt x="248" y="262"/>
                  </a:cubicBezTo>
                  <a:cubicBezTo>
                    <a:pt x="248" y="254"/>
                    <a:pt x="254" y="247"/>
                    <a:pt x="263" y="247"/>
                  </a:cubicBezTo>
                  <a:cubicBezTo>
                    <a:pt x="271" y="247"/>
                    <a:pt x="278" y="254"/>
                    <a:pt x="278" y="262"/>
                  </a:cubicBezTo>
                  <a:close/>
                  <a:moveTo>
                    <a:pt x="162" y="162"/>
                  </a:moveTo>
                  <a:cubicBezTo>
                    <a:pt x="162" y="174"/>
                    <a:pt x="162" y="174"/>
                    <a:pt x="162" y="174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57" y="207"/>
                    <a:pt x="257" y="207"/>
                    <a:pt x="257" y="207"/>
                  </a:cubicBezTo>
                  <a:cubicBezTo>
                    <a:pt x="269" y="207"/>
                    <a:pt x="269" y="207"/>
                    <a:pt x="269" y="207"/>
                  </a:cubicBezTo>
                  <a:cubicBezTo>
                    <a:pt x="269" y="162"/>
                    <a:pt x="269" y="162"/>
                    <a:pt x="269" y="162"/>
                  </a:cubicBezTo>
                  <a:lnTo>
                    <a:pt x="162" y="162"/>
                  </a:lnTo>
                  <a:close/>
                  <a:moveTo>
                    <a:pt x="65" y="162"/>
                  </a:moveTo>
                  <a:cubicBezTo>
                    <a:pt x="63" y="163"/>
                    <a:pt x="62" y="164"/>
                    <a:pt x="60" y="166"/>
                  </a:cubicBezTo>
                  <a:cubicBezTo>
                    <a:pt x="58" y="168"/>
                    <a:pt x="56" y="171"/>
                    <a:pt x="55" y="174"/>
                  </a:cubicBezTo>
                  <a:cubicBezTo>
                    <a:pt x="138" y="174"/>
                    <a:pt x="138" y="174"/>
                    <a:pt x="138" y="174"/>
                  </a:cubicBezTo>
                  <a:cubicBezTo>
                    <a:pt x="138" y="162"/>
                    <a:pt x="138" y="162"/>
                    <a:pt x="138" y="162"/>
                  </a:cubicBezTo>
                  <a:lnTo>
                    <a:pt x="65" y="162"/>
                  </a:lnTo>
                  <a:close/>
                  <a:moveTo>
                    <a:pt x="38" y="76"/>
                  </a:moveTo>
                  <a:cubicBezTo>
                    <a:pt x="9" y="105"/>
                    <a:pt x="9" y="105"/>
                    <a:pt x="9" y="105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32" y="167"/>
                    <a:pt x="32" y="167"/>
                    <a:pt x="32" y="167"/>
                  </a:cubicBezTo>
                  <a:cubicBezTo>
                    <a:pt x="34" y="160"/>
                    <a:pt x="38" y="154"/>
                    <a:pt x="43" y="149"/>
                  </a:cubicBezTo>
                  <a:cubicBezTo>
                    <a:pt x="43" y="149"/>
                    <a:pt x="43" y="148"/>
                    <a:pt x="44" y="148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66" y="105"/>
                    <a:pt x="66" y="105"/>
                    <a:pt x="66" y="105"/>
                  </a:cubicBezTo>
                  <a:lnTo>
                    <a:pt x="38" y="76"/>
                  </a:lnTo>
                  <a:close/>
                  <a:moveTo>
                    <a:pt x="215" y="85"/>
                  </a:moveTo>
                  <a:cubicBezTo>
                    <a:pt x="235" y="105"/>
                    <a:pt x="235" y="105"/>
                    <a:pt x="235" y="105"/>
                  </a:cubicBezTo>
                  <a:cubicBezTo>
                    <a:pt x="231" y="101"/>
                    <a:pt x="231" y="101"/>
                    <a:pt x="231" y="101"/>
                  </a:cubicBezTo>
                  <a:cubicBezTo>
                    <a:pt x="208" y="123"/>
                    <a:pt x="185" y="133"/>
                    <a:pt x="162" y="137"/>
                  </a:cubicBezTo>
                  <a:cubicBezTo>
                    <a:pt x="162" y="149"/>
                    <a:pt x="162" y="149"/>
                    <a:pt x="162" y="149"/>
                  </a:cubicBezTo>
                  <a:cubicBezTo>
                    <a:pt x="187" y="145"/>
                    <a:pt x="214" y="135"/>
                    <a:pt x="239" y="109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5" y="85"/>
                    <a:pt x="255" y="85"/>
                    <a:pt x="255" y="85"/>
                  </a:cubicBezTo>
                  <a:lnTo>
                    <a:pt x="215" y="85"/>
                  </a:lnTo>
                  <a:close/>
                  <a:moveTo>
                    <a:pt x="111" y="139"/>
                  </a:moveTo>
                  <a:cubicBezTo>
                    <a:pt x="85" y="139"/>
                    <a:pt x="62" y="138"/>
                    <a:pt x="47" y="153"/>
                  </a:cubicBezTo>
                  <a:cubicBezTo>
                    <a:pt x="46" y="154"/>
                    <a:pt x="45" y="156"/>
                    <a:pt x="44" y="157"/>
                  </a:cubicBezTo>
                  <a:cubicBezTo>
                    <a:pt x="40" y="162"/>
                    <a:pt x="37" y="167"/>
                    <a:pt x="35" y="174"/>
                  </a:cubicBezTo>
                  <a:cubicBezTo>
                    <a:pt x="33" y="183"/>
                    <a:pt x="32" y="194"/>
                    <a:pt x="32" y="207"/>
                  </a:cubicBezTo>
                  <a:cubicBezTo>
                    <a:pt x="44" y="207"/>
                    <a:pt x="44" y="207"/>
                    <a:pt x="44" y="207"/>
                  </a:cubicBezTo>
                  <a:cubicBezTo>
                    <a:pt x="44" y="193"/>
                    <a:pt x="45" y="182"/>
                    <a:pt x="48" y="174"/>
                  </a:cubicBezTo>
                  <a:cubicBezTo>
                    <a:pt x="50" y="169"/>
                    <a:pt x="52" y="165"/>
                    <a:pt x="55" y="162"/>
                  </a:cubicBezTo>
                  <a:cubicBezTo>
                    <a:pt x="56" y="162"/>
                    <a:pt x="56" y="162"/>
                    <a:pt x="56" y="161"/>
                  </a:cubicBezTo>
                  <a:cubicBezTo>
                    <a:pt x="67" y="150"/>
                    <a:pt x="86" y="151"/>
                    <a:pt x="110" y="151"/>
                  </a:cubicBezTo>
                  <a:cubicBezTo>
                    <a:pt x="119" y="151"/>
                    <a:pt x="128" y="152"/>
                    <a:pt x="138" y="151"/>
                  </a:cubicBezTo>
                  <a:cubicBezTo>
                    <a:pt x="138" y="139"/>
                    <a:pt x="138" y="139"/>
                    <a:pt x="138" y="139"/>
                  </a:cubicBezTo>
                  <a:cubicBezTo>
                    <a:pt x="128" y="140"/>
                    <a:pt x="119" y="139"/>
                    <a:pt x="111" y="139"/>
                  </a:cubicBezTo>
                  <a:close/>
                  <a:moveTo>
                    <a:pt x="179" y="105"/>
                  </a:moveTo>
                  <a:cubicBezTo>
                    <a:pt x="150" y="76"/>
                    <a:pt x="150" y="76"/>
                    <a:pt x="150" y="76"/>
                  </a:cubicBezTo>
                  <a:cubicBezTo>
                    <a:pt x="122" y="105"/>
                    <a:pt x="122" y="105"/>
                    <a:pt x="122" y="105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207"/>
                    <a:pt x="144" y="207"/>
                    <a:pt x="144" y="207"/>
                  </a:cubicBezTo>
                  <a:cubicBezTo>
                    <a:pt x="156" y="207"/>
                    <a:pt x="156" y="207"/>
                    <a:pt x="156" y="207"/>
                  </a:cubicBezTo>
                  <a:cubicBezTo>
                    <a:pt x="156" y="105"/>
                    <a:pt x="156" y="105"/>
                    <a:pt x="156" y="105"/>
                  </a:cubicBezTo>
                  <a:lnTo>
                    <a:pt x="179" y="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3891" tIns="41948" rIns="83891" bIns="41948" numCol="1" anchor="t" anchorCtr="0" compatLnSpc="1">
              <a:prstTxWarp prst="textNoShape">
                <a:avLst/>
              </a:prstTxWarp>
            </a:bodyPr>
            <a:lstStyle/>
            <a:p>
              <a:pPr defTabSz="930554"/>
              <a:endParaRPr lang="en-US" sz="1300">
                <a:solidFill>
                  <a:srgbClr val="FFFFFF"/>
                </a:solidFill>
              </a:endParaRPr>
            </a:p>
          </p:txBody>
        </p:sp>
        <p:sp>
          <p:nvSpPr>
            <p:cNvPr id="67" name="矩形 66"/>
            <p:cNvSpPr/>
            <p:nvPr/>
          </p:nvSpPr>
          <p:spPr>
            <a:xfrm>
              <a:off x="5886450" y="3302056"/>
              <a:ext cx="661818" cy="293005"/>
            </a:xfrm>
            <a:prstGeom prst="rect">
              <a:avLst/>
            </a:prstGeom>
            <a:solidFill>
              <a:srgbClr val="EBAC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8" name="Picture 4" descr="\\MAGNUM\Projects\Microsoft\Cloud Power FY12\Design\ICONS_PNG\Check_mark.png"/>
            <p:cNvPicPr>
              <a:picLocks noChangeArrowheads="1"/>
            </p:cNvPicPr>
            <p:nvPr/>
          </p:nvPicPr>
          <p:blipFill rotWithShape="1">
            <a:blip r:embed="rId2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318339" y="3413701"/>
              <a:ext cx="229929" cy="191767"/>
            </a:xfrm>
            <a:prstGeom prst="rect">
              <a:avLst/>
            </a:prstGeom>
            <a:noFill/>
          </p:spPr>
        </p:pic>
        <p:pic>
          <p:nvPicPr>
            <p:cNvPr id="69" name="Picture 4" descr="\\MAGNUM\Projects\Microsoft\Cloud Power FY12\Design\ICONS_PNG\Check_mark.png"/>
            <p:cNvPicPr>
              <a:picLocks noChangeArrowheads="1"/>
            </p:cNvPicPr>
            <p:nvPr/>
          </p:nvPicPr>
          <p:blipFill rotWithShape="1">
            <a:blip r:embed="rId2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76853" y="3392796"/>
              <a:ext cx="229929" cy="191767"/>
            </a:xfrm>
            <a:prstGeom prst="rect">
              <a:avLst/>
            </a:prstGeom>
            <a:noFill/>
          </p:spPr>
        </p:pic>
      </p:grpSp>
      <p:cxnSp>
        <p:nvCxnSpPr>
          <p:cNvPr id="72" name="直接连接符 71"/>
          <p:cNvCxnSpPr/>
          <p:nvPr/>
        </p:nvCxnSpPr>
        <p:spPr>
          <a:xfrm>
            <a:off x="4427474" y="3148219"/>
            <a:ext cx="3312000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72"/>
          <p:cNvCxnSpPr/>
          <p:nvPr/>
        </p:nvCxnSpPr>
        <p:spPr>
          <a:xfrm>
            <a:off x="4427474" y="4038842"/>
            <a:ext cx="3312000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/>
          <p:cNvCxnSpPr/>
          <p:nvPr/>
        </p:nvCxnSpPr>
        <p:spPr>
          <a:xfrm>
            <a:off x="4427474" y="4868269"/>
            <a:ext cx="3312000" cy="0"/>
          </a:xfrm>
          <a:prstGeom prst="line">
            <a:avLst/>
          </a:prstGeom>
          <a:ln w="952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文本框 74"/>
          <p:cNvSpPr txBox="1"/>
          <p:nvPr/>
        </p:nvSpPr>
        <p:spPr>
          <a:xfrm>
            <a:off x="4317739" y="2826423"/>
            <a:ext cx="370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A</a:t>
            </a:r>
            <a:endParaRPr lang="zh-CN" altLang="en-US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4317739" y="3690147"/>
            <a:ext cx="3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B</a:t>
            </a:r>
            <a:endParaRPr lang="zh-CN" altLang="en-US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4317739" y="4522033"/>
            <a:ext cx="378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C</a:t>
            </a:r>
            <a:endParaRPr lang="zh-CN" altLang="en-US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4317739" y="5330245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D</a:t>
            </a:r>
            <a:endParaRPr lang="zh-CN" altLang="en-US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79" name="文本框 78"/>
          <p:cNvSpPr txBox="1"/>
          <p:nvPr/>
        </p:nvSpPr>
        <p:spPr>
          <a:xfrm>
            <a:off x="1948616" y="4380066"/>
            <a:ext cx="183946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学生写完家庭作业后打开微信拍照上传</a:t>
            </a:r>
          </a:p>
        </p:txBody>
      </p:sp>
      <p:sp>
        <p:nvSpPr>
          <p:cNvPr id="80" name="文本框 79"/>
          <p:cNvSpPr txBox="1"/>
          <p:nvPr/>
        </p:nvSpPr>
        <p:spPr>
          <a:xfrm>
            <a:off x="5463036" y="2383058"/>
            <a:ext cx="1839465" cy="462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家长批阅</a:t>
            </a:r>
          </a:p>
        </p:txBody>
      </p:sp>
      <p:sp>
        <p:nvSpPr>
          <p:cNvPr id="81" name="文本框 80"/>
          <p:cNvSpPr txBox="1"/>
          <p:nvPr/>
        </p:nvSpPr>
        <p:spPr>
          <a:xfrm>
            <a:off x="5470619" y="3177745"/>
            <a:ext cx="1839465" cy="462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互相批阅</a:t>
            </a:r>
          </a:p>
        </p:txBody>
      </p:sp>
      <p:sp>
        <p:nvSpPr>
          <p:cNvPr id="82" name="文本框 81"/>
          <p:cNvSpPr txBox="1"/>
          <p:nvPr/>
        </p:nvSpPr>
        <p:spPr>
          <a:xfrm>
            <a:off x="5467415" y="4077243"/>
            <a:ext cx="1839465" cy="462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委托批阅</a:t>
            </a:r>
          </a:p>
        </p:txBody>
      </p:sp>
      <p:sp>
        <p:nvSpPr>
          <p:cNvPr id="83" name="文本框 82"/>
          <p:cNvSpPr txBox="1"/>
          <p:nvPr/>
        </p:nvSpPr>
        <p:spPr>
          <a:xfrm>
            <a:off x="5478002" y="4885831"/>
            <a:ext cx="1839465" cy="462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自动批阅</a:t>
            </a:r>
          </a:p>
        </p:txBody>
      </p:sp>
      <p:sp>
        <p:nvSpPr>
          <p:cNvPr id="84" name="文本框 83"/>
          <p:cNvSpPr txBox="1"/>
          <p:nvPr/>
        </p:nvSpPr>
        <p:spPr>
          <a:xfrm>
            <a:off x="5478002" y="2853460"/>
            <a:ext cx="2797318" cy="277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90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家长根据微信平台的答案对孩子作业进行批阅</a:t>
            </a:r>
          </a:p>
        </p:txBody>
      </p:sp>
      <p:sp>
        <p:nvSpPr>
          <p:cNvPr id="85" name="文本框 84"/>
          <p:cNvSpPr txBox="1"/>
          <p:nvPr/>
        </p:nvSpPr>
        <p:spPr>
          <a:xfrm>
            <a:off x="5471226" y="3707856"/>
            <a:ext cx="319728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90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平台定时推送激励任务，引导学生相互间批阅作业</a:t>
            </a:r>
          </a:p>
        </p:txBody>
      </p:sp>
      <p:sp>
        <p:nvSpPr>
          <p:cNvPr id="86" name="文本框 85"/>
          <p:cNvSpPr txBox="1"/>
          <p:nvPr/>
        </p:nvSpPr>
        <p:spPr>
          <a:xfrm>
            <a:off x="5478002" y="4565010"/>
            <a:ext cx="282314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90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家长委托平台对指定孩子的作业进行限时批阅</a:t>
            </a:r>
          </a:p>
        </p:txBody>
      </p:sp>
      <p:sp>
        <p:nvSpPr>
          <p:cNvPr id="87" name="文本框 86"/>
          <p:cNvSpPr txBox="1"/>
          <p:nvPr/>
        </p:nvSpPr>
        <p:spPr>
          <a:xfrm>
            <a:off x="5508119" y="5394308"/>
            <a:ext cx="263918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70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sz="900" dirty="0"/>
              <a:t>系统根据图像识别自动批阅可识别区域作业内容</a:t>
            </a:r>
          </a:p>
        </p:txBody>
      </p:sp>
      <p:grpSp>
        <p:nvGrpSpPr>
          <p:cNvPr id="88" name="组合 87"/>
          <p:cNvGrpSpPr/>
          <p:nvPr/>
        </p:nvGrpSpPr>
        <p:grpSpPr>
          <a:xfrm>
            <a:off x="9163257" y="2505480"/>
            <a:ext cx="694545" cy="947521"/>
            <a:chOff x="-1910278" y="4472499"/>
            <a:chExt cx="750231" cy="957083"/>
          </a:xfrm>
          <a:solidFill>
            <a:schemeClr val="bg1"/>
          </a:solidFill>
        </p:grpSpPr>
        <p:sp>
          <p:nvSpPr>
            <p:cNvPr id="89" name="Freeform 1909"/>
            <p:cNvSpPr>
              <a:spLocks/>
            </p:cNvSpPr>
            <p:nvPr/>
          </p:nvSpPr>
          <p:spPr bwMode="auto">
            <a:xfrm>
              <a:off x="-1910278" y="4744187"/>
              <a:ext cx="750231" cy="685395"/>
            </a:xfrm>
            <a:custGeom>
              <a:avLst/>
              <a:gdLst>
                <a:gd name="T0" fmla="*/ 94 w 103"/>
                <a:gd name="T1" fmla="*/ 42 h 94"/>
                <a:gd name="T2" fmla="*/ 76 w 103"/>
                <a:gd name="T3" fmla="*/ 31 h 94"/>
                <a:gd name="T4" fmla="*/ 73 w 103"/>
                <a:gd name="T5" fmla="*/ 0 h 94"/>
                <a:gd name="T6" fmla="*/ 71 w 103"/>
                <a:gd name="T7" fmla="*/ 7 h 94"/>
                <a:gd name="T8" fmla="*/ 62 w 103"/>
                <a:gd name="T9" fmla="*/ 23 h 94"/>
                <a:gd name="T10" fmla="*/ 63 w 103"/>
                <a:gd name="T11" fmla="*/ 30 h 94"/>
                <a:gd name="T12" fmla="*/ 38 w 103"/>
                <a:gd name="T13" fmla="*/ 31 h 94"/>
                <a:gd name="T14" fmla="*/ 39 w 103"/>
                <a:gd name="T15" fmla="*/ 23 h 94"/>
                <a:gd name="T16" fmla="*/ 31 w 103"/>
                <a:gd name="T17" fmla="*/ 7 h 94"/>
                <a:gd name="T18" fmla="*/ 29 w 103"/>
                <a:gd name="T19" fmla="*/ 0 h 94"/>
                <a:gd name="T20" fmla="*/ 26 w 103"/>
                <a:gd name="T21" fmla="*/ 31 h 94"/>
                <a:gd name="T22" fmla="*/ 16 w 103"/>
                <a:gd name="T23" fmla="*/ 35 h 94"/>
                <a:gd name="T24" fmla="*/ 9 w 103"/>
                <a:gd name="T25" fmla="*/ 40 h 94"/>
                <a:gd name="T26" fmla="*/ 0 w 103"/>
                <a:gd name="T27" fmla="*/ 77 h 94"/>
                <a:gd name="T28" fmla="*/ 3 w 103"/>
                <a:gd name="T29" fmla="*/ 84 h 94"/>
                <a:gd name="T30" fmla="*/ 48 w 103"/>
                <a:gd name="T31" fmla="*/ 93 h 94"/>
                <a:gd name="T32" fmla="*/ 98 w 103"/>
                <a:gd name="T33" fmla="*/ 85 h 94"/>
                <a:gd name="T34" fmla="*/ 101 w 103"/>
                <a:gd name="T35" fmla="*/ 81 h 94"/>
                <a:gd name="T36" fmla="*/ 94 w 103"/>
                <a:gd name="T37" fmla="*/ 4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3" h="94">
                  <a:moveTo>
                    <a:pt x="94" y="42"/>
                  </a:moveTo>
                  <a:cubicBezTo>
                    <a:pt x="92" y="37"/>
                    <a:pt x="80" y="33"/>
                    <a:pt x="76" y="31"/>
                  </a:cubicBezTo>
                  <a:cubicBezTo>
                    <a:pt x="70" y="18"/>
                    <a:pt x="73" y="0"/>
                    <a:pt x="73" y="0"/>
                  </a:cubicBezTo>
                  <a:cubicBezTo>
                    <a:pt x="72" y="5"/>
                    <a:pt x="71" y="7"/>
                    <a:pt x="71" y="7"/>
                  </a:cubicBezTo>
                  <a:cubicBezTo>
                    <a:pt x="70" y="16"/>
                    <a:pt x="62" y="23"/>
                    <a:pt x="62" y="23"/>
                  </a:cubicBezTo>
                  <a:cubicBezTo>
                    <a:pt x="62" y="26"/>
                    <a:pt x="63" y="28"/>
                    <a:pt x="63" y="30"/>
                  </a:cubicBezTo>
                  <a:cubicBezTo>
                    <a:pt x="52" y="48"/>
                    <a:pt x="43" y="38"/>
                    <a:pt x="38" y="31"/>
                  </a:cubicBezTo>
                  <a:cubicBezTo>
                    <a:pt x="39" y="29"/>
                    <a:pt x="40" y="26"/>
                    <a:pt x="39" y="23"/>
                  </a:cubicBezTo>
                  <a:cubicBezTo>
                    <a:pt x="39" y="23"/>
                    <a:pt x="32" y="16"/>
                    <a:pt x="31" y="7"/>
                  </a:cubicBezTo>
                  <a:cubicBezTo>
                    <a:pt x="31" y="7"/>
                    <a:pt x="30" y="5"/>
                    <a:pt x="29" y="0"/>
                  </a:cubicBezTo>
                  <a:cubicBezTo>
                    <a:pt x="29" y="0"/>
                    <a:pt x="32" y="18"/>
                    <a:pt x="26" y="31"/>
                  </a:cubicBezTo>
                  <a:cubicBezTo>
                    <a:pt x="21" y="33"/>
                    <a:pt x="16" y="35"/>
                    <a:pt x="16" y="35"/>
                  </a:cubicBezTo>
                  <a:cubicBezTo>
                    <a:pt x="11" y="37"/>
                    <a:pt x="9" y="40"/>
                    <a:pt x="9" y="40"/>
                  </a:cubicBezTo>
                  <a:cubicBezTo>
                    <a:pt x="1" y="51"/>
                    <a:pt x="0" y="77"/>
                    <a:pt x="0" y="77"/>
                  </a:cubicBezTo>
                  <a:cubicBezTo>
                    <a:pt x="0" y="83"/>
                    <a:pt x="3" y="84"/>
                    <a:pt x="3" y="84"/>
                  </a:cubicBezTo>
                  <a:cubicBezTo>
                    <a:pt x="20" y="92"/>
                    <a:pt x="48" y="93"/>
                    <a:pt x="48" y="93"/>
                  </a:cubicBezTo>
                  <a:cubicBezTo>
                    <a:pt x="77" y="94"/>
                    <a:pt x="98" y="85"/>
                    <a:pt x="98" y="85"/>
                  </a:cubicBezTo>
                  <a:cubicBezTo>
                    <a:pt x="101" y="83"/>
                    <a:pt x="101" y="81"/>
                    <a:pt x="101" y="81"/>
                  </a:cubicBezTo>
                  <a:cubicBezTo>
                    <a:pt x="103" y="63"/>
                    <a:pt x="94" y="42"/>
                    <a:pt x="9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1910"/>
            <p:cNvSpPr>
              <a:spLocks/>
            </p:cNvSpPr>
            <p:nvPr/>
          </p:nvSpPr>
          <p:spPr bwMode="auto">
            <a:xfrm>
              <a:off x="-1728124" y="4472499"/>
              <a:ext cx="364309" cy="271688"/>
            </a:xfrm>
            <a:custGeom>
              <a:avLst/>
              <a:gdLst>
                <a:gd name="T0" fmla="*/ 38 w 50"/>
                <a:gd name="T1" fmla="*/ 26 h 37"/>
                <a:gd name="T2" fmla="*/ 47 w 50"/>
                <a:gd name="T3" fmla="*/ 36 h 37"/>
                <a:gd name="T4" fmla="*/ 48 w 50"/>
                <a:gd name="T5" fmla="*/ 33 h 37"/>
                <a:gd name="T6" fmla="*/ 49 w 50"/>
                <a:gd name="T7" fmla="*/ 34 h 37"/>
                <a:gd name="T8" fmla="*/ 43 w 50"/>
                <a:gd name="T9" fmla="*/ 13 h 37"/>
                <a:gd name="T10" fmla="*/ 43 w 50"/>
                <a:gd name="T11" fmla="*/ 13 h 37"/>
                <a:gd name="T12" fmla="*/ 12 w 50"/>
                <a:gd name="T13" fmla="*/ 10 h 37"/>
                <a:gd name="T14" fmla="*/ 3 w 50"/>
                <a:gd name="T15" fmla="*/ 35 h 37"/>
                <a:gd name="T16" fmla="*/ 38 w 50"/>
                <a:gd name="T17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37">
                  <a:moveTo>
                    <a:pt x="38" y="26"/>
                  </a:moveTo>
                  <a:cubicBezTo>
                    <a:pt x="39" y="27"/>
                    <a:pt x="41" y="33"/>
                    <a:pt x="47" y="36"/>
                  </a:cubicBezTo>
                  <a:cubicBezTo>
                    <a:pt x="47" y="36"/>
                    <a:pt x="47" y="33"/>
                    <a:pt x="48" y="33"/>
                  </a:cubicBezTo>
                  <a:cubicBezTo>
                    <a:pt x="48" y="33"/>
                    <a:pt x="48" y="34"/>
                    <a:pt x="49" y="34"/>
                  </a:cubicBezTo>
                  <a:cubicBezTo>
                    <a:pt x="49" y="34"/>
                    <a:pt x="50" y="19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29" y="0"/>
                    <a:pt x="12" y="10"/>
                    <a:pt x="12" y="10"/>
                  </a:cubicBezTo>
                  <a:cubicBezTo>
                    <a:pt x="0" y="18"/>
                    <a:pt x="3" y="35"/>
                    <a:pt x="3" y="35"/>
                  </a:cubicBezTo>
                  <a:cubicBezTo>
                    <a:pt x="26" y="37"/>
                    <a:pt x="38" y="26"/>
                    <a:pt x="3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9181727" y="4745052"/>
            <a:ext cx="676075" cy="865493"/>
            <a:chOff x="877613" y="2993652"/>
            <a:chExt cx="716269" cy="916948"/>
          </a:xfrm>
          <a:solidFill>
            <a:schemeClr val="bg1"/>
          </a:solidFill>
        </p:grpSpPr>
        <p:sp>
          <p:nvSpPr>
            <p:cNvPr id="92" name="Freeform 1888"/>
            <p:cNvSpPr>
              <a:spLocks/>
            </p:cNvSpPr>
            <p:nvPr/>
          </p:nvSpPr>
          <p:spPr bwMode="auto">
            <a:xfrm>
              <a:off x="877613" y="3438232"/>
              <a:ext cx="716269" cy="472368"/>
            </a:xfrm>
            <a:custGeom>
              <a:avLst/>
              <a:gdLst>
                <a:gd name="T0" fmla="*/ 90 w 98"/>
                <a:gd name="T1" fmla="*/ 16 h 65"/>
                <a:gd name="T2" fmla="*/ 71 w 98"/>
                <a:gd name="T3" fmla="*/ 5 h 65"/>
                <a:gd name="T4" fmla="*/ 63 w 98"/>
                <a:gd name="T5" fmla="*/ 0 h 65"/>
                <a:gd name="T6" fmla="*/ 34 w 98"/>
                <a:gd name="T7" fmla="*/ 0 h 65"/>
                <a:gd name="T8" fmla="*/ 16 w 98"/>
                <a:gd name="T9" fmla="*/ 9 h 65"/>
                <a:gd name="T10" fmla="*/ 9 w 98"/>
                <a:gd name="T11" fmla="*/ 14 h 65"/>
                <a:gd name="T12" fmla="*/ 0 w 98"/>
                <a:gd name="T13" fmla="*/ 49 h 65"/>
                <a:gd name="T14" fmla="*/ 3 w 98"/>
                <a:gd name="T15" fmla="*/ 55 h 65"/>
                <a:gd name="T16" fmla="*/ 46 w 98"/>
                <a:gd name="T17" fmla="*/ 64 h 65"/>
                <a:gd name="T18" fmla="*/ 93 w 98"/>
                <a:gd name="T19" fmla="*/ 56 h 65"/>
                <a:gd name="T20" fmla="*/ 96 w 98"/>
                <a:gd name="T21" fmla="*/ 53 h 65"/>
                <a:gd name="T22" fmla="*/ 90 w 98"/>
                <a:gd name="T23" fmla="*/ 1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65">
                  <a:moveTo>
                    <a:pt x="90" y="16"/>
                  </a:moveTo>
                  <a:cubicBezTo>
                    <a:pt x="87" y="10"/>
                    <a:pt x="71" y="5"/>
                    <a:pt x="71" y="5"/>
                  </a:cubicBezTo>
                  <a:cubicBezTo>
                    <a:pt x="63" y="2"/>
                    <a:pt x="63" y="0"/>
                    <a:pt x="63" y="0"/>
                  </a:cubicBezTo>
                  <a:cubicBezTo>
                    <a:pt x="46" y="32"/>
                    <a:pt x="34" y="0"/>
                    <a:pt x="34" y="0"/>
                  </a:cubicBezTo>
                  <a:cubicBezTo>
                    <a:pt x="33" y="4"/>
                    <a:pt x="16" y="9"/>
                    <a:pt x="16" y="9"/>
                  </a:cubicBezTo>
                  <a:cubicBezTo>
                    <a:pt x="11" y="11"/>
                    <a:pt x="9" y="14"/>
                    <a:pt x="9" y="14"/>
                  </a:cubicBezTo>
                  <a:cubicBezTo>
                    <a:pt x="1" y="25"/>
                    <a:pt x="0" y="49"/>
                    <a:pt x="0" y="49"/>
                  </a:cubicBezTo>
                  <a:cubicBezTo>
                    <a:pt x="1" y="55"/>
                    <a:pt x="3" y="55"/>
                    <a:pt x="3" y="55"/>
                  </a:cubicBezTo>
                  <a:cubicBezTo>
                    <a:pt x="20" y="63"/>
                    <a:pt x="46" y="64"/>
                    <a:pt x="46" y="64"/>
                  </a:cubicBezTo>
                  <a:cubicBezTo>
                    <a:pt x="73" y="65"/>
                    <a:pt x="93" y="56"/>
                    <a:pt x="93" y="56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8" y="36"/>
                    <a:pt x="90" y="16"/>
                    <a:pt x="9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1889"/>
            <p:cNvSpPr>
              <a:spLocks noEditPoints="1"/>
            </p:cNvSpPr>
            <p:nvPr/>
          </p:nvSpPr>
          <p:spPr bwMode="auto">
            <a:xfrm>
              <a:off x="1065943" y="2993652"/>
              <a:ext cx="345785" cy="472368"/>
            </a:xfrm>
            <a:custGeom>
              <a:avLst/>
              <a:gdLst>
                <a:gd name="T0" fmla="*/ 43 w 47"/>
                <a:gd name="T1" fmla="*/ 34 h 65"/>
                <a:gd name="T2" fmla="*/ 41 w 47"/>
                <a:gd name="T3" fmla="*/ 13 h 65"/>
                <a:gd name="T4" fmla="*/ 31 w 47"/>
                <a:gd name="T5" fmla="*/ 8 h 65"/>
                <a:gd name="T6" fmla="*/ 28 w 47"/>
                <a:gd name="T7" fmla="*/ 7 h 65"/>
                <a:gd name="T8" fmla="*/ 24 w 47"/>
                <a:gd name="T9" fmla="*/ 1 h 65"/>
                <a:gd name="T10" fmla="*/ 22 w 47"/>
                <a:gd name="T11" fmla="*/ 3 h 65"/>
                <a:gd name="T12" fmla="*/ 24 w 47"/>
                <a:gd name="T13" fmla="*/ 0 h 65"/>
                <a:gd name="T14" fmla="*/ 22 w 47"/>
                <a:gd name="T15" fmla="*/ 2 h 65"/>
                <a:gd name="T16" fmla="*/ 19 w 47"/>
                <a:gd name="T17" fmla="*/ 6 h 65"/>
                <a:gd name="T18" fmla="*/ 19 w 47"/>
                <a:gd name="T19" fmla="*/ 5 h 65"/>
                <a:gd name="T20" fmla="*/ 18 w 47"/>
                <a:gd name="T21" fmla="*/ 5 h 65"/>
                <a:gd name="T22" fmla="*/ 15 w 47"/>
                <a:gd name="T23" fmla="*/ 5 h 65"/>
                <a:gd name="T24" fmla="*/ 2 w 47"/>
                <a:gd name="T25" fmla="*/ 18 h 65"/>
                <a:gd name="T26" fmla="*/ 3 w 47"/>
                <a:gd name="T27" fmla="*/ 34 h 65"/>
                <a:gd name="T28" fmla="*/ 2 w 47"/>
                <a:gd name="T29" fmla="*/ 40 h 65"/>
                <a:gd name="T30" fmla="*/ 4 w 47"/>
                <a:gd name="T31" fmla="*/ 43 h 65"/>
                <a:gd name="T32" fmla="*/ 22 w 47"/>
                <a:gd name="T33" fmla="*/ 65 h 65"/>
                <a:gd name="T34" fmla="*/ 42 w 47"/>
                <a:gd name="T35" fmla="*/ 43 h 65"/>
                <a:gd name="T36" fmla="*/ 43 w 47"/>
                <a:gd name="T37" fmla="*/ 40 h 65"/>
                <a:gd name="T38" fmla="*/ 43 w 47"/>
                <a:gd name="T39" fmla="*/ 34 h 65"/>
                <a:gd name="T40" fmla="*/ 20 w 47"/>
                <a:gd name="T41" fmla="*/ 5 h 65"/>
                <a:gd name="T42" fmla="*/ 20 w 47"/>
                <a:gd name="T43" fmla="*/ 5 h 65"/>
                <a:gd name="T44" fmla="*/ 22 w 47"/>
                <a:gd name="T45" fmla="*/ 2 h 65"/>
                <a:gd name="T46" fmla="*/ 20 w 47"/>
                <a:gd name="T47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65">
                  <a:moveTo>
                    <a:pt x="43" y="34"/>
                  </a:moveTo>
                  <a:cubicBezTo>
                    <a:pt x="44" y="31"/>
                    <a:pt x="47" y="20"/>
                    <a:pt x="41" y="13"/>
                  </a:cubicBezTo>
                  <a:cubicBezTo>
                    <a:pt x="41" y="13"/>
                    <a:pt x="38" y="10"/>
                    <a:pt x="31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6"/>
                    <a:pt x="24" y="3"/>
                    <a:pt x="24" y="1"/>
                  </a:cubicBezTo>
                  <a:cubicBezTo>
                    <a:pt x="24" y="1"/>
                    <a:pt x="23" y="2"/>
                    <a:pt x="22" y="3"/>
                  </a:cubicBezTo>
                  <a:cubicBezTo>
                    <a:pt x="22" y="2"/>
                    <a:pt x="23" y="1"/>
                    <a:pt x="24" y="0"/>
                  </a:cubicBezTo>
                  <a:cubicBezTo>
                    <a:pt x="24" y="0"/>
                    <a:pt x="23" y="1"/>
                    <a:pt x="22" y="2"/>
                  </a:cubicBezTo>
                  <a:cubicBezTo>
                    <a:pt x="21" y="2"/>
                    <a:pt x="19" y="3"/>
                    <a:pt x="19" y="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7" y="5"/>
                    <a:pt x="15" y="5"/>
                    <a:pt x="15" y="5"/>
                  </a:cubicBezTo>
                  <a:cubicBezTo>
                    <a:pt x="15" y="5"/>
                    <a:pt x="5" y="9"/>
                    <a:pt x="2" y="18"/>
                  </a:cubicBezTo>
                  <a:cubicBezTo>
                    <a:pt x="2" y="18"/>
                    <a:pt x="1" y="22"/>
                    <a:pt x="3" y="34"/>
                  </a:cubicBezTo>
                  <a:cubicBezTo>
                    <a:pt x="0" y="32"/>
                    <a:pt x="2" y="40"/>
                    <a:pt x="2" y="40"/>
                  </a:cubicBezTo>
                  <a:cubicBezTo>
                    <a:pt x="2" y="42"/>
                    <a:pt x="3" y="43"/>
                    <a:pt x="4" y="43"/>
                  </a:cubicBezTo>
                  <a:cubicBezTo>
                    <a:pt x="5" y="54"/>
                    <a:pt x="14" y="65"/>
                    <a:pt x="22" y="65"/>
                  </a:cubicBezTo>
                  <a:cubicBezTo>
                    <a:pt x="31" y="65"/>
                    <a:pt x="40" y="53"/>
                    <a:pt x="42" y="43"/>
                  </a:cubicBezTo>
                  <a:cubicBezTo>
                    <a:pt x="42" y="43"/>
                    <a:pt x="43" y="42"/>
                    <a:pt x="43" y="40"/>
                  </a:cubicBezTo>
                  <a:cubicBezTo>
                    <a:pt x="43" y="40"/>
                    <a:pt x="45" y="33"/>
                    <a:pt x="43" y="34"/>
                  </a:cubicBezTo>
                  <a:close/>
                  <a:moveTo>
                    <a:pt x="20" y="5"/>
                  </a:move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1" y="3"/>
                    <a:pt x="22" y="2"/>
                  </a:cubicBezTo>
                  <a:cubicBezTo>
                    <a:pt x="21" y="3"/>
                    <a:pt x="21" y="4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4" name="文本框 93"/>
          <p:cNvSpPr txBox="1"/>
          <p:nvPr/>
        </p:nvSpPr>
        <p:spPr>
          <a:xfrm>
            <a:off x="9212576" y="3079526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rgbClr val="A2B932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老师</a:t>
            </a:r>
          </a:p>
        </p:txBody>
      </p:sp>
      <p:sp>
        <p:nvSpPr>
          <p:cNvPr id="95" name="文本框 94"/>
          <p:cNvSpPr txBox="1"/>
          <p:nvPr/>
        </p:nvSpPr>
        <p:spPr>
          <a:xfrm>
            <a:off x="9219997" y="5281805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rgbClr val="A2B932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家长</a:t>
            </a:r>
          </a:p>
        </p:txBody>
      </p:sp>
      <p:grpSp>
        <p:nvGrpSpPr>
          <p:cNvPr id="116" name="组合 115"/>
          <p:cNvGrpSpPr/>
          <p:nvPr/>
        </p:nvGrpSpPr>
        <p:grpSpPr>
          <a:xfrm>
            <a:off x="9972027" y="4857868"/>
            <a:ext cx="1053926" cy="493047"/>
            <a:chOff x="1377950" y="2679700"/>
            <a:chExt cx="3048000" cy="1160463"/>
          </a:xfrm>
        </p:grpSpPr>
        <p:sp>
          <p:nvSpPr>
            <p:cNvPr id="96" name="直接连接符 2"/>
            <p:cNvSpPr>
              <a:spLocks noChangeShapeType="1"/>
            </p:cNvSpPr>
            <p:nvPr/>
          </p:nvSpPr>
          <p:spPr bwMode="auto">
            <a:xfrm>
              <a:off x="172243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7" name="直接连接符 62"/>
            <p:cNvSpPr>
              <a:spLocks noChangeShapeType="1"/>
            </p:cNvSpPr>
            <p:nvPr/>
          </p:nvSpPr>
          <p:spPr bwMode="auto">
            <a:xfrm>
              <a:off x="198278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8" name="直接连接符 63"/>
            <p:cNvSpPr>
              <a:spLocks noChangeShapeType="1"/>
            </p:cNvSpPr>
            <p:nvPr/>
          </p:nvSpPr>
          <p:spPr bwMode="auto">
            <a:xfrm>
              <a:off x="224948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9" name="直接连接符 64"/>
            <p:cNvSpPr>
              <a:spLocks noChangeShapeType="1"/>
            </p:cNvSpPr>
            <p:nvPr/>
          </p:nvSpPr>
          <p:spPr bwMode="auto">
            <a:xfrm>
              <a:off x="251618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0" name="直接连接符 65"/>
            <p:cNvSpPr>
              <a:spLocks noChangeShapeType="1"/>
            </p:cNvSpPr>
            <p:nvPr/>
          </p:nvSpPr>
          <p:spPr bwMode="auto">
            <a:xfrm>
              <a:off x="278288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1" name="直接连接符 66"/>
            <p:cNvSpPr>
              <a:spLocks noChangeShapeType="1"/>
            </p:cNvSpPr>
            <p:nvPr/>
          </p:nvSpPr>
          <p:spPr bwMode="auto">
            <a:xfrm>
              <a:off x="305593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2" name="直接连接符 67"/>
            <p:cNvSpPr>
              <a:spLocks noChangeShapeType="1"/>
            </p:cNvSpPr>
            <p:nvPr/>
          </p:nvSpPr>
          <p:spPr bwMode="auto">
            <a:xfrm>
              <a:off x="332898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3" name="直接连接符 68"/>
            <p:cNvSpPr>
              <a:spLocks noChangeShapeType="1"/>
            </p:cNvSpPr>
            <p:nvPr/>
          </p:nvSpPr>
          <p:spPr bwMode="auto">
            <a:xfrm>
              <a:off x="359568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4" name="直接连接符 69"/>
            <p:cNvSpPr>
              <a:spLocks noChangeShapeType="1"/>
            </p:cNvSpPr>
            <p:nvPr/>
          </p:nvSpPr>
          <p:spPr bwMode="auto">
            <a:xfrm>
              <a:off x="386873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5" name="直接连接符 70"/>
            <p:cNvSpPr>
              <a:spLocks noChangeShapeType="1"/>
            </p:cNvSpPr>
            <p:nvPr/>
          </p:nvSpPr>
          <p:spPr bwMode="auto">
            <a:xfrm>
              <a:off x="413543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6" name="直接连接符 71"/>
            <p:cNvSpPr>
              <a:spLocks noChangeShapeType="1"/>
            </p:cNvSpPr>
            <p:nvPr/>
          </p:nvSpPr>
          <p:spPr bwMode="auto">
            <a:xfrm>
              <a:off x="440848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7" name="Freeform 933"/>
            <p:cNvSpPr>
              <a:spLocks noChangeArrowheads="1"/>
            </p:cNvSpPr>
            <p:nvPr/>
          </p:nvSpPr>
          <p:spPr bwMode="auto">
            <a:xfrm>
              <a:off x="1436688" y="3227388"/>
              <a:ext cx="2976562" cy="612775"/>
            </a:xfrm>
            <a:custGeom>
              <a:avLst/>
              <a:gdLst>
                <a:gd name="T0" fmla="*/ 2147483646 w 434"/>
                <a:gd name="T1" fmla="*/ 2147483646 h 89"/>
                <a:gd name="T2" fmla="*/ 2147483646 w 434"/>
                <a:gd name="T3" fmla="*/ 2147483646 h 89"/>
                <a:gd name="T4" fmla="*/ 2147483646 w 434"/>
                <a:gd name="T5" fmla="*/ 2147483646 h 89"/>
                <a:gd name="T6" fmla="*/ 2147483646 w 434"/>
                <a:gd name="T7" fmla="*/ 2147483646 h 89"/>
                <a:gd name="T8" fmla="*/ 2147483646 w 434"/>
                <a:gd name="T9" fmla="*/ 2147483646 h 89"/>
                <a:gd name="T10" fmla="*/ 2147483646 w 434"/>
                <a:gd name="T11" fmla="*/ 2147483646 h 89"/>
                <a:gd name="T12" fmla="*/ 2147483646 w 434"/>
                <a:gd name="T13" fmla="*/ 2147483646 h 89"/>
                <a:gd name="T14" fmla="*/ 2147483646 w 434"/>
                <a:gd name="T15" fmla="*/ 2147483646 h 89"/>
                <a:gd name="T16" fmla="*/ 2147483646 w 434"/>
                <a:gd name="T17" fmla="*/ 2147483646 h 89"/>
                <a:gd name="T18" fmla="*/ 2147483646 w 434"/>
                <a:gd name="T19" fmla="*/ 2147483646 h 89"/>
                <a:gd name="T20" fmla="*/ 2147483646 w 434"/>
                <a:gd name="T21" fmla="*/ 2147483646 h 89"/>
                <a:gd name="T22" fmla="*/ 2147483646 w 434"/>
                <a:gd name="T23" fmla="*/ 2147483646 h 89"/>
                <a:gd name="T24" fmla="*/ 2147483646 w 434"/>
                <a:gd name="T25" fmla="*/ 2147483646 h 89"/>
                <a:gd name="T26" fmla="*/ 2147483646 w 434"/>
                <a:gd name="T27" fmla="*/ 2147483646 h 89"/>
                <a:gd name="T28" fmla="*/ 2147483646 w 434"/>
                <a:gd name="T29" fmla="*/ 2147483646 h 89"/>
                <a:gd name="T30" fmla="*/ 2147483646 w 434"/>
                <a:gd name="T31" fmla="*/ 2147483646 h 89"/>
                <a:gd name="T32" fmla="*/ 2147483646 w 434"/>
                <a:gd name="T33" fmla="*/ 2147483646 h 89"/>
                <a:gd name="T34" fmla="*/ 1317066959 w 434"/>
                <a:gd name="T35" fmla="*/ 2147483646 h 89"/>
                <a:gd name="T36" fmla="*/ 2147483646 w 434"/>
                <a:gd name="T37" fmla="*/ 2147483646 h 89"/>
                <a:gd name="T38" fmla="*/ 2147483646 w 434"/>
                <a:gd name="T39" fmla="*/ 2147483646 h 89"/>
                <a:gd name="T40" fmla="*/ 2147483646 w 434"/>
                <a:gd name="T41" fmla="*/ 2147483646 h 89"/>
                <a:gd name="T42" fmla="*/ 2147483646 w 434"/>
                <a:gd name="T43" fmla="*/ 2147483646 h 89"/>
                <a:gd name="T44" fmla="*/ 2147483646 w 434"/>
                <a:gd name="T45" fmla="*/ 2147483646 h 89"/>
                <a:gd name="T46" fmla="*/ 2147483646 w 434"/>
                <a:gd name="T47" fmla="*/ 2147483646 h 89"/>
                <a:gd name="T48" fmla="*/ 2147483646 w 434"/>
                <a:gd name="T49" fmla="*/ 2147483646 h 89"/>
                <a:gd name="T50" fmla="*/ 2147483646 w 434"/>
                <a:gd name="T51" fmla="*/ 2147483646 h 89"/>
                <a:gd name="T52" fmla="*/ 2147483646 w 434"/>
                <a:gd name="T53" fmla="*/ 2147483646 h 89"/>
                <a:gd name="T54" fmla="*/ 2147483646 w 434"/>
                <a:gd name="T55" fmla="*/ 2147483646 h 89"/>
                <a:gd name="T56" fmla="*/ 2147483646 w 434"/>
                <a:gd name="T57" fmla="*/ 2147483646 h 89"/>
                <a:gd name="T58" fmla="*/ 2147483646 w 434"/>
                <a:gd name="T59" fmla="*/ 2147483646 h 89"/>
                <a:gd name="T60" fmla="*/ 2147483646 w 434"/>
                <a:gd name="T61" fmla="*/ 2147483646 h 89"/>
                <a:gd name="T62" fmla="*/ 2147483646 w 434"/>
                <a:gd name="T63" fmla="*/ 2147483646 h 89"/>
                <a:gd name="T64" fmla="*/ 2147483646 w 434"/>
                <a:gd name="T65" fmla="*/ 2147483646 h 89"/>
                <a:gd name="T66" fmla="*/ 2147483646 w 434"/>
                <a:gd name="T67" fmla="*/ 2147483646 h 89"/>
                <a:gd name="T68" fmla="*/ 2147483646 w 434"/>
                <a:gd name="T69" fmla="*/ 2147483646 h 89"/>
                <a:gd name="T70" fmla="*/ 2147483646 w 434"/>
                <a:gd name="T71" fmla="*/ 2147483646 h 89"/>
                <a:gd name="T72" fmla="*/ 2147483646 w 434"/>
                <a:gd name="T73" fmla="*/ 2147483646 h 89"/>
                <a:gd name="T74" fmla="*/ 2147483646 w 434"/>
                <a:gd name="T75" fmla="*/ 2147483646 h 89"/>
                <a:gd name="T76" fmla="*/ 2147483646 w 434"/>
                <a:gd name="T77" fmla="*/ 2147483646 h 89"/>
                <a:gd name="T78" fmla="*/ 2147483646 w 434"/>
                <a:gd name="T79" fmla="*/ 2147483646 h 8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34"/>
                <a:gd name="T121" fmla="*/ 0 h 89"/>
                <a:gd name="T122" fmla="*/ 434 w 434"/>
                <a:gd name="T123" fmla="*/ 89 h 8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34" h="89">
                  <a:moveTo>
                    <a:pt x="397" y="68"/>
                  </a:moveTo>
                  <a:cubicBezTo>
                    <a:pt x="397" y="66"/>
                    <a:pt x="396" y="64"/>
                    <a:pt x="394" y="64"/>
                  </a:cubicBezTo>
                  <a:cubicBezTo>
                    <a:pt x="393" y="64"/>
                    <a:pt x="392" y="65"/>
                    <a:pt x="391" y="66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58" y="55"/>
                    <a:pt x="356" y="54"/>
                    <a:pt x="354" y="54"/>
                  </a:cubicBezTo>
                  <a:cubicBezTo>
                    <a:pt x="353" y="54"/>
                    <a:pt x="352" y="54"/>
                    <a:pt x="352" y="55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7" y="44"/>
                    <a:pt x="315" y="44"/>
                  </a:cubicBezTo>
                  <a:cubicBezTo>
                    <a:pt x="315" y="44"/>
                    <a:pt x="314" y="45"/>
                    <a:pt x="313" y="45"/>
                  </a:cubicBezTo>
                  <a:cubicBezTo>
                    <a:pt x="279" y="12"/>
                    <a:pt x="279" y="12"/>
                    <a:pt x="279" y="12"/>
                  </a:cubicBezTo>
                  <a:cubicBezTo>
                    <a:pt x="279" y="12"/>
                    <a:pt x="280" y="12"/>
                    <a:pt x="280" y="11"/>
                  </a:cubicBezTo>
                  <a:cubicBezTo>
                    <a:pt x="280" y="9"/>
                    <a:pt x="278" y="8"/>
                    <a:pt x="276" y="8"/>
                  </a:cubicBezTo>
                  <a:cubicBezTo>
                    <a:pt x="275" y="8"/>
                    <a:pt x="274" y="8"/>
                    <a:pt x="273" y="9"/>
                  </a:cubicBezTo>
                  <a:cubicBezTo>
                    <a:pt x="240" y="3"/>
                    <a:pt x="240" y="3"/>
                    <a:pt x="240" y="3"/>
                  </a:cubicBezTo>
                  <a:cubicBezTo>
                    <a:pt x="240" y="1"/>
                    <a:pt x="239" y="0"/>
                    <a:pt x="237" y="0"/>
                  </a:cubicBezTo>
                  <a:cubicBezTo>
                    <a:pt x="235" y="0"/>
                    <a:pt x="233" y="1"/>
                    <a:pt x="233" y="3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00" y="24"/>
                    <a:pt x="200" y="24"/>
                    <a:pt x="200" y="24"/>
                  </a:cubicBezTo>
                  <a:cubicBezTo>
                    <a:pt x="199" y="23"/>
                    <a:pt x="198" y="23"/>
                    <a:pt x="198" y="23"/>
                  </a:cubicBezTo>
                  <a:cubicBezTo>
                    <a:pt x="196" y="23"/>
                    <a:pt x="195" y="23"/>
                    <a:pt x="194" y="25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18"/>
                    <a:pt x="160" y="17"/>
                    <a:pt x="158" y="17"/>
                  </a:cubicBezTo>
                  <a:cubicBezTo>
                    <a:pt x="157" y="17"/>
                    <a:pt x="156" y="18"/>
                    <a:pt x="155" y="19"/>
                  </a:cubicBezTo>
                  <a:cubicBezTo>
                    <a:pt x="122" y="26"/>
                    <a:pt x="122" y="26"/>
                    <a:pt x="122" y="26"/>
                  </a:cubicBezTo>
                  <a:cubicBezTo>
                    <a:pt x="122" y="25"/>
                    <a:pt x="120" y="24"/>
                    <a:pt x="119" y="24"/>
                  </a:cubicBezTo>
                  <a:cubicBezTo>
                    <a:pt x="117" y="24"/>
                    <a:pt x="116" y="25"/>
                    <a:pt x="116" y="27"/>
                  </a:cubicBezTo>
                  <a:cubicBezTo>
                    <a:pt x="83" y="37"/>
                    <a:pt x="83" y="37"/>
                    <a:pt x="83" y="37"/>
                  </a:cubicBezTo>
                  <a:cubicBezTo>
                    <a:pt x="82" y="36"/>
                    <a:pt x="81" y="35"/>
                    <a:pt x="80" y="35"/>
                  </a:cubicBezTo>
                  <a:cubicBezTo>
                    <a:pt x="78" y="35"/>
                    <a:pt x="76" y="37"/>
                    <a:pt x="76" y="39"/>
                  </a:cubicBezTo>
                  <a:cubicBezTo>
                    <a:pt x="76" y="39"/>
                    <a:pt x="76" y="39"/>
                    <a:pt x="77" y="40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1" y="64"/>
                    <a:pt x="41" y="64"/>
                  </a:cubicBezTo>
                  <a:cubicBezTo>
                    <a:pt x="39" y="64"/>
                    <a:pt x="37" y="65"/>
                    <a:pt x="37" y="67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9" y="70"/>
                    <a:pt x="40" y="71"/>
                    <a:pt x="41" y="71"/>
                  </a:cubicBezTo>
                  <a:cubicBezTo>
                    <a:pt x="43" y="71"/>
                    <a:pt x="44" y="69"/>
                    <a:pt x="44" y="67"/>
                  </a:cubicBezTo>
                  <a:cubicBezTo>
                    <a:pt x="44" y="67"/>
                    <a:pt x="44" y="66"/>
                    <a:pt x="44" y="66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2"/>
                    <a:pt x="79" y="42"/>
                    <a:pt x="80" y="42"/>
                  </a:cubicBezTo>
                  <a:cubicBezTo>
                    <a:pt x="82" y="42"/>
                    <a:pt x="83" y="41"/>
                    <a:pt x="83" y="39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7" y="30"/>
                    <a:pt x="118" y="31"/>
                    <a:pt x="119" y="31"/>
                  </a:cubicBezTo>
                  <a:cubicBezTo>
                    <a:pt x="121" y="31"/>
                    <a:pt x="122" y="30"/>
                    <a:pt x="123" y="28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5" y="23"/>
                    <a:pt x="157" y="24"/>
                    <a:pt x="158" y="24"/>
                  </a:cubicBezTo>
                  <a:cubicBezTo>
                    <a:pt x="160" y="24"/>
                    <a:pt x="161" y="23"/>
                    <a:pt x="162" y="21"/>
                  </a:cubicBezTo>
                  <a:cubicBezTo>
                    <a:pt x="194" y="27"/>
                    <a:pt x="194" y="27"/>
                    <a:pt x="194" y="27"/>
                  </a:cubicBezTo>
                  <a:cubicBezTo>
                    <a:pt x="194" y="28"/>
                    <a:pt x="196" y="30"/>
                    <a:pt x="198" y="30"/>
                  </a:cubicBezTo>
                  <a:cubicBezTo>
                    <a:pt x="199" y="30"/>
                    <a:pt x="201" y="28"/>
                    <a:pt x="201" y="26"/>
                  </a:cubicBezTo>
                  <a:cubicBezTo>
                    <a:pt x="201" y="26"/>
                    <a:pt x="201" y="26"/>
                    <a:pt x="201" y="26"/>
                  </a:cubicBezTo>
                  <a:cubicBezTo>
                    <a:pt x="234" y="6"/>
                    <a:pt x="234" y="6"/>
                    <a:pt x="234" y="6"/>
                  </a:cubicBezTo>
                  <a:cubicBezTo>
                    <a:pt x="235" y="7"/>
                    <a:pt x="236" y="7"/>
                    <a:pt x="237" y="7"/>
                  </a:cubicBezTo>
                  <a:cubicBezTo>
                    <a:pt x="238" y="7"/>
                    <a:pt x="239" y="6"/>
                    <a:pt x="240" y="5"/>
                  </a:cubicBezTo>
                  <a:cubicBezTo>
                    <a:pt x="273" y="11"/>
                    <a:pt x="273" y="11"/>
                    <a:pt x="273" y="11"/>
                  </a:cubicBezTo>
                  <a:cubicBezTo>
                    <a:pt x="273" y="11"/>
                    <a:pt x="273" y="11"/>
                    <a:pt x="273" y="11"/>
                  </a:cubicBezTo>
                  <a:cubicBezTo>
                    <a:pt x="273" y="13"/>
                    <a:pt x="274" y="15"/>
                    <a:pt x="276" y="15"/>
                  </a:cubicBezTo>
                  <a:cubicBezTo>
                    <a:pt x="277" y="15"/>
                    <a:pt x="277" y="15"/>
                    <a:pt x="278" y="14"/>
                  </a:cubicBezTo>
                  <a:cubicBezTo>
                    <a:pt x="312" y="47"/>
                    <a:pt x="312" y="47"/>
                    <a:pt x="312" y="47"/>
                  </a:cubicBezTo>
                  <a:cubicBezTo>
                    <a:pt x="312" y="47"/>
                    <a:pt x="312" y="47"/>
                    <a:pt x="312" y="48"/>
                  </a:cubicBezTo>
                  <a:cubicBezTo>
                    <a:pt x="312" y="50"/>
                    <a:pt x="313" y="51"/>
                    <a:pt x="315" y="51"/>
                  </a:cubicBezTo>
                  <a:cubicBezTo>
                    <a:pt x="316" y="51"/>
                    <a:pt x="317" y="51"/>
                    <a:pt x="318" y="50"/>
                  </a:cubicBezTo>
                  <a:cubicBezTo>
                    <a:pt x="351" y="57"/>
                    <a:pt x="351" y="57"/>
                    <a:pt x="351" y="57"/>
                  </a:cubicBezTo>
                  <a:cubicBezTo>
                    <a:pt x="351" y="57"/>
                    <a:pt x="351" y="57"/>
                    <a:pt x="351" y="57"/>
                  </a:cubicBezTo>
                  <a:cubicBezTo>
                    <a:pt x="351" y="59"/>
                    <a:pt x="353" y="61"/>
                    <a:pt x="354" y="61"/>
                  </a:cubicBezTo>
                  <a:cubicBezTo>
                    <a:pt x="356" y="61"/>
                    <a:pt x="357" y="60"/>
                    <a:pt x="358" y="59"/>
                  </a:cubicBezTo>
                  <a:cubicBezTo>
                    <a:pt x="390" y="68"/>
                    <a:pt x="390" y="68"/>
                    <a:pt x="390" y="68"/>
                  </a:cubicBezTo>
                  <a:cubicBezTo>
                    <a:pt x="390" y="70"/>
                    <a:pt x="392" y="71"/>
                    <a:pt x="394" y="71"/>
                  </a:cubicBezTo>
                  <a:cubicBezTo>
                    <a:pt x="395" y="71"/>
                    <a:pt x="396" y="71"/>
                    <a:pt x="396" y="70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2" y="89"/>
                    <a:pt x="432" y="89"/>
                    <a:pt x="432" y="89"/>
                  </a:cubicBezTo>
                  <a:cubicBezTo>
                    <a:pt x="434" y="89"/>
                    <a:pt x="434" y="89"/>
                    <a:pt x="434" y="89"/>
                  </a:cubicBezTo>
                  <a:cubicBezTo>
                    <a:pt x="434" y="85"/>
                    <a:pt x="434" y="85"/>
                    <a:pt x="434" y="85"/>
                  </a:cubicBezTo>
                  <a:cubicBezTo>
                    <a:pt x="397" y="68"/>
                    <a:pt x="397" y="68"/>
                    <a:pt x="397" y="68"/>
                  </a:cubicBezTo>
                  <a:cubicBezTo>
                    <a:pt x="397" y="68"/>
                    <a:pt x="397" y="68"/>
                    <a:pt x="397" y="68"/>
                  </a:cubicBezTo>
                  <a:close/>
                </a:path>
              </a:pathLst>
            </a:custGeom>
            <a:solidFill>
              <a:srgbClr val="A2B932"/>
            </a:solidFill>
            <a:ln w="9525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8" name="Freeform 935"/>
            <p:cNvSpPr>
              <a:spLocks noChangeArrowheads="1"/>
            </p:cNvSpPr>
            <p:nvPr/>
          </p:nvSpPr>
          <p:spPr bwMode="auto">
            <a:xfrm>
              <a:off x="1443038" y="2905125"/>
              <a:ext cx="2982912" cy="935038"/>
            </a:xfrm>
            <a:custGeom>
              <a:avLst/>
              <a:gdLst>
                <a:gd name="T0" fmla="*/ 2147483646 w 435"/>
                <a:gd name="T1" fmla="*/ 2147483646 h 136"/>
                <a:gd name="T2" fmla="*/ 2147483646 w 435"/>
                <a:gd name="T3" fmla="*/ 2147483646 h 136"/>
                <a:gd name="T4" fmla="*/ 2147483646 w 435"/>
                <a:gd name="T5" fmla="*/ 2147483646 h 136"/>
                <a:gd name="T6" fmla="*/ 2147483646 w 435"/>
                <a:gd name="T7" fmla="*/ 2147483646 h 136"/>
                <a:gd name="T8" fmla="*/ 2147483646 w 435"/>
                <a:gd name="T9" fmla="*/ 2147483646 h 136"/>
                <a:gd name="T10" fmla="*/ 2147483646 w 435"/>
                <a:gd name="T11" fmla="*/ 2147483646 h 136"/>
                <a:gd name="T12" fmla="*/ 2147483646 w 435"/>
                <a:gd name="T13" fmla="*/ 2147483646 h 136"/>
                <a:gd name="T14" fmla="*/ 2147483646 w 435"/>
                <a:gd name="T15" fmla="*/ 2147483646 h 136"/>
                <a:gd name="T16" fmla="*/ 2147483646 w 435"/>
                <a:gd name="T17" fmla="*/ 2147483646 h 136"/>
                <a:gd name="T18" fmla="*/ 2147483646 w 435"/>
                <a:gd name="T19" fmla="*/ 2147483646 h 136"/>
                <a:gd name="T20" fmla="*/ 2147483646 w 435"/>
                <a:gd name="T21" fmla="*/ 0 h 136"/>
                <a:gd name="T22" fmla="*/ 2147483646 w 435"/>
                <a:gd name="T23" fmla="*/ 2147483646 h 136"/>
                <a:gd name="T24" fmla="*/ 2147483646 w 435"/>
                <a:gd name="T25" fmla="*/ 2147483646 h 136"/>
                <a:gd name="T26" fmla="*/ 2147483646 w 435"/>
                <a:gd name="T27" fmla="*/ 2147483646 h 136"/>
                <a:gd name="T28" fmla="*/ 2147483646 w 435"/>
                <a:gd name="T29" fmla="*/ 2147483646 h 136"/>
                <a:gd name="T30" fmla="*/ 2147483646 w 435"/>
                <a:gd name="T31" fmla="*/ 2147483646 h 136"/>
                <a:gd name="T32" fmla="*/ 2147483646 w 435"/>
                <a:gd name="T33" fmla="*/ 2147483646 h 136"/>
                <a:gd name="T34" fmla="*/ 2147483646 w 435"/>
                <a:gd name="T35" fmla="*/ 2147483646 h 136"/>
                <a:gd name="T36" fmla="*/ 2147483646 w 435"/>
                <a:gd name="T37" fmla="*/ 2147483646 h 136"/>
                <a:gd name="T38" fmla="*/ 0 w 435"/>
                <a:gd name="T39" fmla="*/ 2147483646 h 136"/>
                <a:gd name="T40" fmla="*/ 0 w 435"/>
                <a:gd name="T41" fmla="*/ 2147483646 h 136"/>
                <a:gd name="T42" fmla="*/ 2147483646 w 435"/>
                <a:gd name="T43" fmla="*/ 2147483646 h 136"/>
                <a:gd name="T44" fmla="*/ 2147483646 w 435"/>
                <a:gd name="T45" fmla="*/ 2147483646 h 136"/>
                <a:gd name="T46" fmla="*/ 2147483646 w 435"/>
                <a:gd name="T47" fmla="*/ 2147483646 h 136"/>
                <a:gd name="T48" fmla="*/ 2147483646 w 435"/>
                <a:gd name="T49" fmla="*/ 2147483646 h 136"/>
                <a:gd name="T50" fmla="*/ 2147483646 w 435"/>
                <a:gd name="T51" fmla="*/ 2147483646 h 136"/>
                <a:gd name="T52" fmla="*/ 2147483646 w 435"/>
                <a:gd name="T53" fmla="*/ 2147483646 h 136"/>
                <a:gd name="T54" fmla="*/ 2147483646 w 435"/>
                <a:gd name="T55" fmla="*/ 2147483646 h 136"/>
                <a:gd name="T56" fmla="*/ 2147483646 w 435"/>
                <a:gd name="T57" fmla="*/ 2147483646 h 136"/>
                <a:gd name="T58" fmla="*/ 2147483646 w 435"/>
                <a:gd name="T59" fmla="*/ 2147483646 h 136"/>
                <a:gd name="T60" fmla="*/ 2147483646 w 435"/>
                <a:gd name="T61" fmla="*/ 2147483646 h 136"/>
                <a:gd name="T62" fmla="*/ 2147483646 w 435"/>
                <a:gd name="T63" fmla="*/ 2147483646 h 136"/>
                <a:gd name="T64" fmla="*/ 2147483646 w 435"/>
                <a:gd name="T65" fmla="*/ 2147483646 h 136"/>
                <a:gd name="T66" fmla="*/ 2147483646 w 435"/>
                <a:gd name="T67" fmla="*/ 2147483646 h 136"/>
                <a:gd name="T68" fmla="*/ 2147483646 w 435"/>
                <a:gd name="T69" fmla="*/ 2147483646 h 136"/>
                <a:gd name="T70" fmla="*/ 2147483646 w 435"/>
                <a:gd name="T71" fmla="*/ 2147483646 h 136"/>
                <a:gd name="T72" fmla="*/ 2147483646 w 435"/>
                <a:gd name="T73" fmla="*/ 2147483646 h 136"/>
                <a:gd name="T74" fmla="*/ 2147483646 w 435"/>
                <a:gd name="T75" fmla="*/ 2147483646 h 136"/>
                <a:gd name="T76" fmla="*/ 2147483646 w 435"/>
                <a:gd name="T77" fmla="*/ 2147483646 h 136"/>
                <a:gd name="T78" fmla="*/ 2147483646 w 435"/>
                <a:gd name="T79" fmla="*/ 2147483646 h 136"/>
                <a:gd name="T80" fmla="*/ 2147483646 w 435"/>
                <a:gd name="T81" fmla="*/ 2147483646 h 136"/>
                <a:gd name="T82" fmla="*/ 2147483646 w 435"/>
                <a:gd name="T83" fmla="*/ 2147483646 h 136"/>
                <a:gd name="T84" fmla="*/ 2147483646 w 435"/>
                <a:gd name="T85" fmla="*/ 2147483646 h 1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35"/>
                <a:gd name="T130" fmla="*/ 0 h 136"/>
                <a:gd name="T131" fmla="*/ 435 w 435"/>
                <a:gd name="T132" fmla="*/ 136 h 1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35" h="136">
                  <a:moveTo>
                    <a:pt x="432" y="49"/>
                  </a:moveTo>
                  <a:cubicBezTo>
                    <a:pt x="430" y="49"/>
                    <a:pt x="428" y="51"/>
                    <a:pt x="428" y="53"/>
                  </a:cubicBezTo>
                  <a:cubicBezTo>
                    <a:pt x="428" y="53"/>
                    <a:pt x="429" y="53"/>
                    <a:pt x="429" y="53"/>
                  </a:cubicBezTo>
                  <a:cubicBezTo>
                    <a:pt x="395" y="70"/>
                    <a:pt x="395" y="70"/>
                    <a:pt x="395" y="70"/>
                  </a:cubicBezTo>
                  <a:cubicBezTo>
                    <a:pt x="394" y="69"/>
                    <a:pt x="393" y="68"/>
                    <a:pt x="392" y="68"/>
                  </a:cubicBezTo>
                  <a:cubicBezTo>
                    <a:pt x="392" y="68"/>
                    <a:pt x="391" y="68"/>
                    <a:pt x="391" y="69"/>
                  </a:cubicBezTo>
                  <a:cubicBezTo>
                    <a:pt x="357" y="31"/>
                    <a:pt x="357" y="31"/>
                    <a:pt x="357" y="31"/>
                  </a:cubicBezTo>
                  <a:cubicBezTo>
                    <a:pt x="357" y="31"/>
                    <a:pt x="357" y="30"/>
                    <a:pt x="357" y="30"/>
                  </a:cubicBezTo>
                  <a:cubicBezTo>
                    <a:pt x="357" y="28"/>
                    <a:pt x="355" y="26"/>
                    <a:pt x="353" y="26"/>
                  </a:cubicBezTo>
                  <a:cubicBezTo>
                    <a:pt x="352" y="26"/>
                    <a:pt x="351" y="27"/>
                    <a:pt x="350" y="28"/>
                  </a:cubicBezTo>
                  <a:cubicBezTo>
                    <a:pt x="318" y="28"/>
                    <a:pt x="318" y="28"/>
                    <a:pt x="318" y="28"/>
                  </a:cubicBezTo>
                  <a:cubicBezTo>
                    <a:pt x="317" y="27"/>
                    <a:pt x="316" y="26"/>
                    <a:pt x="315" y="26"/>
                  </a:cubicBezTo>
                  <a:cubicBezTo>
                    <a:pt x="314" y="26"/>
                    <a:pt x="313" y="26"/>
                    <a:pt x="312" y="27"/>
                  </a:cubicBezTo>
                  <a:cubicBezTo>
                    <a:pt x="278" y="10"/>
                    <a:pt x="278" y="10"/>
                    <a:pt x="278" y="10"/>
                  </a:cubicBezTo>
                  <a:cubicBezTo>
                    <a:pt x="278" y="9"/>
                    <a:pt x="279" y="9"/>
                    <a:pt x="279" y="9"/>
                  </a:cubicBezTo>
                  <a:cubicBezTo>
                    <a:pt x="279" y="7"/>
                    <a:pt x="277" y="5"/>
                    <a:pt x="275" y="5"/>
                  </a:cubicBezTo>
                  <a:cubicBezTo>
                    <a:pt x="273" y="5"/>
                    <a:pt x="272" y="7"/>
                    <a:pt x="272" y="9"/>
                  </a:cubicBezTo>
                  <a:cubicBezTo>
                    <a:pt x="239" y="15"/>
                    <a:pt x="239" y="15"/>
                    <a:pt x="239" y="15"/>
                  </a:cubicBezTo>
                  <a:cubicBezTo>
                    <a:pt x="239" y="14"/>
                    <a:pt x="237" y="13"/>
                    <a:pt x="236" y="13"/>
                  </a:cubicBezTo>
                  <a:cubicBezTo>
                    <a:pt x="234" y="13"/>
                    <a:pt x="233" y="14"/>
                    <a:pt x="233" y="15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200" y="2"/>
                    <a:pt x="198" y="0"/>
                    <a:pt x="197" y="0"/>
                  </a:cubicBezTo>
                  <a:cubicBezTo>
                    <a:pt x="195" y="0"/>
                    <a:pt x="193" y="2"/>
                    <a:pt x="193" y="4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59" y="23"/>
                    <a:pt x="158" y="23"/>
                    <a:pt x="157" y="23"/>
                  </a:cubicBezTo>
                  <a:cubicBezTo>
                    <a:pt x="156" y="23"/>
                    <a:pt x="154" y="24"/>
                    <a:pt x="154" y="25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20" y="23"/>
                    <a:pt x="119" y="22"/>
                    <a:pt x="118" y="22"/>
                  </a:cubicBezTo>
                  <a:cubicBezTo>
                    <a:pt x="116" y="22"/>
                    <a:pt x="115" y="24"/>
                    <a:pt x="115" y="26"/>
                  </a:cubicBezTo>
                  <a:cubicBezTo>
                    <a:pt x="115" y="26"/>
                    <a:pt x="115" y="26"/>
                    <a:pt x="115" y="27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1"/>
                    <a:pt x="79" y="60"/>
                    <a:pt x="79" y="60"/>
                  </a:cubicBezTo>
                  <a:cubicBezTo>
                    <a:pt x="77" y="60"/>
                    <a:pt x="75" y="62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1" y="80"/>
                    <a:pt x="41" y="79"/>
                    <a:pt x="40" y="79"/>
                  </a:cubicBezTo>
                  <a:cubicBezTo>
                    <a:pt x="38" y="79"/>
                    <a:pt x="36" y="81"/>
                    <a:pt x="36" y="83"/>
                  </a:cubicBezTo>
                  <a:cubicBezTo>
                    <a:pt x="36" y="84"/>
                    <a:pt x="36" y="84"/>
                    <a:pt x="37" y="85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433" y="136"/>
                    <a:pt x="433" y="136"/>
                    <a:pt x="433" y="136"/>
                  </a:cubicBezTo>
                  <a:cubicBezTo>
                    <a:pt x="433" y="135"/>
                    <a:pt x="433" y="135"/>
                    <a:pt x="433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2" y="133"/>
                    <a:pt x="2" y="133"/>
                    <a:pt x="2" y="133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9" y="86"/>
                    <a:pt x="39" y="86"/>
                    <a:pt x="40" y="86"/>
                  </a:cubicBezTo>
                  <a:cubicBezTo>
                    <a:pt x="42" y="86"/>
                    <a:pt x="43" y="85"/>
                    <a:pt x="43" y="83"/>
                  </a:cubicBezTo>
                  <a:cubicBezTo>
                    <a:pt x="43" y="83"/>
                    <a:pt x="43" y="83"/>
                    <a:pt x="43" y="82"/>
                  </a:cubicBezTo>
                  <a:cubicBezTo>
                    <a:pt x="76" y="66"/>
                    <a:pt x="76" y="66"/>
                    <a:pt x="76" y="66"/>
                  </a:cubicBezTo>
                  <a:cubicBezTo>
                    <a:pt x="77" y="67"/>
                    <a:pt x="78" y="67"/>
                    <a:pt x="79" y="67"/>
                  </a:cubicBezTo>
                  <a:cubicBezTo>
                    <a:pt x="81" y="67"/>
                    <a:pt x="82" y="66"/>
                    <a:pt x="82" y="64"/>
                  </a:cubicBezTo>
                  <a:cubicBezTo>
                    <a:pt x="82" y="63"/>
                    <a:pt x="82" y="63"/>
                    <a:pt x="82" y="62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7" y="29"/>
                    <a:pt x="117" y="29"/>
                    <a:pt x="118" y="29"/>
                  </a:cubicBezTo>
                  <a:cubicBezTo>
                    <a:pt x="120" y="29"/>
                    <a:pt x="121" y="28"/>
                    <a:pt x="122" y="26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5" y="29"/>
                    <a:pt x="156" y="30"/>
                    <a:pt x="157" y="30"/>
                  </a:cubicBezTo>
                  <a:cubicBezTo>
                    <a:pt x="159" y="30"/>
                    <a:pt x="161" y="28"/>
                    <a:pt x="161" y="26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94" y="6"/>
                    <a:pt x="194" y="6"/>
                    <a:pt x="194" y="6"/>
                  </a:cubicBezTo>
                  <a:cubicBezTo>
                    <a:pt x="195" y="7"/>
                    <a:pt x="196" y="7"/>
                    <a:pt x="197" y="7"/>
                  </a:cubicBezTo>
                  <a:cubicBezTo>
                    <a:pt x="198" y="7"/>
                    <a:pt x="199" y="7"/>
                    <a:pt x="200" y="6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3" y="19"/>
                    <a:pt x="234" y="20"/>
                    <a:pt x="236" y="20"/>
                  </a:cubicBezTo>
                  <a:cubicBezTo>
                    <a:pt x="237" y="20"/>
                    <a:pt x="239" y="19"/>
                    <a:pt x="239" y="18"/>
                  </a:cubicBezTo>
                  <a:cubicBezTo>
                    <a:pt x="272" y="11"/>
                    <a:pt x="272" y="11"/>
                    <a:pt x="272" y="11"/>
                  </a:cubicBezTo>
                  <a:cubicBezTo>
                    <a:pt x="273" y="12"/>
                    <a:pt x="274" y="12"/>
                    <a:pt x="275" y="12"/>
                  </a:cubicBezTo>
                  <a:cubicBezTo>
                    <a:pt x="276" y="12"/>
                    <a:pt x="277" y="12"/>
                    <a:pt x="277" y="11"/>
                  </a:cubicBezTo>
                  <a:cubicBezTo>
                    <a:pt x="311" y="29"/>
                    <a:pt x="311" y="29"/>
                    <a:pt x="311" y="29"/>
                  </a:cubicBezTo>
                  <a:cubicBezTo>
                    <a:pt x="311" y="29"/>
                    <a:pt x="311" y="29"/>
                    <a:pt x="311" y="30"/>
                  </a:cubicBezTo>
                  <a:cubicBezTo>
                    <a:pt x="311" y="31"/>
                    <a:pt x="313" y="33"/>
                    <a:pt x="315" y="33"/>
                  </a:cubicBezTo>
                  <a:cubicBezTo>
                    <a:pt x="316" y="33"/>
                    <a:pt x="317" y="32"/>
                    <a:pt x="318" y="31"/>
                  </a:cubicBezTo>
                  <a:cubicBezTo>
                    <a:pt x="350" y="30"/>
                    <a:pt x="350" y="30"/>
                    <a:pt x="350" y="30"/>
                  </a:cubicBezTo>
                  <a:cubicBezTo>
                    <a:pt x="351" y="32"/>
                    <a:pt x="352" y="33"/>
                    <a:pt x="353" y="33"/>
                  </a:cubicBezTo>
                  <a:cubicBezTo>
                    <a:pt x="354" y="33"/>
                    <a:pt x="355" y="33"/>
                    <a:pt x="355" y="33"/>
                  </a:cubicBezTo>
                  <a:cubicBezTo>
                    <a:pt x="389" y="70"/>
                    <a:pt x="389" y="70"/>
                    <a:pt x="389" y="70"/>
                  </a:cubicBezTo>
                  <a:cubicBezTo>
                    <a:pt x="389" y="71"/>
                    <a:pt x="389" y="71"/>
                    <a:pt x="389" y="72"/>
                  </a:cubicBezTo>
                  <a:cubicBezTo>
                    <a:pt x="389" y="74"/>
                    <a:pt x="390" y="75"/>
                    <a:pt x="392" y="75"/>
                  </a:cubicBezTo>
                  <a:cubicBezTo>
                    <a:pt x="394" y="75"/>
                    <a:pt x="396" y="74"/>
                    <a:pt x="396" y="72"/>
                  </a:cubicBezTo>
                  <a:cubicBezTo>
                    <a:pt x="396" y="72"/>
                    <a:pt x="396" y="72"/>
                    <a:pt x="396" y="72"/>
                  </a:cubicBezTo>
                  <a:cubicBezTo>
                    <a:pt x="430" y="55"/>
                    <a:pt x="430" y="55"/>
                    <a:pt x="430" y="55"/>
                  </a:cubicBezTo>
                  <a:cubicBezTo>
                    <a:pt x="430" y="56"/>
                    <a:pt x="431" y="56"/>
                    <a:pt x="432" y="56"/>
                  </a:cubicBezTo>
                  <a:cubicBezTo>
                    <a:pt x="434" y="56"/>
                    <a:pt x="435" y="54"/>
                    <a:pt x="435" y="53"/>
                  </a:cubicBezTo>
                  <a:cubicBezTo>
                    <a:pt x="435" y="51"/>
                    <a:pt x="434" y="49"/>
                    <a:pt x="432" y="49"/>
                  </a:cubicBezTo>
                  <a:close/>
                </a:path>
              </a:pathLst>
            </a:custGeom>
            <a:solidFill>
              <a:srgbClr val="F83003"/>
            </a:solidFill>
            <a:ln w="9525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9" name="直接连接符 72"/>
            <p:cNvSpPr>
              <a:spLocks noChangeShapeType="1"/>
            </p:cNvSpPr>
            <p:nvPr/>
          </p:nvSpPr>
          <p:spPr bwMode="auto">
            <a:xfrm>
              <a:off x="1443038" y="2679700"/>
              <a:ext cx="0" cy="1152525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0" name="直接连接符 4"/>
            <p:cNvSpPr>
              <a:spLocks noChangeShapeType="1"/>
            </p:cNvSpPr>
            <p:nvPr/>
          </p:nvSpPr>
          <p:spPr bwMode="auto">
            <a:xfrm flipH="1">
              <a:off x="1377950" y="2741613"/>
              <a:ext cx="65088" cy="1587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1" name="直接连接符 77"/>
            <p:cNvSpPr>
              <a:spLocks noChangeShapeType="1"/>
            </p:cNvSpPr>
            <p:nvPr/>
          </p:nvSpPr>
          <p:spPr bwMode="auto">
            <a:xfrm flipH="1">
              <a:off x="1377950" y="2962275"/>
              <a:ext cx="65088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2" name="直接连接符 78"/>
            <p:cNvSpPr>
              <a:spLocks noChangeShapeType="1"/>
            </p:cNvSpPr>
            <p:nvPr/>
          </p:nvSpPr>
          <p:spPr bwMode="auto">
            <a:xfrm flipH="1">
              <a:off x="1377950" y="3181350"/>
              <a:ext cx="65088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3" name="直接连接符 79"/>
            <p:cNvSpPr>
              <a:spLocks noChangeShapeType="1"/>
            </p:cNvSpPr>
            <p:nvPr/>
          </p:nvSpPr>
          <p:spPr bwMode="auto">
            <a:xfrm flipH="1">
              <a:off x="1377950" y="3400425"/>
              <a:ext cx="65088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4" name="直接连接符 80"/>
            <p:cNvSpPr>
              <a:spLocks noChangeShapeType="1"/>
            </p:cNvSpPr>
            <p:nvPr/>
          </p:nvSpPr>
          <p:spPr bwMode="auto">
            <a:xfrm flipH="1">
              <a:off x="1377950" y="3619500"/>
              <a:ext cx="65088" cy="1588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5" name="直接连接符 81"/>
            <p:cNvSpPr>
              <a:spLocks noChangeShapeType="1"/>
            </p:cNvSpPr>
            <p:nvPr/>
          </p:nvSpPr>
          <p:spPr bwMode="auto">
            <a:xfrm flipH="1">
              <a:off x="1377950" y="3840163"/>
              <a:ext cx="65088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50" name="组合 149"/>
          <p:cNvGrpSpPr/>
          <p:nvPr/>
        </p:nvGrpSpPr>
        <p:grpSpPr>
          <a:xfrm>
            <a:off x="9982239" y="2583551"/>
            <a:ext cx="972518" cy="666291"/>
            <a:chOff x="1370013" y="1060450"/>
            <a:chExt cx="5938837" cy="2879725"/>
          </a:xfrm>
        </p:grpSpPr>
        <p:sp>
          <p:nvSpPr>
            <p:cNvPr id="117" name="Freeform 741"/>
            <p:cNvSpPr>
              <a:spLocks noChangeArrowheads="1"/>
            </p:cNvSpPr>
            <p:nvPr/>
          </p:nvSpPr>
          <p:spPr bwMode="auto">
            <a:xfrm>
              <a:off x="1517650" y="1309688"/>
              <a:ext cx="5575300" cy="2071687"/>
            </a:xfrm>
            <a:custGeom>
              <a:avLst/>
              <a:gdLst>
                <a:gd name="T0" fmla="*/ 1013196661 w 1368"/>
                <a:gd name="T1" fmla="*/ 2147483646 h 445"/>
                <a:gd name="T2" fmla="*/ 49831282 w 1368"/>
                <a:gd name="T3" fmla="*/ 2147483646 h 445"/>
                <a:gd name="T4" fmla="*/ 1063027942 w 1368"/>
                <a:gd name="T5" fmla="*/ 2147483646 h 445"/>
                <a:gd name="T6" fmla="*/ 2076224603 w 1368"/>
                <a:gd name="T7" fmla="*/ 2147483646 h 445"/>
                <a:gd name="T8" fmla="*/ 2147483646 w 1368"/>
                <a:gd name="T9" fmla="*/ 2147483646 h 445"/>
                <a:gd name="T10" fmla="*/ 2147483646 w 1368"/>
                <a:gd name="T11" fmla="*/ 2147483646 h 445"/>
                <a:gd name="T12" fmla="*/ 2147483646 w 1368"/>
                <a:gd name="T13" fmla="*/ 1452122234 h 445"/>
                <a:gd name="T14" fmla="*/ 2147483646 w 1368"/>
                <a:gd name="T15" fmla="*/ 1387099195 h 445"/>
                <a:gd name="T16" fmla="*/ 2147483646 w 1368"/>
                <a:gd name="T17" fmla="*/ 2147483646 h 445"/>
                <a:gd name="T18" fmla="*/ 2147483646 w 1368"/>
                <a:gd name="T19" fmla="*/ 2147483646 h 445"/>
                <a:gd name="T20" fmla="*/ 2147483646 w 1368"/>
                <a:gd name="T21" fmla="*/ 2147483646 h 445"/>
                <a:gd name="T22" fmla="*/ 2147483646 w 1368"/>
                <a:gd name="T23" fmla="*/ 2147483646 h 445"/>
                <a:gd name="T24" fmla="*/ 2147483646 w 1368"/>
                <a:gd name="T25" fmla="*/ 2147483646 h 445"/>
                <a:gd name="T26" fmla="*/ 2147483646 w 1368"/>
                <a:gd name="T27" fmla="*/ 2147483646 h 445"/>
                <a:gd name="T28" fmla="*/ 2147483646 w 1368"/>
                <a:gd name="T29" fmla="*/ 2147483646 h 445"/>
                <a:gd name="T30" fmla="*/ 2147483646 w 1368"/>
                <a:gd name="T31" fmla="*/ 2147483646 h 445"/>
                <a:gd name="T32" fmla="*/ 2147483646 w 1368"/>
                <a:gd name="T33" fmla="*/ 2147483646 h 445"/>
                <a:gd name="T34" fmla="*/ 2147483646 w 1368"/>
                <a:gd name="T35" fmla="*/ 86694282 h 445"/>
                <a:gd name="T36" fmla="*/ 2147483646 w 1368"/>
                <a:gd name="T37" fmla="*/ 216735704 h 445"/>
                <a:gd name="T38" fmla="*/ 2147483646 w 1368"/>
                <a:gd name="T39" fmla="*/ 2147483646 h 445"/>
                <a:gd name="T40" fmla="*/ 2147483646 w 1368"/>
                <a:gd name="T41" fmla="*/ 2147483646 h 445"/>
                <a:gd name="T42" fmla="*/ 2147483646 w 1368"/>
                <a:gd name="T43" fmla="*/ 2147483646 h 445"/>
                <a:gd name="T44" fmla="*/ 2147483646 w 1368"/>
                <a:gd name="T45" fmla="*/ 2147483646 h 445"/>
                <a:gd name="T46" fmla="*/ 2147483646 w 1368"/>
                <a:gd name="T47" fmla="*/ 2147483646 h 445"/>
                <a:gd name="T48" fmla="*/ 2147483646 w 1368"/>
                <a:gd name="T49" fmla="*/ 2147483646 h 445"/>
                <a:gd name="T50" fmla="*/ 2147483646 w 1368"/>
                <a:gd name="T51" fmla="*/ 2147483646 h 445"/>
                <a:gd name="T52" fmla="*/ 2147483646 w 1368"/>
                <a:gd name="T53" fmla="*/ 2147483646 h 445"/>
                <a:gd name="T54" fmla="*/ 2147483646 w 1368"/>
                <a:gd name="T55" fmla="*/ 2147483646 h 445"/>
                <a:gd name="T56" fmla="*/ 2147483646 w 1368"/>
                <a:gd name="T57" fmla="*/ 1712205078 h 445"/>
                <a:gd name="T58" fmla="*/ 2147483646 w 1368"/>
                <a:gd name="T59" fmla="*/ 2147483646 h 445"/>
                <a:gd name="T60" fmla="*/ 2147483646 w 1368"/>
                <a:gd name="T61" fmla="*/ 2147483646 h 445"/>
                <a:gd name="T62" fmla="*/ 2147483646 w 1368"/>
                <a:gd name="T63" fmla="*/ 2147483646 h 445"/>
                <a:gd name="T64" fmla="*/ 1179294140 w 1368"/>
                <a:gd name="T65" fmla="*/ 2147483646 h 445"/>
                <a:gd name="T66" fmla="*/ 1079635652 w 1368"/>
                <a:gd name="T67" fmla="*/ 2147483646 h 4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68"/>
                <a:gd name="T103" fmla="*/ 0 h 445"/>
                <a:gd name="T104" fmla="*/ 1368 w 1368"/>
                <a:gd name="T105" fmla="*/ 445 h 4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68" h="445">
                  <a:moveTo>
                    <a:pt x="65" y="445"/>
                  </a:moveTo>
                  <a:cubicBezTo>
                    <a:pt x="64" y="445"/>
                    <a:pt x="62" y="444"/>
                    <a:pt x="61" y="443"/>
                  </a:cubicBezTo>
                  <a:cubicBezTo>
                    <a:pt x="2" y="381"/>
                    <a:pt x="2" y="381"/>
                    <a:pt x="2" y="381"/>
                  </a:cubicBezTo>
                  <a:cubicBezTo>
                    <a:pt x="0" y="379"/>
                    <a:pt x="0" y="375"/>
                    <a:pt x="3" y="373"/>
                  </a:cubicBezTo>
                  <a:cubicBezTo>
                    <a:pt x="5" y="370"/>
                    <a:pt x="9" y="370"/>
                    <a:pt x="11" y="373"/>
                  </a:cubicBezTo>
                  <a:cubicBezTo>
                    <a:pt x="64" y="428"/>
                    <a:pt x="64" y="428"/>
                    <a:pt x="64" y="428"/>
                  </a:cubicBezTo>
                  <a:cubicBezTo>
                    <a:pt x="124" y="283"/>
                    <a:pt x="124" y="283"/>
                    <a:pt x="124" y="283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184" y="189"/>
                    <a:pt x="184" y="189"/>
                    <a:pt x="184" y="189"/>
                  </a:cubicBezTo>
                  <a:cubicBezTo>
                    <a:pt x="185" y="187"/>
                    <a:pt x="187" y="186"/>
                    <a:pt x="190" y="186"/>
                  </a:cubicBezTo>
                  <a:cubicBezTo>
                    <a:pt x="192" y="186"/>
                    <a:pt x="194" y="188"/>
                    <a:pt x="195" y="190"/>
                  </a:cubicBezTo>
                  <a:cubicBezTo>
                    <a:pt x="253" y="366"/>
                    <a:pt x="253" y="366"/>
                    <a:pt x="253" y="366"/>
                  </a:cubicBezTo>
                  <a:cubicBezTo>
                    <a:pt x="369" y="250"/>
                    <a:pt x="369" y="250"/>
                    <a:pt x="369" y="250"/>
                  </a:cubicBezTo>
                  <a:cubicBezTo>
                    <a:pt x="430" y="67"/>
                    <a:pt x="430" y="67"/>
                    <a:pt x="430" y="67"/>
                  </a:cubicBezTo>
                  <a:cubicBezTo>
                    <a:pt x="431" y="65"/>
                    <a:pt x="432" y="63"/>
                    <a:pt x="434" y="63"/>
                  </a:cubicBezTo>
                  <a:cubicBezTo>
                    <a:pt x="436" y="62"/>
                    <a:pt x="438" y="63"/>
                    <a:pt x="440" y="64"/>
                  </a:cubicBezTo>
                  <a:cubicBezTo>
                    <a:pt x="563" y="181"/>
                    <a:pt x="563" y="181"/>
                    <a:pt x="563" y="181"/>
                  </a:cubicBezTo>
                  <a:cubicBezTo>
                    <a:pt x="618" y="153"/>
                    <a:pt x="618" y="153"/>
                    <a:pt x="618" y="153"/>
                  </a:cubicBezTo>
                  <a:cubicBezTo>
                    <a:pt x="619" y="152"/>
                    <a:pt x="621" y="152"/>
                    <a:pt x="623" y="153"/>
                  </a:cubicBezTo>
                  <a:cubicBezTo>
                    <a:pt x="624" y="153"/>
                    <a:pt x="626" y="155"/>
                    <a:pt x="626" y="156"/>
                  </a:cubicBezTo>
                  <a:cubicBezTo>
                    <a:pt x="684" y="304"/>
                    <a:pt x="684" y="304"/>
                    <a:pt x="684" y="304"/>
                  </a:cubicBezTo>
                  <a:cubicBezTo>
                    <a:pt x="740" y="247"/>
                    <a:pt x="740" y="247"/>
                    <a:pt x="740" y="247"/>
                  </a:cubicBezTo>
                  <a:cubicBezTo>
                    <a:pt x="741" y="245"/>
                    <a:pt x="742" y="245"/>
                    <a:pt x="744" y="245"/>
                  </a:cubicBezTo>
                  <a:cubicBezTo>
                    <a:pt x="745" y="245"/>
                    <a:pt x="747" y="245"/>
                    <a:pt x="748" y="246"/>
                  </a:cubicBezTo>
                  <a:cubicBezTo>
                    <a:pt x="810" y="308"/>
                    <a:pt x="810" y="308"/>
                    <a:pt x="810" y="308"/>
                  </a:cubicBezTo>
                  <a:cubicBezTo>
                    <a:pt x="810" y="308"/>
                    <a:pt x="810" y="309"/>
                    <a:pt x="811" y="309"/>
                  </a:cubicBezTo>
                  <a:cubicBezTo>
                    <a:pt x="874" y="404"/>
                    <a:pt x="874" y="404"/>
                    <a:pt x="874" y="404"/>
                  </a:cubicBezTo>
                  <a:cubicBezTo>
                    <a:pt x="926" y="427"/>
                    <a:pt x="926" y="427"/>
                    <a:pt x="926" y="427"/>
                  </a:cubicBezTo>
                  <a:cubicBezTo>
                    <a:pt x="985" y="312"/>
                    <a:pt x="985" y="312"/>
                    <a:pt x="985" y="312"/>
                  </a:cubicBezTo>
                  <a:cubicBezTo>
                    <a:pt x="986" y="312"/>
                    <a:pt x="986" y="311"/>
                    <a:pt x="986" y="311"/>
                  </a:cubicBezTo>
                  <a:cubicBezTo>
                    <a:pt x="1048" y="247"/>
                    <a:pt x="1048" y="247"/>
                    <a:pt x="1048" y="247"/>
                  </a:cubicBezTo>
                  <a:cubicBezTo>
                    <a:pt x="1109" y="157"/>
                    <a:pt x="1109" y="157"/>
                    <a:pt x="1109" y="157"/>
                  </a:cubicBezTo>
                  <a:cubicBezTo>
                    <a:pt x="1110" y="155"/>
                    <a:pt x="1112" y="154"/>
                    <a:pt x="1115" y="154"/>
                  </a:cubicBezTo>
                  <a:cubicBezTo>
                    <a:pt x="1117" y="154"/>
                    <a:pt x="1119" y="156"/>
                    <a:pt x="1120" y="158"/>
                  </a:cubicBezTo>
                  <a:cubicBezTo>
                    <a:pt x="1179" y="302"/>
                    <a:pt x="1179" y="302"/>
                    <a:pt x="1179" y="302"/>
                  </a:cubicBezTo>
                  <a:cubicBezTo>
                    <a:pt x="1356" y="4"/>
                    <a:pt x="1356" y="4"/>
                    <a:pt x="1356" y="4"/>
                  </a:cubicBezTo>
                  <a:cubicBezTo>
                    <a:pt x="1357" y="1"/>
                    <a:pt x="1361" y="0"/>
                    <a:pt x="1364" y="2"/>
                  </a:cubicBezTo>
                  <a:cubicBezTo>
                    <a:pt x="1367" y="3"/>
                    <a:pt x="1368" y="7"/>
                    <a:pt x="1366" y="10"/>
                  </a:cubicBezTo>
                  <a:cubicBezTo>
                    <a:pt x="1184" y="318"/>
                    <a:pt x="1184" y="318"/>
                    <a:pt x="1184" y="318"/>
                  </a:cubicBezTo>
                  <a:cubicBezTo>
                    <a:pt x="1183" y="320"/>
                    <a:pt x="1180" y="321"/>
                    <a:pt x="1178" y="321"/>
                  </a:cubicBezTo>
                  <a:cubicBezTo>
                    <a:pt x="1176" y="321"/>
                    <a:pt x="1174" y="320"/>
                    <a:pt x="1173" y="317"/>
                  </a:cubicBezTo>
                  <a:cubicBezTo>
                    <a:pt x="1113" y="173"/>
                    <a:pt x="1113" y="173"/>
                    <a:pt x="1113" y="173"/>
                  </a:cubicBezTo>
                  <a:cubicBezTo>
                    <a:pt x="1057" y="254"/>
                    <a:pt x="1057" y="254"/>
                    <a:pt x="1057" y="254"/>
                  </a:cubicBezTo>
                  <a:cubicBezTo>
                    <a:pt x="1057" y="254"/>
                    <a:pt x="1057" y="255"/>
                    <a:pt x="1057" y="255"/>
                  </a:cubicBezTo>
                  <a:cubicBezTo>
                    <a:pt x="996" y="319"/>
                    <a:pt x="996" y="319"/>
                    <a:pt x="996" y="319"/>
                  </a:cubicBezTo>
                  <a:cubicBezTo>
                    <a:pt x="934" y="438"/>
                    <a:pt x="934" y="438"/>
                    <a:pt x="934" y="438"/>
                  </a:cubicBezTo>
                  <a:cubicBezTo>
                    <a:pt x="933" y="441"/>
                    <a:pt x="929" y="442"/>
                    <a:pt x="927" y="441"/>
                  </a:cubicBezTo>
                  <a:cubicBezTo>
                    <a:pt x="868" y="414"/>
                    <a:pt x="868" y="414"/>
                    <a:pt x="868" y="414"/>
                  </a:cubicBezTo>
                  <a:cubicBezTo>
                    <a:pt x="867" y="414"/>
                    <a:pt x="866" y="413"/>
                    <a:pt x="865" y="412"/>
                  </a:cubicBezTo>
                  <a:cubicBezTo>
                    <a:pt x="801" y="316"/>
                    <a:pt x="801" y="316"/>
                    <a:pt x="801" y="316"/>
                  </a:cubicBezTo>
                  <a:cubicBezTo>
                    <a:pt x="744" y="259"/>
                    <a:pt x="744" y="259"/>
                    <a:pt x="744" y="259"/>
                  </a:cubicBezTo>
                  <a:cubicBezTo>
                    <a:pt x="687" y="319"/>
                    <a:pt x="687" y="319"/>
                    <a:pt x="687" y="319"/>
                  </a:cubicBezTo>
                  <a:cubicBezTo>
                    <a:pt x="685" y="321"/>
                    <a:pt x="683" y="321"/>
                    <a:pt x="681" y="321"/>
                  </a:cubicBezTo>
                  <a:cubicBezTo>
                    <a:pt x="679" y="321"/>
                    <a:pt x="677" y="319"/>
                    <a:pt x="677" y="317"/>
                  </a:cubicBezTo>
                  <a:cubicBezTo>
                    <a:pt x="617" y="167"/>
                    <a:pt x="617" y="167"/>
                    <a:pt x="617" y="167"/>
                  </a:cubicBezTo>
                  <a:cubicBezTo>
                    <a:pt x="564" y="194"/>
                    <a:pt x="564" y="194"/>
                    <a:pt x="564" y="194"/>
                  </a:cubicBezTo>
                  <a:cubicBezTo>
                    <a:pt x="562" y="195"/>
                    <a:pt x="559" y="195"/>
                    <a:pt x="558" y="193"/>
                  </a:cubicBezTo>
                  <a:cubicBezTo>
                    <a:pt x="438" y="79"/>
                    <a:pt x="438" y="79"/>
                    <a:pt x="438" y="79"/>
                  </a:cubicBezTo>
                  <a:cubicBezTo>
                    <a:pt x="380" y="255"/>
                    <a:pt x="380" y="255"/>
                    <a:pt x="380" y="255"/>
                  </a:cubicBezTo>
                  <a:cubicBezTo>
                    <a:pt x="379" y="256"/>
                    <a:pt x="379" y="257"/>
                    <a:pt x="378" y="258"/>
                  </a:cubicBezTo>
                  <a:cubicBezTo>
                    <a:pt x="255" y="381"/>
                    <a:pt x="255" y="381"/>
                    <a:pt x="255" y="381"/>
                  </a:cubicBezTo>
                  <a:cubicBezTo>
                    <a:pt x="253" y="383"/>
                    <a:pt x="251" y="383"/>
                    <a:pt x="249" y="383"/>
                  </a:cubicBezTo>
                  <a:cubicBezTo>
                    <a:pt x="247" y="382"/>
                    <a:pt x="246" y="381"/>
                    <a:pt x="245" y="379"/>
                  </a:cubicBezTo>
                  <a:cubicBezTo>
                    <a:pt x="187" y="206"/>
                    <a:pt x="187" y="206"/>
                    <a:pt x="187" y="206"/>
                  </a:cubicBezTo>
                  <a:cubicBezTo>
                    <a:pt x="135" y="288"/>
                    <a:pt x="135" y="288"/>
                    <a:pt x="135" y="288"/>
                  </a:cubicBezTo>
                  <a:cubicBezTo>
                    <a:pt x="71" y="441"/>
                    <a:pt x="71" y="441"/>
                    <a:pt x="71" y="441"/>
                  </a:cubicBezTo>
                  <a:cubicBezTo>
                    <a:pt x="70" y="443"/>
                    <a:pt x="69" y="444"/>
                    <a:pt x="67" y="444"/>
                  </a:cubicBezTo>
                  <a:cubicBezTo>
                    <a:pt x="66" y="444"/>
                    <a:pt x="66" y="445"/>
                    <a:pt x="65" y="445"/>
                  </a:cubicBezTo>
                  <a:close/>
                </a:path>
              </a:pathLst>
            </a:custGeom>
            <a:solidFill>
              <a:srgbClr val="EBAC07"/>
            </a:solidFill>
            <a:ln w="9525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8" name="Freeform 742"/>
            <p:cNvSpPr>
              <a:spLocks noChangeArrowheads="1"/>
            </p:cNvSpPr>
            <p:nvPr/>
          </p:nvSpPr>
          <p:spPr bwMode="auto">
            <a:xfrm>
              <a:off x="1517650" y="1585913"/>
              <a:ext cx="5572125" cy="1949450"/>
            </a:xfrm>
            <a:custGeom>
              <a:avLst/>
              <a:gdLst>
                <a:gd name="T0" fmla="*/ 2147483646 w 1367"/>
                <a:gd name="T1" fmla="*/ 2147483646 h 419"/>
                <a:gd name="T2" fmla="*/ 2147483646 w 1367"/>
                <a:gd name="T3" fmla="*/ 2147483646 h 419"/>
                <a:gd name="T4" fmla="*/ 33228941 w 1367"/>
                <a:gd name="T5" fmla="*/ 2147483646 h 419"/>
                <a:gd name="T6" fmla="*/ 49847488 w 1367"/>
                <a:gd name="T7" fmla="*/ 2147483646 h 419"/>
                <a:gd name="T8" fmla="*/ 182767330 w 1367"/>
                <a:gd name="T9" fmla="*/ 2147483646 h 419"/>
                <a:gd name="T10" fmla="*/ 2147483646 w 1367"/>
                <a:gd name="T11" fmla="*/ 2147483646 h 419"/>
                <a:gd name="T12" fmla="*/ 2147483646 w 1367"/>
                <a:gd name="T13" fmla="*/ 2147483646 h 419"/>
                <a:gd name="T14" fmla="*/ 2147483646 w 1367"/>
                <a:gd name="T15" fmla="*/ 2147483646 h 419"/>
                <a:gd name="T16" fmla="*/ 2147483646 w 1367"/>
                <a:gd name="T17" fmla="*/ 2147483646 h 419"/>
                <a:gd name="T18" fmla="*/ 2147483646 w 1367"/>
                <a:gd name="T19" fmla="*/ 2147483646 h 419"/>
                <a:gd name="T20" fmla="*/ 2147483646 w 1367"/>
                <a:gd name="T21" fmla="*/ 2147483646 h 419"/>
                <a:gd name="T22" fmla="*/ 2147483646 w 1367"/>
                <a:gd name="T23" fmla="*/ 2147483646 h 419"/>
                <a:gd name="T24" fmla="*/ 2147483646 w 1367"/>
                <a:gd name="T25" fmla="*/ 2147483646 h 419"/>
                <a:gd name="T26" fmla="*/ 2147483646 w 1367"/>
                <a:gd name="T27" fmla="*/ 2147483646 h 419"/>
                <a:gd name="T28" fmla="*/ 2147483646 w 1367"/>
                <a:gd name="T29" fmla="*/ 2147483646 h 419"/>
                <a:gd name="T30" fmla="*/ 2147483646 w 1367"/>
                <a:gd name="T31" fmla="*/ 1428695608 h 419"/>
                <a:gd name="T32" fmla="*/ 2147483646 w 1367"/>
                <a:gd name="T33" fmla="*/ 1450344274 h 419"/>
                <a:gd name="T34" fmla="*/ 2147483646 w 1367"/>
                <a:gd name="T35" fmla="*/ 2147483646 h 419"/>
                <a:gd name="T36" fmla="*/ 2147483646 w 1367"/>
                <a:gd name="T37" fmla="*/ 64941344 h 419"/>
                <a:gd name="T38" fmla="*/ 2147483646 w 1367"/>
                <a:gd name="T39" fmla="*/ 43292678 h 419"/>
                <a:gd name="T40" fmla="*/ 2147483646 w 1367"/>
                <a:gd name="T41" fmla="*/ 844228166 h 419"/>
                <a:gd name="T42" fmla="*/ 2147483646 w 1367"/>
                <a:gd name="T43" fmla="*/ 1407051595 h 419"/>
                <a:gd name="T44" fmla="*/ 2147483646 w 1367"/>
                <a:gd name="T45" fmla="*/ 86590009 h 419"/>
                <a:gd name="T46" fmla="*/ 2147483646 w 1367"/>
                <a:gd name="T47" fmla="*/ 173175366 h 419"/>
                <a:gd name="T48" fmla="*/ 2147483646 w 1367"/>
                <a:gd name="T49" fmla="*/ 324702067 h 419"/>
                <a:gd name="T50" fmla="*/ 2147483646 w 1367"/>
                <a:gd name="T51" fmla="*/ 1666812318 h 419"/>
                <a:gd name="T52" fmla="*/ 2147483646 w 1367"/>
                <a:gd name="T53" fmla="*/ 1666812318 h 419"/>
                <a:gd name="T54" fmla="*/ 2147483646 w 1367"/>
                <a:gd name="T55" fmla="*/ 1082344876 h 419"/>
                <a:gd name="T56" fmla="*/ 2147483646 w 1367"/>
                <a:gd name="T57" fmla="*/ 1060700863 h 419"/>
                <a:gd name="T58" fmla="*/ 2147483646 w 1367"/>
                <a:gd name="T59" fmla="*/ 303058054 h 419"/>
                <a:gd name="T60" fmla="*/ 2147483646 w 1367"/>
                <a:gd name="T61" fmla="*/ 2147483646 h 419"/>
                <a:gd name="T62" fmla="*/ 2147483646 w 1367"/>
                <a:gd name="T63" fmla="*/ 2147483646 h 419"/>
                <a:gd name="T64" fmla="*/ 2147483646 w 1367"/>
                <a:gd name="T65" fmla="*/ 1688460984 h 419"/>
                <a:gd name="T66" fmla="*/ 2147483646 w 1367"/>
                <a:gd name="T67" fmla="*/ 2147483646 h 419"/>
                <a:gd name="T68" fmla="*/ 2147483646 w 1367"/>
                <a:gd name="T69" fmla="*/ 2147483646 h 419"/>
                <a:gd name="T70" fmla="*/ 2147483646 w 1367"/>
                <a:gd name="T71" fmla="*/ 2147483646 h 419"/>
                <a:gd name="T72" fmla="*/ 2147483646 w 1367"/>
                <a:gd name="T73" fmla="*/ 2147483646 h 419"/>
                <a:gd name="T74" fmla="*/ 2147483646 w 1367"/>
                <a:gd name="T75" fmla="*/ 2147483646 h 419"/>
                <a:gd name="T76" fmla="*/ 2147483646 w 1367"/>
                <a:gd name="T77" fmla="*/ 2147483646 h 419"/>
                <a:gd name="T78" fmla="*/ 2147483646 w 1367"/>
                <a:gd name="T79" fmla="*/ 2147483646 h 419"/>
                <a:gd name="T80" fmla="*/ 2147483646 w 1367"/>
                <a:gd name="T81" fmla="*/ 2147483646 h 419"/>
                <a:gd name="T82" fmla="*/ 2147483646 w 1367"/>
                <a:gd name="T83" fmla="*/ 2147483646 h 419"/>
                <a:gd name="T84" fmla="*/ 2147483646 w 1367"/>
                <a:gd name="T85" fmla="*/ 2147483646 h 41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67"/>
                <a:gd name="T130" fmla="*/ 0 h 419"/>
                <a:gd name="T131" fmla="*/ 1367 w 1367"/>
                <a:gd name="T132" fmla="*/ 419 h 41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67" h="419">
                  <a:moveTo>
                    <a:pt x="189" y="419"/>
                  </a:moveTo>
                  <a:cubicBezTo>
                    <a:pt x="187" y="419"/>
                    <a:pt x="185" y="418"/>
                    <a:pt x="184" y="417"/>
                  </a:cubicBezTo>
                  <a:cubicBezTo>
                    <a:pt x="2" y="195"/>
                    <a:pt x="2" y="195"/>
                    <a:pt x="2" y="195"/>
                  </a:cubicBezTo>
                  <a:cubicBezTo>
                    <a:pt x="0" y="192"/>
                    <a:pt x="0" y="189"/>
                    <a:pt x="3" y="186"/>
                  </a:cubicBezTo>
                  <a:cubicBezTo>
                    <a:pt x="5" y="184"/>
                    <a:pt x="9" y="185"/>
                    <a:pt x="11" y="187"/>
                  </a:cubicBezTo>
                  <a:cubicBezTo>
                    <a:pt x="190" y="405"/>
                    <a:pt x="190" y="405"/>
                    <a:pt x="190" y="405"/>
                  </a:cubicBezTo>
                  <a:cubicBezTo>
                    <a:pt x="309" y="313"/>
                    <a:pt x="309" y="313"/>
                    <a:pt x="309" y="313"/>
                  </a:cubicBezTo>
                  <a:cubicBezTo>
                    <a:pt x="309" y="313"/>
                    <a:pt x="309" y="313"/>
                    <a:pt x="309" y="313"/>
                  </a:cubicBezTo>
                  <a:cubicBezTo>
                    <a:pt x="370" y="281"/>
                    <a:pt x="370" y="281"/>
                    <a:pt x="370" y="281"/>
                  </a:cubicBezTo>
                  <a:cubicBezTo>
                    <a:pt x="493" y="159"/>
                    <a:pt x="493" y="159"/>
                    <a:pt x="493" y="159"/>
                  </a:cubicBezTo>
                  <a:cubicBezTo>
                    <a:pt x="494" y="158"/>
                    <a:pt x="496" y="158"/>
                    <a:pt x="498" y="158"/>
                  </a:cubicBezTo>
                  <a:cubicBezTo>
                    <a:pt x="500" y="158"/>
                    <a:pt x="501" y="159"/>
                    <a:pt x="502" y="160"/>
                  </a:cubicBezTo>
                  <a:cubicBezTo>
                    <a:pt x="557" y="247"/>
                    <a:pt x="557" y="247"/>
                    <a:pt x="557" y="247"/>
                  </a:cubicBezTo>
                  <a:cubicBezTo>
                    <a:pt x="678" y="129"/>
                    <a:pt x="678" y="129"/>
                    <a:pt x="678" y="129"/>
                  </a:cubicBezTo>
                  <a:cubicBezTo>
                    <a:pt x="679" y="128"/>
                    <a:pt x="679" y="128"/>
                    <a:pt x="680" y="128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2" y="65"/>
                    <a:pt x="805" y="65"/>
                    <a:pt x="807" y="67"/>
                  </a:cubicBezTo>
                  <a:cubicBezTo>
                    <a:pt x="867" y="124"/>
                    <a:pt x="867" y="124"/>
                    <a:pt x="867" y="124"/>
                  </a:cubicBezTo>
                  <a:cubicBezTo>
                    <a:pt x="986" y="3"/>
                    <a:pt x="986" y="3"/>
                    <a:pt x="986" y="3"/>
                  </a:cubicBezTo>
                  <a:cubicBezTo>
                    <a:pt x="988" y="0"/>
                    <a:pt x="991" y="0"/>
                    <a:pt x="994" y="2"/>
                  </a:cubicBezTo>
                  <a:cubicBezTo>
                    <a:pt x="1052" y="39"/>
                    <a:pt x="1052" y="39"/>
                    <a:pt x="1052" y="39"/>
                  </a:cubicBezTo>
                  <a:cubicBezTo>
                    <a:pt x="1173" y="65"/>
                    <a:pt x="1173" y="65"/>
                    <a:pt x="1173" y="65"/>
                  </a:cubicBezTo>
                  <a:cubicBezTo>
                    <a:pt x="1359" y="4"/>
                    <a:pt x="1359" y="4"/>
                    <a:pt x="1359" y="4"/>
                  </a:cubicBezTo>
                  <a:cubicBezTo>
                    <a:pt x="1362" y="3"/>
                    <a:pt x="1365" y="5"/>
                    <a:pt x="1366" y="8"/>
                  </a:cubicBezTo>
                  <a:cubicBezTo>
                    <a:pt x="1367" y="11"/>
                    <a:pt x="1366" y="14"/>
                    <a:pt x="1363" y="15"/>
                  </a:cubicBezTo>
                  <a:cubicBezTo>
                    <a:pt x="1175" y="77"/>
                    <a:pt x="1175" y="77"/>
                    <a:pt x="1175" y="77"/>
                  </a:cubicBezTo>
                  <a:cubicBezTo>
                    <a:pt x="1174" y="77"/>
                    <a:pt x="1173" y="77"/>
                    <a:pt x="1172" y="77"/>
                  </a:cubicBezTo>
                  <a:cubicBezTo>
                    <a:pt x="1048" y="50"/>
                    <a:pt x="1048" y="50"/>
                    <a:pt x="1048" y="50"/>
                  </a:cubicBezTo>
                  <a:cubicBezTo>
                    <a:pt x="1048" y="50"/>
                    <a:pt x="1047" y="50"/>
                    <a:pt x="1046" y="49"/>
                  </a:cubicBezTo>
                  <a:cubicBezTo>
                    <a:pt x="992" y="14"/>
                    <a:pt x="992" y="14"/>
                    <a:pt x="992" y="14"/>
                  </a:cubicBezTo>
                  <a:cubicBezTo>
                    <a:pt x="872" y="137"/>
                    <a:pt x="872" y="137"/>
                    <a:pt x="872" y="137"/>
                  </a:cubicBezTo>
                  <a:cubicBezTo>
                    <a:pt x="869" y="139"/>
                    <a:pt x="866" y="139"/>
                    <a:pt x="863" y="137"/>
                  </a:cubicBezTo>
                  <a:cubicBezTo>
                    <a:pt x="802" y="78"/>
                    <a:pt x="802" y="78"/>
                    <a:pt x="802" y="78"/>
                  </a:cubicBezTo>
                  <a:cubicBezTo>
                    <a:pt x="686" y="138"/>
                    <a:pt x="686" y="138"/>
                    <a:pt x="686" y="138"/>
                  </a:cubicBezTo>
                  <a:cubicBezTo>
                    <a:pt x="560" y="260"/>
                    <a:pt x="560" y="260"/>
                    <a:pt x="560" y="260"/>
                  </a:cubicBezTo>
                  <a:cubicBezTo>
                    <a:pt x="559" y="262"/>
                    <a:pt x="557" y="262"/>
                    <a:pt x="555" y="262"/>
                  </a:cubicBezTo>
                  <a:cubicBezTo>
                    <a:pt x="554" y="262"/>
                    <a:pt x="552" y="261"/>
                    <a:pt x="551" y="259"/>
                  </a:cubicBezTo>
                  <a:cubicBezTo>
                    <a:pt x="496" y="173"/>
                    <a:pt x="496" y="173"/>
                    <a:pt x="496" y="173"/>
                  </a:cubicBezTo>
                  <a:cubicBezTo>
                    <a:pt x="378" y="290"/>
                    <a:pt x="378" y="290"/>
                    <a:pt x="378" y="290"/>
                  </a:cubicBezTo>
                  <a:cubicBezTo>
                    <a:pt x="378" y="291"/>
                    <a:pt x="377" y="291"/>
                    <a:pt x="377" y="291"/>
                  </a:cubicBezTo>
                  <a:cubicBezTo>
                    <a:pt x="315" y="323"/>
                    <a:pt x="315" y="323"/>
                    <a:pt x="315" y="323"/>
                  </a:cubicBezTo>
                  <a:cubicBezTo>
                    <a:pt x="193" y="418"/>
                    <a:pt x="193" y="418"/>
                    <a:pt x="193" y="418"/>
                  </a:cubicBezTo>
                  <a:cubicBezTo>
                    <a:pt x="191" y="419"/>
                    <a:pt x="190" y="419"/>
                    <a:pt x="189" y="419"/>
                  </a:cubicBezTo>
                  <a:close/>
                </a:path>
              </a:pathLst>
            </a:custGeom>
            <a:solidFill>
              <a:srgbClr val="F83003"/>
            </a:solidFill>
            <a:ln w="9525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Freeform 743"/>
            <p:cNvSpPr>
              <a:spLocks noChangeArrowheads="1"/>
            </p:cNvSpPr>
            <p:nvPr/>
          </p:nvSpPr>
          <p:spPr bwMode="auto">
            <a:xfrm>
              <a:off x="1517650" y="1868488"/>
              <a:ext cx="4054475" cy="2046287"/>
            </a:xfrm>
            <a:custGeom>
              <a:avLst/>
              <a:gdLst>
                <a:gd name="T0" fmla="*/ 2147483646 w 995"/>
                <a:gd name="T1" fmla="*/ 2147483646 h 440"/>
                <a:gd name="T2" fmla="*/ 2147483646 w 995"/>
                <a:gd name="T3" fmla="*/ 2147483646 h 440"/>
                <a:gd name="T4" fmla="*/ 2147483646 w 995"/>
                <a:gd name="T5" fmla="*/ 2147483646 h 440"/>
                <a:gd name="T6" fmla="*/ 2147483646 w 995"/>
                <a:gd name="T7" fmla="*/ 2147483646 h 440"/>
                <a:gd name="T8" fmla="*/ 2147483646 w 995"/>
                <a:gd name="T9" fmla="*/ 2147483646 h 440"/>
                <a:gd name="T10" fmla="*/ 2147483646 w 995"/>
                <a:gd name="T11" fmla="*/ 2147483646 h 440"/>
                <a:gd name="T12" fmla="*/ 2147483646 w 995"/>
                <a:gd name="T13" fmla="*/ 2147483646 h 440"/>
                <a:gd name="T14" fmla="*/ 2147483646 w 995"/>
                <a:gd name="T15" fmla="*/ 2147483646 h 440"/>
                <a:gd name="T16" fmla="*/ 2147483646 w 995"/>
                <a:gd name="T17" fmla="*/ 2147483646 h 440"/>
                <a:gd name="T18" fmla="*/ 2147483646 w 995"/>
                <a:gd name="T19" fmla="*/ 2147483646 h 440"/>
                <a:gd name="T20" fmla="*/ 2147483646 w 995"/>
                <a:gd name="T21" fmla="*/ 2147483646 h 440"/>
                <a:gd name="T22" fmla="*/ 2147483646 w 995"/>
                <a:gd name="T23" fmla="*/ 2147483646 h 440"/>
                <a:gd name="T24" fmla="*/ 2147483646 w 995"/>
                <a:gd name="T25" fmla="*/ 2147483646 h 440"/>
                <a:gd name="T26" fmla="*/ 2147483646 w 995"/>
                <a:gd name="T27" fmla="*/ 2147483646 h 440"/>
                <a:gd name="T28" fmla="*/ 2147483646 w 995"/>
                <a:gd name="T29" fmla="*/ 2147483646 h 440"/>
                <a:gd name="T30" fmla="*/ 2147483646 w 995"/>
                <a:gd name="T31" fmla="*/ 2147483646 h 440"/>
                <a:gd name="T32" fmla="*/ 2147483646 w 995"/>
                <a:gd name="T33" fmla="*/ 2147483646 h 440"/>
                <a:gd name="T34" fmla="*/ 1046078999 w 995"/>
                <a:gd name="T35" fmla="*/ 2147483646 h 440"/>
                <a:gd name="T36" fmla="*/ 996263967 w 995"/>
                <a:gd name="T37" fmla="*/ 2147483646 h 440"/>
                <a:gd name="T38" fmla="*/ 16605011 w 995"/>
                <a:gd name="T39" fmla="*/ 194657702 h 440"/>
                <a:gd name="T40" fmla="*/ 66415968 w 995"/>
                <a:gd name="T41" fmla="*/ 21630184 h 440"/>
                <a:gd name="T42" fmla="*/ 199251978 w 995"/>
                <a:gd name="T43" fmla="*/ 86516084 h 440"/>
                <a:gd name="T44" fmla="*/ 1162305924 w 995"/>
                <a:gd name="T45" fmla="*/ 2147483646 h 440"/>
                <a:gd name="T46" fmla="*/ 2147483646 w 995"/>
                <a:gd name="T47" fmla="*/ 2147483646 h 440"/>
                <a:gd name="T48" fmla="*/ 2147483646 w 995"/>
                <a:gd name="T49" fmla="*/ 2147483646 h 440"/>
                <a:gd name="T50" fmla="*/ 2147483646 w 995"/>
                <a:gd name="T51" fmla="*/ 2147483646 h 440"/>
                <a:gd name="T52" fmla="*/ 2147483646 w 995"/>
                <a:gd name="T53" fmla="*/ 2147483646 h 440"/>
                <a:gd name="T54" fmla="*/ 2147483646 w 995"/>
                <a:gd name="T55" fmla="*/ 2147483646 h 440"/>
                <a:gd name="T56" fmla="*/ 2147483646 w 995"/>
                <a:gd name="T57" fmla="*/ 2147483646 h 440"/>
                <a:gd name="T58" fmla="*/ 2147483646 w 995"/>
                <a:gd name="T59" fmla="*/ 2147483646 h 440"/>
                <a:gd name="T60" fmla="*/ 2147483646 w 995"/>
                <a:gd name="T61" fmla="*/ 2147483646 h 440"/>
                <a:gd name="T62" fmla="*/ 2147483646 w 995"/>
                <a:gd name="T63" fmla="*/ 2147483646 h 440"/>
                <a:gd name="T64" fmla="*/ 2147483646 w 995"/>
                <a:gd name="T65" fmla="*/ 2147483646 h 440"/>
                <a:gd name="T66" fmla="*/ 2147483646 w 995"/>
                <a:gd name="T67" fmla="*/ 2147483646 h 440"/>
                <a:gd name="T68" fmla="*/ 2147483646 w 995"/>
                <a:gd name="T69" fmla="*/ 2147483646 h 440"/>
                <a:gd name="T70" fmla="*/ 2147483646 w 995"/>
                <a:gd name="T71" fmla="*/ 2147483646 h 440"/>
                <a:gd name="T72" fmla="*/ 2147483646 w 995"/>
                <a:gd name="T73" fmla="*/ 2147483646 h 440"/>
                <a:gd name="T74" fmla="*/ 2147483646 w 995"/>
                <a:gd name="T75" fmla="*/ 2147483646 h 440"/>
                <a:gd name="T76" fmla="*/ 2147483646 w 995"/>
                <a:gd name="T77" fmla="*/ 2147483646 h 440"/>
                <a:gd name="T78" fmla="*/ 2147483646 w 995"/>
                <a:gd name="T79" fmla="*/ 2147483646 h 440"/>
                <a:gd name="T80" fmla="*/ 2147483646 w 995"/>
                <a:gd name="T81" fmla="*/ 2147483646 h 440"/>
                <a:gd name="T82" fmla="*/ 2147483646 w 995"/>
                <a:gd name="T83" fmla="*/ 2147483646 h 440"/>
                <a:gd name="T84" fmla="*/ 2147483646 w 995"/>
                <a:gd name="T85" fmla="*/ 2147483646 h 4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95"/>
                <a:gd name="T130" fmla="*/ 0 h 440"/>
                <a:gd name="T131" fmla="*/ 995 w 995"/>
                <a:gd name="T132" fmla="*/ 440 h 4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95" h="440">
                  <a:moveTo>
                    <a:pt x="988" y="440"/>
                  </a:moveTo>
                  <a:cubicBezTo>
                    <a:pt x="987" y="440"/>
                    <a:pt x="986" y="439"/>
                    <a:pt x="984" y="439"/>
                  </a:cubicBezTo>
                  <a:cubicBezTo>
                    <a:pt x="864" y="357"/>
                    <a:pt x="864" y="357"/>
                    <a:pt x="864" y="357"/>
                  </a:cubicBezTo>
                  <a:cubicBezTo>
                    <a:pt x="808" y="322"/>
                    <a:pt x="808" y="322"/>
                    <a:pt x="808" y="322"/>
                  </a:cubicBezTo>
                  <a:cubicBezTo>
                    <a:pt x="747" y="357"/>
                    <a:pt x="747" y="357"/>
                    <a:pt x="747" y="357"/>
                  </a:cubicBezTo>
                  <a:cubicBezTo>
                    <a:pt x="745" y="359"/>
                    <a:pt x="742" y="358"/>
                    <a:pt x="740" y="356"/>
                  </a:cubicBezTo>
                  <a:cubicBezTo>
                    <a:pt x="679" y="293"/>
                    <a:pt x="679" y="293"/>
                    <a:pt x="679" y="293"/>
                  </a:cubicBezTo>
                  <a:cubicBezTo>
                    <a:pt x="623" y="262"/>
                    <a:pt x="623" y="262"/>
                    <a:pt x="623" y="262"/>
                  </a:cubicBezTo>
                  <a:cubicBezTo>
                    <a:pt x="564" y="380"/>
                    <a:pt x="564" y="380"/>
                    <a:pt x="564" y="380"/>
                  </a:cubicBezTo>
                  <a:cubicBezTo>
                    <a:pt x="563" y="382"/>
                    <a:pt x="561" y="383"/>
                    <a:pt x="559" y="383"/>
                  </a:cubicBezTo>
                  <a:cubicBezTo>
                    <a:pt x="557" y="383"/>
                    <a:pt x="555" y="382"/>
                    <a:pt x="554" y="380"/>
                  </a:cubicBezTo>
                  <a:cubicBezTo>
                    <a:pt x="493" y="261"/>
                    <a:pt x="493" y="261"/>
                    <a:pt x="493" y="261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30" y="232"/>
                    <a:pt x="429" y="232"/>
                    <a:pt x="429" y="232"/>
                  </a:cubicBezTo>
                  <a:cubicBezTo>
                    <a:pt x="309" y="137"/>
                    <a:pt x="309" y="137"/>
                    <a:pt x="309" y="137"/>
                  </a:cubicBezTo>
                  <a:cubicBezTo>
                    <a:pt x="189" y="198"/>
                    <a:pt x="189" y="198"/>
                    <a:pt x="189" y="198"/>
                  </a:cubicBezTo>
                  <a:cubicBezTo>
                    <a:pt x="187" y="199"/>
                    <a:pt x="185" y="199"/>
                    <a:pt x="183" y="198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2" y="138"/>
                    <a:pt x="61" y="137"/>
                    <a:pt x="60" y="136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6"/>
                    <a:pt x="1" y="3"/>
                    <a:pt x="4" y="1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307" y="125"/>
                    <a:pt x="307" y="125"/>
                    <a:pt x="307" y="125"/>
                  </a:cubicBezTo>
                  <a:cubicBezTo>
                    <a:pt x="309" y="124"/>
                    <a:pt x="311" y="124"/>
                    <a:pt x="313" y="125"/>
                  </a:cubicBezTo>
                  <a:cubicBezTo>
                    <a:pt x="436" y="222"/>
                    <a:pt x="436" y="222"/>
                    <a:pt x="436" y="222"/>
                  </a:cubicBezTo>
                  <a:cubicBezTo>
                    <a:pt x="500" y="251"/>
                    <a:pt x="500" y="251"/>
                    <a:pt x="500" y="251"/>
                  </a:cubicBezTo>
                  <a:cubicBezTo>
                    <a:pt x="501" y="252"/>
                    <a:pt x="502" y="253"/>
                    <a:pt x="503" y="254"/>
                  </a:cubicBezTo>
                  <a:cubicBezTo>
                    <a:pt x="559" y="364"/>
                    <a:pt x="559" y="364"/>
                    <a:pt x="559" y="364"/>
                  </a:cubicBezTo>
                  <a:cubicBezTo>
                    <a:pt x="615" y="251"/>
                    <a:pt x="615" y="251"/>
                    <a:pt x="615" y="251"/>
                  </a:cubicBezTo>
                  <a:cubicBezTo>
                    <a:pt x="616" y="249"/>
                    <a:pt x="617" y="248"/>
                    <a:pt x="619" y="248"/>
                  </a:cubicBezTo>
                  <a:cubicBezTo>
                    <a:pt x="620" y="247"/>
                    <a:pt x="622" y="247"/>
                    <a:pt x="623" y="248"/>
                  </a:cubicBezTo>
                  <a:cubicBezTo>
                    <a:pt x="685" y="283"/>
                    <a:pt x="685" y="283"/>
                    <a:pt x="685" y="283"/>
                  </a:cubicBezTo>
                  <a:cubicBezTo>
                    <a:pt x="686" y="283"/>
                    <a:pt x="686" y="283"/>
                    <a:pt x="687" y="284"/>
                  </a:cubicBezTo>
                  <a:cubicBezTo>
                    <a:pt x="745" y="345"/>
                    <a:pt x="745" y="345"/>
                    <a:pt x="745" y="345"/>
                  </a:cubicBezTo>
                  <a:cubicBezTo>
                    <a:pt x="805" y="310"/>
                    <a:pt x="805" y="310"/>
                    <a:pt x="805" y="310"/>
                  </a:cubicBezTo>
                  <a:cubicBezTo>
                    <a:pt x="807" y="309"/>
                    <a:pt x="810" y="309"/>
                    <a:pt x="812" y="310"/>
                  </a:cubicBezTo>
                  <a:cubicBezTo>
                    <a:pt x="870" y="347"/>
                    <a:pt x="870" y="347"/>
                    <a:pt x="870" y="347"/>
                  </a:cubicBezTo>
                  <a:cubicBezTo>
                    <a:pt x="871" y="347"/>
                    <a:pt x="871" y="347"/>
                    <a:pt x="871" y="347"/>
                  </a:cubicBezTo>
                  <a:cubicBezTo>
                    <a:pt x="991" y="429"/>
                    <a:pt x="991" y="429"/>
                    <a:pt x="991" y="429"/>
                  </a:cubicBezTo>
                  <a:cubicBezTo>
                    <a:pt x="994" y="431"/>
                    <a:pt x="995" y="434"/>
                    <a:pt x="993" y="437"/>
                  </a:cubicBezTo>
                  <a:cubicBezTo>
                    <a:pt x="992" y="439"/>
                    <a:pt x="990" y="440"/>
                    <a:pt x="988" y="440"/>
                  </a:cubicBezTo>
                  <a:close/>
                </a:path>
              </a:pathLst>
            </a:custGeom>
            <a:solidFill>
              <a:srgbClr val="A2B932"/>
            </a:solidFill>
            <a:ln w="9525" cmpd="sng">
              <a:solidFill>
                <a:schemeClr val="bg1"/>
              </a:solidFill>
              <a:bevel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0" name="直接连接符 2426"/>
            <p:cNvSpPr>
              <a:spLocks noChangeShapeType="1"/>
            </p:cNvSpPr>
            <p:nvPr/>
          </p:nvSpPr>
          <p:spPr bwMode="auto">
            <a:xfrm>
              <a:off x="1474788" y="3892550"/>
              <a:ext cx="5834062" cy="0"/>
            </a:xfrm>
            <a:prstGeom prst="line">
              <a:avLst/>
            </a:prstGeom>
            <a:noFill/>
            <a:ln w="222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21" name="组合 2427"/>
            <p:cNvGrpSpPr>
              <a:grpSpLocks/>
            </p:cNvGrpSpPr>
            <p:nvPr/>
          </p:nvGrpSpPr>
          <p:grpSpPr bwMode="auto">
            <a:xfrm>
              <a:off x="1370013" y="1060450"/>
              <a:ext cx="107950" cy="2879725"/>
              <a:chOff x="0" y="0"/>
              <a:chExt cx="108000" cy="2880000"/>
            </a:xfrm>
          </p:grpSpPr>
          <p:sp>
            <p:nvSpPr>
              <p:cNvPr id="122" name="直接连接符 2428"/>
              <p:cNvSpPr>
                <a:spLocks noChangeShapeType="1"/>
              </p:cNvSpPr>
              <p:nvPr/>
            </p:nvSpPr>
            <p:spPr bwMode="auto">
              <a:xfrm>
                <a:off x="108000" y="0"/>
                <a:ext cx="1" cy="2880000"/>
              </a:xfrm>
              <a:prstGeom prst="line">
                <a:avLst/>
              </a:prstGeom>
              <a:noFill/>
              <a:ln w="222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" name="直接连接符 2429"/>
              <p:cNvSpPr>
                <a:spLocks noChangeShapeType="1"/>
              </p:cNvSpPr>
              <p:nvPr/>
            </p:nvSpPr>
            <p:spPr bwMode="auto">
              <a:xfrm>
                <a:off x="0" y="2832621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4" name="直接连接符 2430"/>
              <p:cNvSpPr>
                <a:spLocks noChangeShapeType="1"/>
              </p:cNvSpPr>
              <p:nvPr/>
            </p:nvSpPr>
            <p:spPr bwMode="auto">
              <a:xfrm>
                <a:off x="0" y="2497065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5" name="直接连接符 2431"/>
              <p:cNvSpPr>
                <a:spLocks noChangeShapeType="1"/>
              </p:cNvSpPr>
              <p:nvPr/>
            </p:nvSpPr>
            <p:spPr bwMode="auto">
              <a:xfrm>
                <a:off x="0" y="2161507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6" name="直接连接符 2432"/>
              <p:cNvSpPr>
                <a:spLocks noChangeShapeType="1"/>
              </p:cNvSpPr>
              <p:nvPr/>
            </p:nvSpPr>
            <p:spPr bwMode="auto">
              <a:xfrm>
                <a:off x="0" y="1825949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7" name="直接连接符 2433"/>
              <p:cNvSpPr>
                <a:spLocks noChangeShapeType="1"/>
              </p:cNvSpPr>
              <p:nvPr/>
            </p:nvSpPr>
            <p:spPr bwMode="auto">
              <a:xfrm>
                <a:off x="0" y="1490391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8" name="直接连接符 2434"/>
              <p:cNvSpPr>
                <a:spLocks noChangeShapeType="1"/>
              </p:cNvSpPr>
              <p:nvPr/>
            </p:nvSpPr>
            <p:spPr bwMode="auto">
              <a:xfrm>
                <a:off x="0" y="1154833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9" name="直接连接符 2435"/>
              <p:cNvSpPr>
                <a:spLocks noChangeShapeType="1"/>
              </p:cNvSpPr>
              <p:nvPr/>
            </p:nvSpPr>
            <p:spPr bwMode="auto">
              <a:xfrm>
                <a:off x="0" y="819275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0" name="直接连接符 2436"/>
              <p:cNvSpPr>
                <a:spLocks noChangeShapeType="1"/>
              </p:cNvSpPr>
              <p:nvPr/>
            </p:nvSpPr>
            <p:spPr bwMode="auto">
              <a:xfrm>
                <a:off x="0" y="483717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1" name="直接连接符 2437"/>
              <p:cNvSpPr>
                <a:spLocks noChangeShapeType="1"/>
              </p:cNvSpPr>
              <p:nvPr/>
            </p:nvSpPr>
            <p:spPr bwMode="auto">
              <a:xfrm>
                <a:off x="0" y="148159"/>
                <a:ext cx="108000" cy="1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32" name="直接连接符 2462"/>
            <p:cNvSpPr>
              <a:spLocks noChangeShapeType="1"/>
            </p:cNvSpPr>
            <p:nvPr/>
          </p:nvSpPr>
          <p:spPr bwMode="auto">
            <a:xfrm rot="5400000" flipV="1">
              <a:off x="4485482" y="3842544"/>
              <a:ext cx="107950" cy="158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" name="直接连接符 2463"/>
            <p:cNvSpPr>
              <a:spLocks noChangeShapeType="1"/>
            </p:cNvSpPr>
            <p:nvPr/>
          </p:nvSpPr>
          <p:spPr bwMode="auto">
            <a:xfrm rot="5400000" flipV="1">
              <a:off x="4148138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4" name="直接连接符 2464"/>
            <p:cNvSpPr>
              <a:spLocks noChangeShapeType="1"/>
            </p:cNvSpPr>
            <p:nvPr/>
          </p:nvSpPr>
          <p:spPr bwMode="auto">
            <a:xfrm rot="5400000" flipV="1">
              <a:off x="3810000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" name="直接连接符 2465"/>
            <p:cNvSpPr>
              <a:spLocks noChangeShapeType="1"/>
            </p:cNvSpPr>
            <p:nvPr/>
          </p:nvSpPr>
          <p:spPr bwMode="auto">
            <a:xfrm rot="5400000" flipV="1">
              <a:off x="3472657" y="3842544"/>
              <a:ext cx="107950" cy="158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6" name="直接连接符 2466"/>
            <p:cNvSpPr>
              <a:spLocks noChangeShapeType="1"/>
            </p:cNvSpPr>
            <p:nvPr/>
          </p:nvSpPr>
          <p:spPr bwMode="auto">
            <a:xfrm rot="5400000" flipV="1">
              <a:off x="3134519" y="3842544"/>
              <a:ext cx="107950" cy="158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7" name="直接连接符 2467"/>
            <p:cNvSpPr>
              <a:spLocks noChangeShapeType="1"/>
            </p:cNvSpPr>
            <p:nvPr/>
          </p:nvSpPr>
          <p:spPr bwMode="auto">
            <a:xfrm rot="5400000" flipV="1">
              <a:off x="2797175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8" name="直接连接符 2468"/>
            <p:cNvSpPr>
              <a:spLocks noChangeShapeType="1"/>
            </p:cNvSpPr>
            <p:nvPr/>
          </p:nvSpPr>
          <p:spPr bwMode="auto">
            <a:xfrm rot="5400000" flipV="1">
              <a:off x="2459832" y="3842544"/>
              <a:ext cx="107950" cy="158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9" name="直接连接符 2469"/>
            <p:cNvSpPr>
              <a:spLocks noChangeShapeType="1"/>
            </p:cNvSpPr>
            <p:nvPr/>
          </p:nvSpPr>
          <p:spPr bwMode="auto">
            <a:xfrm rot="5400000" flipV="1">
              <a:off x="2121694" y="3842544"/>
              <a:ext cx="107950" cy="158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0" name="直接连接符 2470"/>
            <p:cNvSpPr>
              <a:spLocks noChangeShapeType="1"/>
            </p:cNvSpPr>
            <p:nvPr/>
          </p:nvSpPr>
          <p:spPr bwMode="auto">
            <a:xfrm rot="5400000" flipV="1">
              <a:off x="1784350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1" name="直接连接符 2471"/>
            <p:cNvSpPr>
              <a:spLocks noChangeShapeType="1"/>
            </p:cNvSpPr>
            <p:nvPr/>
          </p:nvSpPr>
          <p:spPr bwMode="auto">
            <a:xfrm rot="5400000" flipV="1">
              <a:off x="6173788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2" name="直接连接符 2472"/>
            <p:cNvSpPr>
              <a:spLocks noChangeShapeType="1"/>
            </p:cNvSpPr>
            <p:nvPr/>
          </p:nvSpPr>
          <p:spPr bwMode="auto">
            <a:xfrm rot="5400000" flipV="1">
              <a:off x="5835650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3" name="直接连接符 2473"/>
            <p:cNvSpPr>
              <a:spLocks noChangeShapeType="1"/>
            </p:cNvSpPr>
            <p:nvPr/>
          </p:nvSpPr>
          <p:spPr bwMode="auto">
            <a:xfrm rot="5400000" flipV="1">
              <a:off x="5499100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4" name="直接连接符 2474"/>
            <p:cNvSpPr>
              <a:spLocks noChangeShapeType="1"/>
            </p:cNvSpPr>
            <p:nvPr/>
          </p:nvSpPr>
          <p:spPr bwMode="auto">
            <a:xfrm rot="5400000" flipV="1">
              <a:off x="5160963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5" name="直接连接符 2475"/>
            <p:cNvSpPr>
              <a:spLocks noChangeShapeType="1"/>
            </p:cNvSpPr>
            <p:nvPr/>
          </p:nvSpPr>
          <p:spPr bwMode="auto">
            <a:xfrm rot="5400000" flipV="1">
              <a:off x="4822825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6" name="直接连接符 2476"/>
            <p:cNvSpPr>
              <a:spLocks noChangeShapeType="1"/>
            </p:cNvSpPr>
            <p:nvPr/>
          </p:nvSpPr>
          <p:spPr bwMode="auto">
            <a:xfrm rot="5400000" flipV="1">
              <a:off x="6473032" y="3842544"/>
              <a:ext cx="107950" cy="158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7" name="直接连接符 2481"/>
            <p:cNvSpPr>
              <a:spLocks noChangeShapeType="1"/>
            </p:cNvSpPr>
            <p:nvPr/>
          </p:nvSpPr>
          <p:spPr bwMode="auto">
            <a:xfrm rot="5400000" flipV="1">
              <a:off x="6769100" y="3843338"/>
              <a:ext cx="10795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8" name="直接连接符 2482"/>
            <p:cNvSpPr>
              <a:spLocks noChangeShapeType="1"/>
            </p:cNvSpPr>
            <p:nvPr/>
          </p:nvSpPr>
          <p:spPr bwMode="auto">
            <a:xfrm rot="5400000" flipV="1">
              <a:off x="7068344" y="3842544"/>
              <a:ext cx="107950" cy="1588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51" name="文本框 150"/>
          <p:cNvSpPr txBox="1"/>
          <p:nvPr/>
        </p:nvSpPr>
        <p:spPr>
          <a:xfrm>
            <a:off x="9892137" y="3239756"/>
            <a:ext cx="116946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90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班</a:t>
            </a:r>
            <a:r>
              <a:rPr lang="en-US" altLang="zh-CN" dirty="0"/>
              <a:t>/</a:t>
            </a:r>
            <a:r>
              <a:rPr lang="zh-CN" altLang="en-US" dirty="0"/>
              <a:t>年级横向对比图</a:t>
            </a:r>
          </a:p>
        </p:txBody>
      </p:sp>
      <p:sp>
        <p:nvSpPr>
          <p:cNvPr id="152" name="文本框 151"/>
          <p:cNvSpPr txBox="1"/>
          <p:nvPr/>
        </p:nvSpPr>
        <p:spPr>
          <a:xfrm>
            <a:off x="9913595" y="5332232"/>
            <a:ext cx="127727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90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dirty="0"/>
              <a:t>个人与班平均成绩</a:t>
            </a:r>
          </a:p>
        </p:txBody>
      </p:sp>
      <p:sp>
        <p:nvSpPr>
          <p:cNvPr id="153" name="同侧圆角矩形 152"/>
          <p:cNvSpPr/>
          <p:nvPr/>
        </p:nvSpPr>
        <p:spPr>
          <a:xfrm>
            <a:off x="1907238" y="789093"/>
            <a:ext cx="8951060" cy="80317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>
              <a:lumMod val="5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作业批阅流程图</a:t>
            </a:r>
          </a:p>
        </p:txBody>
      </p:sp>
      <p:pic>
        <p:nvPicPr>
          <p:cNvPr id="154" name="Picture 5" descr="\\MAGNUM\Projects\Microsoft\Cloud Power FY12\Design\Icons\PNGs\Stop_watch.png"/>
          <p:cNvPicPr>
            <a:picLocks noChangeAspect="1" noChangeArrowheads="1"/>
          </p:cNvPicPr>
          <p:nvPr/>
        </p:nvPicPr>
        <p:blipFill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32976" y="4167742"/>
            <a:ext cx="394789" cy="394686"/>
          </a:xfrm>
          <a:prstGeom prst="rect">
            <a:avLst/>
          </a:prstGeom>
          <a:noFill/>
        </p:spPr>
      </p:pic>
      <p:pic>
        <p:nvPicPr>
          <p:cNvPr id="155" name="Picture 5" descr="\\MAGNUM\Projects\Microsoft\Cloud Power FY12\Design\Icons\PNGs\Stop_watch.png"/>
          <p:cNvPicPr>
            <a:picLocks noChangeAspect="1" noChangeArrowheads="1"/>
          </p:cNvPicPr>
          <p:nvPr/>
        </p:nvPicPr>
        <p:blipFill>
          <a:blip r:embed="rId3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43057" y="3280380"/>
            <a:ext cx="394789" cy="394686"/>
          </a:xfrm>
          <a:prstGeom prst="rect">
            <a:avLst/>
          </a:prstGeom>
          <a:noFill/>
        </p:spPr>
      </p:pic>
      <p:grpSp>
        <p:nvGrpSpPr>
          <p:cNvPr id="156" name="组合 155"/>
          <p:cNvGrpSpPr/>
          <p:nvPr/>
        </p:nvGrpSpPr>
        <p:grpSpPr>
          <a:xfrm>
            <a:off x="4727207" y="2399796"/>
            <a:ext cx="545646" cy="698522"/>
            <a:chOff x="877613" y="2993652"/>
            <a:chExt cx="716269" cy="916948"/>
          </a:xfrm>
          <a:solidFill>
            <a:schemeClr val="bg1"/>
          </a:solidFill>
        </p:grpSpPr>
        <p:sp>
          <p:nvSpPr>
            <p:cNvPr id="157" name="Freeform 1888"/>
            <p:cNvSpPr>
              <a:spLocks/>
            </p:cNvSpPr>
            <p:nvPr/>
          </p:nvSpPr>
          <p:spPr bwMode="auto">
            <a:xfrm>
              <a:off x="877613" y="3438232"/>
              <a:ext cx="716269" cy="472368"/>
            </a:xfrm>
            <a:custGeom>
              <a:avLst/>
              <a:gdLst>
                <a:gd name="T0" fmla="*/ 90 w 98"/>
                <a:gd name="T1" fmla="*/ 16 h 65"/>
                <a:gd name="T2" fmla="*/ 71 w 98"/>
                <a:gd name="T3" fmla="*/ 5 h 65"/>
                <a:gd name="T4" fmla="*/ 63 w 98"/>
                <a:gd name="T5" fmla="*/ 0 h 65"/>
                <a:gd name="T6" fmla="*/ 34 w 98"/>
                <a:gd name="T7" fmla="*/ 0 h 65"/>
                <a:gd name="T8" fmla="*/ 16 w 98"/>
                <a:gd name="T9" fmla="*/ 9 h 65"/>
                <a:gd name="T10" fmla="*/ 9 w 98"/>
                <a:gd name="T11" fmla="*/ 14 h 65"/>
                <a:gd name="T12" fmla="*/ 0 w 98"/>
                <a:gd name="T13" fmla="*/ 49 h 65"/>
                <a:gd name="T14" fmla="*/ 3 w 98"/>
                <a:gd name="T15" fmla="*/ 55 h 65"/>
                <a:gd name="T16" fmla="*/ 46 w 98"/>
                <a:gd name="T17" fmla="*/ 64 h 65"/>
                <a:gd name="T18" fmla="*/ 93 w 98"/>
                <a:gd name="T19" fmla="*/ 56 h 65"/>
                <a:gd name="T20" fmla="*/ 96 w 98"/>
                <a:gd name="T21" fmla="*/ 53 h 65"/>
                <a:gd name="T22" fmla="*/ 90 w 98"/>
                <a:gd name="T23" fmla="*/ 1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65">
                  <a:moveTo>
                    <a:pt x="90" y="16"/>
                  </a:moveTo>
                  <a:cubicBezTo>
                    <a:pt x="87" y="10"/>
                    <a:pt x="71" y="5"/>
                    <a:pt x="71" y="5"/>
                  </a:cubicBezTo>
                  <a:cubicBezTo>
                    <a:pt x="63" y="2"/>
                    <a:pt x="63" y="0"/>
                    <a:pt x="63" y="0"/>
                  </a:cubicBezTo>
                  <a:cubicBezTo>
                    <a:pt x="46" y="32"/>
                    <a:pt x="34" y="0"/>
                    <a:pt x="34" y="0"/>
                  </a:cubicBezTo>
                  <a:cubicBezTo>
                    <a:pt x="33" y="4"/>
                    <a:pt x="16" y="9"/>
                    <a:pt x="16" y="9"/>
                  </a:cubicBezTo>
                  <a:cubicBezTo>
                    <a:pt x="11" y="11"/>
                    <a:pt x="9" y="14"/>
                    <a:pt x="9" y="14"/>
                  </a:cubicBezTo>
                  <a:cubicBezTo>
                    <a:pt x="1" y="25"/>
                    <a:pt x="0" y="49"/>
                    <a:pt x="0" y="49"/>
                  </a:cubicBezTo>
                  <a:cubicBezTo>
                    <a:pt x="1" y="55"/>
                    <a:pt x="3" y="55"/>
                    <a:pt x="3" y="55"/>
                  </a:cubicBezTo>
                  <a:cubicBezTo>
                    <a:pt x="20" y="63"/>
                    <a:pt x="46" y="64"/>
                    <a:pt x="46" y="64"/>
                  </a:cubicBezTo>
                  <a:cubicBezTo>
                    <a:pt x="73" y="65"/>
                    <a:pt x="93" y="56"/>
                    <a:pt x="93" y="56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8" y="36"/>
                    <a:pt x="90" y="16"/>
                    <a:pt x="9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8" name="Freeform 1889"/>
            <p:cNvSpPr>
              <a:spLocks noEditPoints="1"/>
            </p:cNvSpPr>
            <p:nvPr/>
          </p:nvSpPr>
          <p:spPr bwMode="auto">
            <a:xfrm>
              <a:off x="1065943" y="2993652"/>
              <a:ext cx="345785" cy="472368"/>
            </a:xfrm>
            <a:custGeom>
              <a:avLst/>
              <a:gdLst>
                <a:gd name="T0" fmla="*/ 43 w 47"/>
                <a:gd name="T1" fmla="*/ 34 h 65"/>
                <a:gd name="T2" fmla="*/ 41 w 47"/>
                <a:gd name="T3" fmla="*/ 13 h 65"/>
                <a:gd name="T4" fmla="*/ 31 w 47"/>
                <a:gd name="T5" fmla="*/ 8 h 65"/>
                <a:gd name="T6" fmla="*/ 28 w 47"/>
                <a:gd name="T7" fmla="*/ 7 h 65"/>
                <a:gd name="T8" fmla="*/ 24 w 47"/>
                <a:gd name="T9" fmla="*/ 1 h 65"/>
                <a:gd name="T10" fmla="*/ 22 w 47"/>
                <a:gd name="T11" fmla="*/ 3 h 65"/>
                <a:gd name="T12" fmla="*/ 24 w 47"/>
                <a:gd name="T13" fmla="*/ 0 h 65"/>
                <a:gd name="T14" fmla="*/ 22 w 47"/>
                <a:gd name="T15" fmla="*/ 2 h 65"/>
                <a:gd name="T16" fmla="*/ 19 w 47"/>
                <a:gd name="T17" fmla="*/ 6 h 65"/>
                <a:gd name="T18" fmla="*/ 19 w 47"/>
                <a:gd name="T19" fmla="*/ 5 h 65"/>
                <a:gd name="T20" fmla="*/ 18 w 47"/>
                <a:gd name="T21" fmla="*/ 5 h 65"/>
                <a:gd name="T22" fmla="*/ 15 w 47"/>
                <a:gd name="T23" fmla="*/ 5 h 65"/>
                <a:gd name="T24" fmla="*/ 2 w 47"/>
                <a:gd name="T25" fmla="*/ 18 h 65"/>
                <a:gd name="T26" fmla="*/ 3 w 47"/>
                <a:gd name="T27" fmla="*/ 34 h 65"/>
                <a:gd name="T28" fmla="*/ 2 w 47"/>
                <a:gd name="T29" fmla="*/ 40 h 65"/>
                <a:gd name="T30" fmla="*/ 4 w 47"/>
                <a:gd name="T31" fmla="*/ 43 h 65"/>
                <a:gd name="T32" fmla="*/ 22 w 47"/>
                <a:gd name="T33" fmla="*/ 65 h 65"/>
                <a:gd name="T34" fmla="*/ 42 w 47"/>
                <a:gd name="T35" fmla="*/ 43 h 65"/>
                <a:gd name="T36" fmla="*/ 43 w 47"/>
                <a:gd name="T37" fmla="*/ 40 h 65"/>
                <a:gd name="T38" fmla="*/ 43 w 47"/>
                <a:gd name="T39" fmla="*/ 34 h 65"/>
                <a:gd name="T40" fmla="*/ 20 w 47"/>
                <a:gd name="T41" fmla="*/ 5 h 65"/>
                <a:gd name="T42" fmla="*/ 20 w 47"/>
                <a:gd name="T43" fmla="*/ 5 h 65"/>
                <a:gd name="T44" fmla="*/ 22 w 47"/>
                <a:gd name="T45" fmla="*/ 2 h 65"/>
                <a:gd name="T46" fmla="*/ 20 w 47"/>
                <a:gd name="T47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65">
                  <a:moveTo>
                    <a:pt x="43" y="34"/>
                  </a:moveTo>
                  <a:cubicBezTo>
                    <a:pt x="44" y="31"/>
                    <a:pt x="47" y="20"/>
                    <a:pt x="41" y="13"/>
                  </a:cubicBezTo>
                  <a:cubicBezTo>
                    <a:pt x="41" y="13"/>
                    <a:pt x="38" y="10"/>
                    <a:pt x="31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6"/>
                    <a:pt x="24" y="3"/>
                    <a:pt x="24" y="1"/>
                  </a:cubicBezTo>
                  <a:cubicBezTo>
                    <a:pt x="24" y="1"/>
                    <a:pt x="23" y="2"/>
                    <a:pt x="22" y="3"/>
                  </a:cubicBezTo>
                  <a:cubicBezTo>
                    <a:pt x="22" y="2"/>
                    <a:pt x="23" y="1"/>
                    <a:pt x="24" y="0"/>
                  </a:cubicBezTo>
                  <a:cubicBezTo>
                    <a:pt x="24" y="0"/>
                    <a:pt x="23" y="1"/>
                    <a:pt x="22" y="2"/>
                  </a:cubicBezTo>
                  <a:cubicBezTo>
                    <a:pt x="21" y="2"/>
                    <a:pt x="19" y="3"/>
                    <a:pt x="19" y="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7" y="5"/>
                    <a:pt x="15" y="5"/>
                    <a:pt x="15" y="5"/>
                  </a:cubicBezTo>
                  <a:cubicBezTo>
                    <a:pt x="15" y="5"/>
                    <a:pt x="5" y="9"/>
                    <a:pt x="2" y="18"/>
                  </a:cubicBezTo>
                  <a:cubicBezTo>
                    <a:pt x="2" y="18"/>
                    <a:pt x="1" y="22"/>
                    <a:pt x="3" y="34"/>
                  </a:cubicBezTo>
                  <a:cubicBezTo>
                    <a:pt x="0" y="32"/>
                    <a:pt x="2" y="40"/>
                    <a:pt x="2" y="40"/>
                  </a:cubicBezTo>
                  <a:cubicBezTo>
                    <a:pt x="2" y="42"/>
                    <a:pt x="3" y="43"/>
                    <a:pt x="4" y="43"/>
                  </a:cubicBezTo>
                  <a:cubicBezTo>
                    <a:pt x="5" y="54"/>
                    <a:pt x="14" y="65"/>
                    <a:pt x="22" y="65"/>
                  </a:cubicBezTo>
                  <a:cubicBezTo>
                    <a:pt x="31" y="65"/>
                    <a:pt x="40" y="53"/>
                    <a:pt x="42" y="43"/>
                  </a:cubicBezTo>
                  <a:cubicBezTo>
                    <a:pt x="42" y="43"/>
                    <a:pt x="43" y="42"/>
                    <a:pt x="43" y="40"/>
                  </a:cubicBezTo>
                  <a:cubicBezTo>
                    <a:pt x="43" y="40"/>
                    <a:pt x="45" y="33"/>
                    <a:pt x="43" y="34"/>
                  </a:cubicBezTo>
                  <a:close/>
                  <a:moveTo>
                    <a:pt x="20" y="5"/>
                  </a:move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1" y="3"/>
                    <a:pt x="22" y="2"/>
                  </a:cubicBezTo>
                  <a:cubicBezTo>
                    <a:pt x="21" y="3"/>
                    <a:pt x="21" y="4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59" name="文本框 158"/>
          <p:cNvSpPr txBox="1"/>
          <p:nvPr/>
        </p:nvSpPr>
        <p:spPr>
          <a:xfrm>
            <a:off x="9084557" y="3715095"/>
            <a:ext cx="226314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defRPr>
            </a:lvl1pPr>
          </a:lstStyle>
          <a:p>
            <a:r>
              <a:rPr lang="zh-CN" altLang="en-US" sz="1300" dirty="0"/>
              <a:t>批阅完成后平台自动将作业结果数据反馈给老师和家长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2047415" y="2670551"/>
            <a:ext cx="1379563" cy="1574359"/>
            <a:chOff x="2047415" y="2523466"/>
            <a:chExt cx="1379563" cy="1574359"/>
          </a:xfrm>
        </p:grpSpPr>
        <p:pic>
          <p:nvPicPr>
            <p:cNvPr id="34" name="Picture 2" descr="C:\Users\cesardl\Desktop\Book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7415" y="2842463"/>
              <a:ext cx="1379563" cy="1255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7" name="组合 36"/>
            <p:cNvGrpSpPr/>
            <p:nvPr/>
          </p:nvGrpSpPr>
          <p:grpSpPr>
            <a:xfrm>
              <a:off x="2319150" y="2523466"/>
              <a:ext cx="1102561" cy="751165"/>
              <a:chOff x="2387255" y="3048635"/>
              <a:chExt cx="1230312" cy="838200"/>
            </a:xfrm>
          </p:grpSpPr>
          <p:sp>
            <p:nvSpPr>
              <p:cNvPr id="31" name="Freeform 29"/>
              <p:cNvSpPr>
                <a:spLocks noEditPoints="1"/>
              </p:cNvSpPr>
              <p:nvPr/>
            </p:nvSpPr>
            <p:spPr bwMode="auto">
              <a:xfrm>
                <a:off x="2387255" y="3048635"/>
                <a:ext cx="1230312" cy="838200"/>
              </a:xfrm>
              <a:custGeom>
                <a:avLst/>
                <a:gdLst>
                  <a:gd name="T0" fmla="*/ 947 w 956"/>
                  <a:gd name="T1" fmla="*/ 481 h 652"/>
                  <a:gd name="T2" fmla="*/ 839 w 956"/>
                  <a:gd name="T3" fmla="*/ 231 h 652"/>
                  <a:gd name="T4" fmla="*/ 748 w 956"/>
                  <a:gd name="T5" fmla="*/ 174 h 652"/>
                  <a:gd name="T6" fmla="*/ 746 w 956"/>
                  <a:gd name="T7" fmla="*/ 145 h 652"/>
                  <a:gd name="T8" fmla="*/ 745 w 956"/>
                  <a:gd name="T9" fmla="*/ 121 h 652"/>
                  <a:gd name="T10" fmla="*/ 743 w 956"/>
                  <a:gd name="T11" fmla="*/ 96 h 652"/>
                  <a:gd name="T12" fmla="*/ 740 w 956"/>
                  <a:gd name="T13" fmla="*/ 68 h 652"/>
                  <a:gd name="T14" fmla="*/ 736 w 956"/>
                  <a:gd name="T15" fmla="*/ 51 h 652"/>
                  <a:gd name="T16" fmla="*/ 147 w 956"/>
                  <a:gd name="T17" fmla="*/ 0 h 652"/>
                  <a:gd name="T18" fmla="*/ 113 w 956"/>
                  <a:gd name="T19" fmla="*/ 0 h 652"/>
                  <a:gd name="T20" fmla="*/ 30 w 956"/>
                  <a:gd name="T21" fmla="*/ 153 h 652"/>
                  <a:gd name="T22" fmla="*/ 18 w 956"/>
                  <a:gd name="T23" fmla="*/ 158 h 652"/>
                  <a:gd name="T24" fmla="*/ 89 w 956"/>
                  <a:gd name="T25" fmla="*/ 102 h 652"/>
                  <a:gd name="T26" fmla="*/ 116 w 956"/>
                  <a:gd name="T27" fmla="*/ 191 h 652"/>
                  <a:gd name="T28" fmla="*/ 595 w 956"/>
                  <a:gd name="T29" fmla="*/ 64 h 652"/>
                  <a:gd name="T30" fmla="*/ 544 w 956"/>
                  <a:gd name="T31" fmla="*/ 286 h 652"/>
                  <a:gd name="T32" fmla="*/ 512 w 956"/>
                  <a:gd name="T33" fmla="*/ 240 h 652"/>
                  <a:gd name="T34" fmla="*/ 543 w 956"/>
                  <a:gd name="T35" fmla="*/ 224 h 652"/>
                  <a:gd name="T36" fmla="*/ 512 w 956"/>
                  <a:gd name="T37" fmla="*/ 183 h 652"/>
                  <a:gd name="T38" fmla="*/ 550 w 956"/>
                  <a:gd name="T39" fmla="*/ 168 h 652"/>
                  <a:gd name="T40" fmla="*/ 493 w 956"/>
                  <a:gd name="T41" fmla="*/ 301 h 652"/>
                  <a:gd name="T42" fmla="*/ 523 w 956"/>
                  <a:gd name="T43" fmla="*/ 332 h 652"/>
                  <a:gd name="T44" fmla="*/ 563 w 956"/>
                  <a:gd name="T45" fmla="*/ 401 h 652"/>
                  <a:gd name="T46" fmla="*/ 391 w 956"/>
                  <a:gd name="T47" fmla="*/ 405 h 652"/>
                  <a:gd name="T48" fmla="*/ 116 w 956"/>
                  <a:gd name="T49" fmla="*/ 405 h 652"/>
                  <a:gd name="T50" fmla="*/ 102 w 956"/>
                  <a:gd name="T51" fmla="*/ 267 h 652"/>
                  <a:gd name="T52" fmla="*/ 75 w 956"/>
                  <a:gd name="T53" fmla="*/ 267 h 652"/>
                  <a:gd name="T54" fmla="*/ 29 w 956"/>
                  <a:gd name="T55" fmla="*/ 303 h 652"/>
                  <a:gd name="T56" fmla="*/ 113 w 956"/>
                  <a:gd name="T57" fmla="*/ 468 h 652"/>
                  <a:gd name="T58" fmla="*/ 147 w 956"/>
                  <a:gd name="T59" fmla="*/ 468 h 652"/>
                  <a:gd name="T60" fmla="*/ 631 w 956"/>
                  <a:gd name="T61" fmla="*/ 502 h 652"/>
                  <a:gd name="T62" fmla="*/ 725 w 956"/>
                  <a:gd name="T63" fmla="*/ 613 h 652"/>
                  <a:gd name="T64" fmla="*/ 764 w 956"/>
                  <a:gd name="T65" fmla="*/ 652 h 652"/>
                  <a:gd name="T66" fmla="*/ 956 w 956"/>
                  <a:gd name="T67" fmla="*/ 652 h 652"/>
                  <a:gd name="T68" fmla="*/ 644 w 956"/>
                  <a:gd name="T69" fmla="*/ 443 h 652"/>
                  <a:gd name="T70" fmla="*/ 612 w 956"/>
                  <a:gd name="T71" fmla="*/ 396 h 652"/>
                  <a:gd name="T72" fmla="*/ 569 w 956"/>
                  <a:gd name="T73" fmla="*/ 348 h 652"/>
                  <a:gd name="T74" fmla="*/ 603 w 956"/>
                  <a:gd name="T75" fmla="*/ 303 h 652"/>
                  <a:gd name="T76" fmla="*/ 681 w 956"/>
                  <a:gd name="T77" fmla="*/ 361 h 652"/>
                  <a:gd name="T78" fmla="*/ 731 w 956"/>
                  <a:gd name="T79" fmla="*/ 388 h 652"/>
                  <a:gd name="T80" fmla="*/ 749 w 956"/>
                  <a:gd name="T81" fmla="*/ 228 h 652"/>
                  <a:gd name="T82" fmla="*/ 839 w 956"/>
                  <a:gd name="T83" fmla="*/ 285 h 652"/>
                  <a:gd name="T84" fmla="*/ 914 w 956"/>
                  <a:gd name="T85" fmla="*/ 612 h 652"/>
                  <a:gd name="T86" fmla="*/ 762 w 956"/>
                  <a:gd name="T87" fmla="*/ 564 h 652"/>
                  <a:gd name="T88" fmla="*/ 644 w 956"/>
                  <a:gd name="T89" fmla="*/ 443 h 652"/>
                  <a:gd name="T90" fmla="*/ 664 w 956"/>
                  <a:gd name="T91" fmla="*/ 269 h 652"/>
                  <a:gd name="T92" fmla="*/ 664 w 956"/>
                  <a:gd name="T93" fmla="*/ 200 h 652"/>
                  <a:gd name="T94" fmla="*/ 698 w 956"/>
                  <a:gd name="T95" fmla="*/ 234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56" h="652">
                    <a:moveTo>
                      <a:pt x="954" y="610"/>
                    </a:moveTo>
                    <a:cubicBezTo>
                      <a:pt x="954" y="600"/>
                      <a:pt x="951" y="508"/>
                      <a:pt x="947" y="481"/>
                    </a:cubicBezTo>
                    <a:cubicBezTo>
                      <a:pt x="940" y="433"/>
                      <a:pt x="917" y="347"/>
                      <a:pt x="875" y="266"/>
                    </a:cubicBezTo>
                    <a:cubicBezTo>
                      <a:pt x="867" y="251"/>
                      <a:pt x="854" y="239"/>
                      <a:pt x="839" y="231"/>
                    </a:cubicBezTo>
                    <a:cubicBezTo>
                      <a:pt x="806" y="213"/>
                      <a:pt x="775" y="197"/>
                      <a:pt x="748" y="182"/>
                    </a:cubicBezTo>
                    <a:cubicBezTo>
                      <a:pt x="748" y="179"/>
                      <a:pt x="748" y="177"/>
                      <a:pt x="748" y="174"/>
                    </a:cubicBezTo>
                    <a:cubicBezTo>
                      <a:pt x="748" y="172"/>
                      <a:pt x="748" y="171"/>
                      <a:pt x="747" y="169"/>
                    </a:cubicBezTo>
                    <a:cubicBezTo>
                      <a:pt x="747" y="161"/>
                      <a:pt x="747" y="153"/>
                      <a:pt x="746" y="145"/>
                    </a:cubicBezTo>
                    <a:cubicBezTo>
                      <a:pt x="746" y="143"/>
                      <a:pt x="746" y="141"/>
                      <a:pt x="746" y="140"/>
                    </a:cubicBezTo>
                    <a:cubicBezTo>
                      <a:pt x="745" y="133"/>
                      <a:pt x="745" y="127"/>
                      <a:pt x="745" y="121"/>
                    </a:cubicBezTo>
                    <a:cubicBezTo>
                      <a:pt x="744" y="118"/>
                      <a:pt x="744" y="115"/>
                      <a:pt x="744" y="112"/>
                    </a:cubicBezTo>
                    <a:cubicBezTo>
                      <a:pt x="743" y="107"/>
                      <a:pt x="743" y="102"/>
                      <a:pt x="743" y="96"/>
                    </a:cubicBezTo>
                    <a:cubicBezTo>
                      <a:pt x="742" y="93"/>
                      <a:pt x="742" y="91"/>
                      <a:pt x="742" y="88"/>
                    </a:cubicBezTo>
                    <a:cubicBezTo>
                      <a:pt x="741" y="81"/>
                      <a:pt x="740" y="74"/>
                      <a:pt x="740" y="68"/>
                    </a:cubicBezTo>
                    <a:cubicBezTo>
                      <a:pt x="739" y="67"/>
                      <a:pt x="739" y="65"/>
                      <a:pt x="739" y="64"/>
                    </a:cubicBezTo>
                    <a:cubicBezTo>
                      <a:pt x="739" y="60"/>
                      <a:pt x="738" y="55"/>
                      <a:pt x="736" y="51"/>
                    </a:cubicBezTo>
                    <a:cubicBezTo>
                      <a:pt x="726" y="22"/>
                      <a:pt x="695" y="0"/>
                      <a:pt x="663" y="0"/>
                    </a:cubicBezTo>
                    <a:cubicBezTo>
                      <a:pt x="476" y="0"/>
                      <a:pt x="330" y="0"/>
                      <a:pt x="147" y="0"/>
                    </a:cubicBezTo>
                    <a:cubicBezTo>
                      <a:pt x="147" y="0"/>
                      <a:pt x="147" y="0"/>
                      <a:pt x="147" y="0"/>
                    </a:cubicBezTo>
                    <a:cubicBezTo>
                      <a:pt x="136" y="0"/>
                      <a:pt x="125" y="0"/>
                      <a:pt x="113" y="0"/>
                    </a:cubicBezTo>
                    <a:cubicBezTo>
                      <a:pt x="76" y="0"/>
                      <a:pt x="41" y="29"/>
                      <a:pt x="37" y="64"/>
                    </a:cubicBezTo>
                    <a:cubicBezTo>
                      <a:pt x="34" y="94"/>
                      <a:pt x="31" y="123"/>
                      <a:pt x="30" y="153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18" y="158"/>
                      <a:pt x="18" y="158"/>
                      <a:pt x="18" y="158"/>
                    </a:cubicBezTo>
                    <a:cubicBezTo>
                      <a:pt x="75" y="201"/>
                      <a:pt x="75" y="201"/>
                      <a:pt x="75" y="201"/>
                    </a:cubicBezTo>
                    <a:cubicBezTo>
                      <a:pt x="89" y="102"/>
                      <a:pt x="89" y="102"/>
                      <a:pt x="89" y="102"/>
                    </a:cubicBezTo>
                    <a:cubicBezTo>
                      <a:pt x="102" y="201"/>
                      <a:pt x="102" y="201"/>
                      <a:pt x="102" y="201"/>
                    </a:cubicBezTo>
                    <a:cubicBezTo>
                      <a:pt x="116" y="191"/>
                      <a:pt x="116" y="191"/>
                      <a:pt x="116" y="191"/>
                    </a:cubicBezTo>
                    <a:cubicBezTo>
                      <a:pt x="116" y="64"/>
                      <a:pt x="116" y="64"/>
                      <a:pt x="116" y="64"/>
                    </a:cubicBezTo>
                    <a:cubicBezTo>
                      <a:pt x="595" y="64"/>
                      <a:pt x="595" y="64"/>
                      <a:pt x="595" y="64"/>
                    </a:cubicBezTo>
                    <a:cubicBezTo>
                      <a:pt x="595" y="263"/>
                      <a:pt x="595" y="263"/>
                      <a:pt x="595" y="263"/>
                    </a:cubicBezTo>
                    <a:cubicBezTo>
                      <a:pt x="574" y="265"/>
                      <a:pt x="557" y="274"/>
                      <a:pt x="544" y="286"/>
                    </a:cubicBezTo>
                    <a:cubicBezTo>
                      <a:pt x="512" y="286"/>
                      <a:pt x="512" y="286"/>
                      <a:pt x="512" y="286"/>
                    </a:cubicBezTo>
                    <a:cubicBezTo>
                      <a:pt x="512" y="240"/>
                      <a:pt x="512" y="240"/>
                      <a:pt x="512" y="240"/>
                    </a:cubicBezTo>
                    <a:cubicBezTo>
                      <a:pt x="543" y="240"/>
                      <a:pt x="543" y="240"/>
                      <a:pt x="543" y="240"/>
                    </a:cubicBezTo>
                    <a:cubicBezTo>
                      <a:pt x="543" y="224"/>
                      <a:pt x="543" y="224"/>
                      <a:pt x="543" y="224"/>
                    </a:cubicBezTo>
                    <a:cubicBezTo>
                      <a:pt x="512" y="224"/>
                      <a:pt x="512" y="224"/>
                      <a:pt x="512" y="224"/>
                    </a:cubicBezTo>
                    <a:cubicBezTo>
                      <a:pt x="512" y="183"/>
                      <a:pt x="512" y="183"/>
                      <a:pt x="512" y="183"/>
                    </a:cubicBezTo>
                    <a:cubicBezTo>
                      <a:pt x="550" y="183"/>
                      <a:pt x="550" y="183"/>
                      <a:pt x="550" y="183"/>
                    </a:cubicBezTo>
                    <a:cubicBezTo>
                      <a:pt x="550" y="168"/>
                      <a:pt x="550" y="168"/>
                      <a:pt x="550" y="168"/>
                    </a:cubicBezTo>
                    <a:cubicBezTo>
                      <a:pt x="493" y="168"/>
                      <a:pt x="493" y="168"/>
                      <a:pt x="493" y="168"/>
                    </a:cubicBezTo>
                    <a:cubicBezTo>
                      <a:pt x="493" y="301"/>
                      <a:pt x="493" y="301"/>
                      <a:pt x="493" y="301"/>
                    </a:cubicBezTo>
                    <a:cubicBezTo>
                      <a:pt x="532" y="301"/>
                      <a:pt x="532" y="301"/>
                      <a:pt x="532" y="301"/>
                    </a:cubicBezTo>
                    <a:cubicBezTo>
                      <a:pt x="526" y="311"/>
                      <a:pt x="523" y="321"/>
                      <a:pt x="523" y="332"/>
                    </a:cubicBezTo>
                    <a:cubicBezTo>
                      <a:pt x="523" y="344"/>
                      <a:pt x="527" y="357"/>
                      <a:pt x="535" y="370"/>
                    </a:cubicBezTo>
                    <a:cubicBezTo>
                      <a:pt x="542" y="381"/>
                      <a:pt x="552" y="391"/>
                      <a:pt x="563" y="401"/>
                    </a:cubicBezTo>
                    <a:cubicBezTo>
                      <a:pt x="564" y="403"/>
                      <a:pt x="565" y="404"/>
                      <a:pt x="566" y="405"/>
                    </a:cubicBezTo>
                    <a:cubicBezTo>
                      <a:pt x="391" y="405"/>
                      <a:pt x="391" y="405"/>
                      <a:pt x="391" y="405"/>
                    </a:cubicBezTo>
                    <a:cubicBezTo>
                      <a:pt x="391" y="405"/>
                      <a:pt x="391" y="405"/>
                      <a:pt x="391" y="405"/>
                    </a:cubicBezTo>
                    <a:cubicBezTo>
                      <a:pt x="116" y="405"/>
                      <a:pt x="116" y="405"/>
                      <a:pt x="116" y="405"/>
                    </a:cubicBezTo>
                    <a:cubicBezTo>
                      <a:pt x="116" y="277"/>
                      <a:pt x="116" y="277"/>
                      <a:pt x="116" y="277"/>
                    </a:cubicBezTo>
                    <a:cubicBezTo>
                      <a:pt x="102" y="267"/>
                      <a:pt x="102" y="267"/>
                      <a:pt x="102" y="267"/>
                    </a:cubicBezTo>
                    <a:cubicBezTo>
                      <a:pt x="89" y="367"/>
                      <a:pt x="89" y="367"/>
                      <a:pt x="89" y="367"/>
                    </a:cubicBezTo>
                    <a:cubicBezTo>
                      <a:pt x="75" y="267"/>
                      <a:pt x="75" y="267"/>
                      <a:pt x="75" y="267"/>
                    </a:cubicBezTo>
                    <a:cubicBezTo>
                      <a:pt x="28" y="303"/>
                      <a:pt x="28" y="303"/>
                      <a:pt x="28" y="303"/>
                    </a:cubicBezTo>
                    <a:cubicBezTo>
                      <a:pt x="29" y="303"/>
                      <a:pt x="29" y="303"/>
                      <a:pt x="29" y="303"/>
                    </a:cubicBezTo>
                    <a:cubicBezTo>
                      <a:pt x="30" y="337"/>
                      <a:pt x="33" y="371"/>
                      <a:pt x="37" y="405"/>
                    </a:cubicBezTo>
                    <a:cubicBezTo>
                      <a:pt x="41" y="440"/>
                      <a:pt x="76" y="468"/>
                      <a:pt x="113" y="468"/>
                    </a:cubicBezTo>
                    <a:cubicBezTo>
                      <a:pt x="125" y="468"/>
                      <a:pt x="136" y="468"/>
                      <a:pt x="147" y="468"/>
                    </a:cubicBezTo>
                    <a:cubicBezTo>
                      <a:pt x="147" y="468"/>
                      <a:pt x="147" y="468"/>
                      <a:pt x="147" y="468"/>
                    </a:cubicBezTo>
                    <a:cubicBezTo>
                      <a:pt x="313" y="468"/>
                      <a:pt x="448" y="468"/>
                      <a:pt x="611" y="468"/>
                    </a:cubicBezTo>
                    <a:cubicBezTo>
                      <a:pt x="618" y="480"/>
                      <a:pt x="624" y="491"/>
                      <a:pt x="631" y="502"/>
                    </a:cubicBezTo>
                    <a:cubicBezTo>
                      <a:pt x="664" y="552"/>
                      <a:pt x="698" y="575"/>
                      <a:pt x="723" y="589"/>
                    </a:cubicBezTo>
                    <a:cubicBezTo>
                      <a:pt x="725" y="613"/>
                      <a:pt x="725" y="613"/>
                      <a:pt x="725" y="613"/>
                    </a:cubicBezTo>
                    <a:cubicBezTo>
                      <a:pt x="726" y="652"/>
                      <a:pt x="726" y="652"/>
                      <a:pt x="726" y="652"/>
                    </a:cubicBezTo>
                    <a:cubicBezTo>
                      <a:pt x="764" y="652"/>
                      <a:pt x="764" y="652"/>
                      <a:pt x="764" y="652"/>
                    </a:cubicBezTo>
                    <a:cubicBezTo>
                      <a:pt x="914" y="652"/>
                      <a:pt x="914" y="652"/>
                      <a:pt x="914" y="652"/>
                    </a:cubicBezTo>
                    <a:cubicBezTo>
                      <a:pt x="956" y="652"/>
                      <a:pt x="956" y="652"/>
                      <a:pt x="956" y="652"/>
                    </a:cubicBezTo>
                    <a:lnTo>
                      <a:pt x="954" y="610"/>
                    </a:lnTo>
                    <a:close/>
                    <a:moveTo>
                      <a:pt x="644" y="443"/>
                    </a:moveTo>
                    <a:cubicBezTo>
                      <a:pt x="638" y="433"/>
                      <a:pt x="631" y="424"/>
                      <a:pt x="626" y="415"/>
                    </a:cubicBezTo>
                    <a:cubicBezTo>
                      <a:pt x="622" y="408"/>
                      <a:pt x="617" y="402"/>
                      <a:pt x="612" y="396"/>
                    </a:cubicBezTo>
                    <a:cubicBezTo>
                      <a:pt x="605" y="388"/>
                      <a:pt x="598" y="380"/>
                      <a:pt x="591" y="373"/>
                    </a:cubicBezTo>
                    <a:cubicBezTo>
                      <a:pt x="582" y="364"/>
                      <a:pt x="574" y="356"/>
                      <a:pt x="569" y="348"/>
                    </a:cubicBezTo>
                    <a:cubicBezTo>
                      <a:pt x="565" y="342"/>
                      <a:pt x="563" y="337"/>
                      <a:pt x="563" y="333"/>
                    </a:cubicBezTo>
                    <a:cubicBezTo>
                      <a:pt x="563" y="320"/>
                      <a:pt x="578" y="303"/>
                      <a:pt x="603" y="303"/>
                    </a:cubicBezTo>
                    <a:cubicBezTo>
                      <a:pt x="616" y="303"/>
                      <a:pt x="626" y="306"/>
                      <a:pt x="634" y="312"/>
                    </a:cubicBezTo>
                    <a:cubicBezTo>
                      <a:pt x="649" y="322"/>
                      <a:pt x="659" y="340"/>
                      <a:pt x="681" y="361"/>
                    </a:cubicBezTo>
                    <a:cubicBezTo>
                      <a:pt x="686" y="366"/>
                      <a:pt x="692" y="370"/>
                      <a:pt x="697" y="373"/>
                    </a:cubicBezTo>
                    <a:cubicBezTo>
                      <a:pt x="715" y="385"/>
                      <a:pt x="731" y="388"/>
                      <a:pt x="731" y="388"/>
                    </a:cubicBezTo>
                    <a:cubicBezTo>
                      <a:pt x="743" y="383"/>
                      <a:pt x="743" y="361"/>
                      <a:pt x="743" y="361"/>
                    </a:cubicBezTo>
                    <a:cubicBezTo>
                      <a:pt x="747" y="310"/>
                      <a:pt x="749" y="277"/>
                      <a:pt x="749" y="228"/>
                    </a:cubicBezTo>
                    <a:cubicBezTo>
                      <a:pt x="769" y="239"/>
                      <a:pt x="793" y="252"/>
                      <a:pt x="821" y="266"/>
                    </a:cubicBezTo>
                    <a:cubicBezTo>
                      <a:pt x="829" y="270"/>
                      <a:pt x="835" y="277"/>
                      <a:pt x="839" y="285"/>
                    </a:cubicBezTo>
                    <a:cubicBezTo>
                      <a:pt x="878" y="359"/>
                      <a:pt x="901" y="438"/>
                      <a:pt x="907" y="487"/>
                    </a:cubicBezTo>
                    <a:cubicBezTo>
                      <a:pt x="911" y="512"/>
                      <a:pt x="914" y="612"/>
                      <a:pt x="914" y="612"/>
                    </a:cubicBezTo>
                    <a:cubicBezTo>
                      <a:pt x="764" y="612"/>
                      <a:pt x="764" y="612"/>
                      <a:pt x="764" y="612"/>
                    </a:cubicBezTo>
                    <a:cubicBezTo>
                      <a:pt x="762" y="564"/>
                      <a:pt x="762" y="564"/>
                      <a:pt x="762" y="564"/>
                    </a:cubicBezTo>
                    <a:cubicBezTo>
                      <a:pt x="736" y="550"/>
                      <a:pt x="701" y="536"/>
                      <a:pt x="664" y="480"/>
                    </a:cubicBezTo>
                    <a:cubicBezTo>
                      <a:pt x="657" y="469"/>
                      <a:pt x="650" y="457"/>
                      <a:pt x="644" y="443"/>
                    </a:cubicBezTo>
                    <a:close/>
                    <a:moveTo>
                      <a:pt x="667" y="269"/>
                    </a:moveTo>
                    <a:cubicBezTo>
                      <a:pt x="666" y="269"/>
                      <a:pt x="665" y="269"/>
                      <a:pt x="664" y="269"/>
                    </a:cubicBezTo>
                    <a:cubicBezTo>
                      <a:pt x="645" y="269"/>
                      <a:pt x="629" y="254"/>
                      <a:pt x="629" y="234"/>
                    </a:cubicBezTo>
                    <a:cubicBezTo>
                      <a:pt x="629" y="215"/>
                      <a:pt x="645" y="200"/>
                      <a:pt x="664" y="200"/>
                    </a:cubicBezTo>
                    <a:cubicBezTo>
                      <a:pt x="671" y="200"/>
                      <a:pt x="678" y="202"/>
                      <a:pt x="683" y="206"/>
                    </a:cubicBezTo>
                    <a:cubicBezTo>
                      <a:pt x="692" y="212"/>
                      <a:pt x="698" y="222"/>
                      <a:pt x="698" y="234"/>
                    </a:cubicBezTo>
                    <a:cubicBezTo>
                      <a:pt x="698" y="252"/>
                      <a:pt x="685" y="267"/>
                      <a:pt x="667" y="2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lIns="68580" tIns="34290" rIns="68580" bIns="34290"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defRPr/>
                </a:pPr>
                <a:endParaRPr lang="zh-CN" alt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33" name="Oval 30"/>
              <p:cNvSpPr>
                <a:spLocks noChangeArrowheads="1"/>
              </p:cNvSpPr>
              <p:nvPr/>
            </p:nvSpPr>
            <p:spPr bwMode="auto">
              <a:xfrm>
                <a:off x="2470150" y="3325813"/>
                <a:ext cx="57150" cy="5556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lIns="68580" tIns="34290" rIns="68580" bIns="34290"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defRPr/>
                </a:pPr>
                <a:endParaRPr lang="zh-CN" altLang="en-US" sz="1350">
                  <a:solidFill>
                    <a:srgbClr val="000000"/>
                  </a:solidFill>
                  <a:latin typeface="微软雅黑"/>
                  <a:ea typeface="微软雅黑"/>
                </a:endParaRPr>
              </a:p>
            </p:txBody>
          </p:sp>
        </p:grpSp>
        <p:sp>
          <p:nvSpPr>
            <p:cNvPr id="2" name="文本框 1"/>
            <p:cNvSpPr txBox="1"/>
            <p:nvPr/>
          </p:nvSpPr>
          <p:spPr>
            <a:xfrm>
              <a:off x="2315578" y="3679520"/>
              <a:ext cx="88998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纸制练习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826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13"/>
          <p:cNvSpPr>
            <a:spLocks noChangeArrowheads="1"/>
          </p:cNvSpPr>
          <p:nvPr/>
        </p:nvSpPr>
        <p:spPr bwMode="auto">
          <a:xfrm>
            <a:off x="5583437" y="5088372"/>
            <a:ext cx="5611693" cy="11805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t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600" dirty="0">
              <a:solidFill>
                <a:schemeClr val="bg1"/>
              </a:solidFill>
              <a:latin typeface="+mn-ea"/>
              <a:ea typeface="+mn-ea"/>
              <a:sym typeface="宋体" panose="02010600030101010101" pitchFamily="2" charset="-122"/>
            </a:endParaRPr>
          </a:p>
        </p:txBody>
      </p:sp>
      <p:sp>
        <p:nvSpPr>
          <p:cNvPr id="250" name="Rectangle 7"/>
          <p:cNvSpPr>
            <a:spLocks noChangeArrowheads="1"/>
          </p:cNvSpPr>
          <p:nvPr/>
        </p:nvSpPr>
        <p:spPr bwMode="auto">
          <a:xfrm>
            <a:off x="1787899" y="1957178"/>
            <a:ext cx="1800000" cy="4315606"/>
          </a:xfrm>
          <a:prstGeom prst="rect">
            <a:avLst/>
          </a:pr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5</a:t>
            </a: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项</a:t>
            </a:r>
            <a:endParaRPr lang="en-US" altLang="zh-CN" sz="4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盈</a:t>
            </a:r>
            <a:endParaRPr lang="en-US" altLang="zh-CN" sz="4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利</a:t>
            </a:r>
            <a:endParaRPr lang="en-US" altLang="zh-CN" sz="4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模</a:t>
            </a:r>
            <a:endParaRPr lang="en-US" altLang="zh-CN" sz="4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式</a:t>
            </a:r>
            <a:endParaRPr lang="zh-CN" altLang="zh-CN" sz="4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9396033" y="1987867"/>
            <a:ext cx="1800000" cy="192299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anchor="t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600" dirty="0">
              <a:solidFill>
                <a:schemeClr val="bg1"/>
              </a:solidFill>
              <a:latin typeface="+mn-ea"/>
              <a:ea typeface="+mn-ea"/>
              <a:sym typeface="宋体" panose="02010600030101010101" pitchFamily="2" charset="-122"/>
            </a:endParaRPr>
          </a:p>
        </p:txBody>
      </p:sp>
      <p:pic>
        <p:nvPicPr>
          <p:cNvPr id="79" name="Picture 17"/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26361" y="2419192"/>
            <a:ext cx="1204681" cy="1092099"/>
          </a:xfrm>
          <a:prstGeom prst="rect">
            <a:avLst/>
          </a:prstGeom>
        </p:spPr>
      </p:pic>
      <p:sp>
        <p:nvSpPr>
          <p:cNvPr id="273" name="Rectangle 13">
            <a:extLst>
              <a:ext uri="{FF2B5EF4-FFF2-40B4-BE49-F238E27FC236}">
                <a16:creationId xmlns:a16="http://schemas.microsoft.com/office/drawing/2014/main" id="{01DA3DD3-22A8-4AC7-90DF-7E631C3A9E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5130" y="3968571"/>
            <a:ext cx="1800000" cy="102952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线上商城</a:t>
            </a:r>
            <a:endParaRPr lang="zh-CN" altLang="zh-CN" sz="2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3676398" y="1984610"/>
            <a:ext cx="1800000" cy="1922992"/>
          </a:xfrm>
          <a:prstGeom prst="rect">
            <a:avLst/>
          </a:prstGeom>
          <a:solidFill>
            <a:srgbClr val="A2B932"/>
          </a:solidFill>
          <a:ln>
            <a:noFill/>
          </a:ln>
        </p:spPr>
        <p:txBody>
          <a:bodyPr anchor="t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600" dirty="0">
              <a:solidFill>
                <a:schemeClr val="bg1"/>
              </a:solidFill>
              <a:latin typeface="+mn-ea"/>
              <a:ea typeface="+mn-ea"/>
              <a:sym typeface="宋体" panose="02010600030101010101" pitchFamily="2" charset="-122"/>
            </a:endParaRPr>
          </a:p>
        </p:txBody>
      </p:sp>
      <p:pic>
        <p:nvPicPr>
          <p:cNvPr id="61" name="图片 6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241" y="2196319"/>
            <a:ext cx="1139253" cy="1324501"/>
          </a:xfrm>
          <a:prstGeom prst="rect">
            <a:avLst/>
          </a:prstGeom>
        </p:spPr>
      </p:pic>
      <p:sp>
        <p:nvSpPr>
          <p:cNvPr id="252" name="Rectangle 13">
            <a:extLst>
              <a:ext uri="{FF2B5EF4-FFF2-40B4-BE49-F238E27FC236}">
                <a16:creationId xmlns:a16="http://schemas.microsoft.com/office/drawing/2014/main" id="{1334B601-1A95-457E-8774-660E61EEA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5495" y="3984699"/>
            <a:ext cx="1800000" cy="1029523"/>
          </a:xfrm>
          <a:prstGeom prst="rect">
            <a:avLst/>
          </a:prstGeom>
          <a:solidFill>
            <a:srgbClr val="A2B932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VIP</a:t>
            </a:r>
            <a:r>
              <a:rPr lang="zh-CN" altLang="en-US" sz="2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会员费</a:t>
            </a:r>
            <a:endParaRPr lang="zh-CN" altLang="zh-CN" sz="2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3668846" y="5092260"/>
            <a:ext cx="1798603" cy="11805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t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600" dirty="0">
              <a:solidFill>
                <a:schemeClr val="bg1"/>
              </a:solidFill>
              <a:latin typeface="+mn-ea"/>
              <a:ea typeface="+mn-ea"/>
              <a:sym typeface="宋体" panose="02010600030101010101" pitchFamily="2" charset="-122"/>
            </a:endParaRPr>
          </a:p>
        </p:txBody>
      </p:sp>
      <p:pic>
        <p:nvPicPr>
          <p:cNvPr id="62" name="图片 6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12" y="5293439"/>
            <a:ext cx="1120288" cy="975456"/>
          </a:xfrm>
          <a:prstGeom prst="rect">
            <a:avLst/>
          </a:prstGeom>
        </p:spPr>
      </p:pic>
      <p:sp>
        <p:nvSpPr>
          <p:cNvPr id="53" name="矩形 52">
            <a:extLst>
              <a:ext uri="{FF2B5EF4-FFF2-40B4-BE49-F238E27FC236}">
                <a16:creationId xmlns:a16="http://schemas.microsoft.com/office/drawing/2014/main" id="{56274A76-DF43-47A1-BEDA-EB3352E1355D}"/>
              </a:ext>
            </a:extLst>
          </p:cNvPr>
          <p:cNvSpPr/>
          <p:nvPr/>
        </p:nvSpPr>
        <p:spPr>
          <a:xfrm>
            <a:off x="4146832" y="5559734"/>
            <a:ext cx="15860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  <a:latin typeface="+mn-ea"/>
                <a:sym typeface="宋体" panose="02010600030101010101" pitchFamily="2" charset="-122"/>
              </a:rPr>
              <a:t>广告收入</a:t>
            </a:r>
            <a:endParaRPr lang="zh-CN" altLang="zh-CN" b="1" dirty="0">
              <a:solidFill>
                <a:schemeClr val="bg1"/>
              </a:solidFill>
              <a:latin typeface="+mn-ea"/>
              <a:sym typeface="宋体" panose="02010600030101010101" pitchFamily="2" charset="-122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50096D7C-16E8-40E7-A0A1-24FCE245326C}"/>
              </a:ext>
            </a:extLst>
          </p:cNvPr>
          <p:cNvSpPr/>
          <p:nvPr/>
        </p:nvSpPr>
        <p:spPr>
          <a:xfrm>
            <a:off x="5496539" y="3394963"/>
            <a:ext cx="900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chemeClr val="bg1"/>
                </a:solidFill>
                <a:latin typeface="+mn-ea"/>
                <a:sym typeface="宋体" panose="02010600030101010101" pitchFamily="2" charset="-122"/>
              </a:rPr>
              <a:t>作业批阅</a:t>
            </a:r>
            <a:endParaRPr lang="zh-CN" altLang="zh-CN" sz="1400" b="1" dirty="0">
              <a:solidFill>
                <a:schemeClr val="bg1"/>
              </a:solidFill>
              <a:latin typeface="+mn-ea"/>
              <a:sym typeface="宋体" panose="02010600030101010101" pitchFamily="2" charset="-122"/>
            </a:endParaRP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3742396C-6C83-43EB-94D4-F2942E2336C0}"/>
              </a:ext>
            </a:extLst>
          </p:cNvPr>
          <p:cNvSpPr txBox="1"/>
          <p:nvPr/>
        </p:nvSpPr>
        <p:spPr>
          <a:xfrm>
            <a:off x="5467449" y="4296883"/>
            <a:ext cx="8883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+mj-ea"/>
                <a:ea typeface="+mj-ea"/>
              </a:rPr>
              <a:t>300</a:t>
            </a:r>
            <a:r>
              <a:rPr lang="zh-CN" altLang="en-US" sz="1400" b="1" dirty="0">
                <a:solidFill>
                  <a:schemeClr val="bg1"/>
                </a:solidFill>
                <a:latin typeface="+mj-ea"/>
                <a:ea typeface="+mj-ea"/>
              </a:rPr>
              <a:t>元</a:t>
            </a:r>
            <a:r>
              <a:rPr lang="en-US" altLang="zh-CN" sz="1400" b="1" dirty="0">
                <a:solidFill>
                  <a:schemeClr val="bg1"/>
                </a:solidFill>
                <a:latin typeface="+mj-ea"/>
                <a:ea typeface="+mj-ea"/>
              </a:rPr>
              <a:t>/</a:t>
            </a:r>
            <a:r>
              <a:rPr lang="zh-CN" altLang="en-US" sz="1400" b="1" dirty="0">
                <a:solidFill>
                  <a:schemeClr val="bg1"/>
                </a:solidFill>
                <a:latin typeface="+mj-ea"/>
                <a:ea typeface="+mj-ea"/>
              </a:rPr>
              <a:t>年</a:t>
            </a: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5582943" y="1977796"/>
            <a:ext cx="1800000" cy="19229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anchor="t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600" dirty="0">
              <a:solidFill>
                <a:schemeClr val="bg1"/>
              </a:solidFill>
              <a:latin typeface="+mn-ea"/>
              <a:ea typeface="+mn-ea"/>
              <a:sym typeface="宋体" panose="02010600030101010101" pitchFamily="2" charset="-122"/>
            </a:endParaRPr>
          </a:p>
        </p:txBody>
      </p:sp>
      <p:grpSp>
        <p:nvGrpSpPr>
          <p:cNvPr id="71" name="组合 70"/>
          <p:cNvGrpSpPr/>
          <p:nvPr/>
        </p:nvGrpSpPr>
        <p:grpSpPr>
          <a:xfrm>
            <a:off x="5902497" y="2387170"/>
            <a:ext cx="1172827" cy="1104178"/>
            <a:chOff x="2100580" y="4462780"/>
            <a:chExt cx="318692" cy="268288"/>
          </a:xfrm>
        </p:grpSpPr>
        <p:sp>
          <p:nvSpPr>
            <p:cNvPr id="72" name="Freeform 1546"/>
            <p:cNvSpPr>
              <a:spLocks/>
            </p:cNvSpPr>
            <p:nvPr/>
          </p:nvSpPr>
          <p:spPr bwMode="auto">
            <a:xfrm>
              <a:off x="2194243" y="4474610"/>
              <a:ext cx="225029" cy="44715"/>
            </a:xfrm>
            <a:custGeom>
              <a:avLst/>
              <a:gdLst>
                <a:gd name="T0" fmla="*/ 0 w 174"/>
                <a:gd name="T1" fmla="*/ 54 h 54"/>
                <a:gd name="T2" fmla="*/ 0 w 174"/>
                <a:gd name="T3" fmla="*/ 0 h 54"/>
                <a:gd name="T4" fmla="*/ 174 w 174"/>
                <a:gd name="T5" fmla="*/ 0 h 54"/>
                <a:gd name="T6" fmla="*/ 174 w 174"/>
                <a:gd name="T7" fmla="*/ 54 h 54"/>
                <a:gd name="T8" fmla="*/ 0 w 174"/>
                <a:gd name="T9" fmla="*/ 54 h 54"/>
                <a:gd name="T10" fmla="*/ 0 w 174"/>
                <a:gd name="T1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4" h="54">
                  <a:moveTo>
                    <a:pt x="0" y="54"/>
                  </a:moveTo>
                  <a:lnTo>
                    <a:pt x="0" y="0"/>
                  </a:lnTo>
                  <a:lnTo>
                    <a:pt x="174" y="0"/>
                  </a:lnTo>
                  <a:lnTo>
                    <a:pt x="174" y="54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>
                <a:buFont typeface="Arial" panose="020B0604020202020204" pitchFamily="34" charset="0"/>
                <a:buNone/>
                <a:defRPr/>
              </a:pPr>
              <a:endParaRPr lang="zh-CN" altLang="en-US" sz="135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73" name="Freeform 1547"/>
            <p:cNvSpPr>
              <a:spLocks/>
            </p:cNvSpPr>
            <p:nvPr/>
          </p:nvSpPr>
          <p:spPr bwMode="auto">
            <a:xfrm>
              <a:off x="2194243" y="4577799"/>
              <a:ext cx="225029" cy="44715"/>
            </a:xfrm>
            <a:custGeom>
              <a:avLst/>
              <a:gdLst>
                <a:gd name="T0" fmla="*/ 0 w 174"/>
                <a:gd name="T1" fmla="*/ 53 h 53"/>
                <a:gd name="T2" fmla="*/ 0 w 174"/>
                <a:gd name="T3" fmla="*/ 0 h 53"/>
                <a:gd name="T4" fmla="*/ 174 w 174"/>
                <a:gd name="T5" fmla="*/ 0 h 53"/>
                <a:gd name="T6" fmla="*/ 174 w 174"/>
                <a:gd name="T7" fmla="*/ 53 h 53"/>
                <a:gd name="T8" fmla="*/ 0 w 174"/>
                <a:gd name="T9" fmla="*/ 53 h 53"/>
                <a:gd name="T10" fmla="*/ 0 w 174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4" h="53">
                  <a:moveTo>
                    <a:pt x="0" y="53"/>
                  </a:moveTo>
                  <a:lnTo>
                    <a:pt x="0" y="0"/>
                  </a:lnTo>
                  <a:lnTo>
                    <a:pt x="174" y="0"/>
                  </a:lnTo>
                  <a:lnTo>
                    <a:pt x="174" y="53"/>
                  </a:lnTo>
                  <a:lnTo>
                    <a:pt x="0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>
                <a:buFont typeface="Arial" panose="020B0604020202020204" pitchFamily="34" charset="0"/>
                <a:buNone/>
                <a:defRPr/>
              </a:pPr>
              <a:endParaRPr lang="zh-CN" altLang="en-US" sz="135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74" name="Freeform 1548"/>
            <p:cNvSpPr>
              <a:spLocks/>
            </p:cNvSpPr>
            <p:nvPr/>
          </p:nvSpPr>
          <p:spPr bwMode="auto">
            <a:xfrm>
              <a:off x="2194243" y="4677812"/>
              <a:ext cx="225029" cy="44715"/>
            </a:xfrm>
            <a:custGeom>
              <a:avLst/>
              <a:gdLst>
                <a:gd name="T0" fmla="*/ 0 w 174"/>
                <a:gd name="T1" fmla="*/ 53 h 53"/>
                <a:gd name="T2" fmla="*/ 0 w 174"/>
                <a:gd name="T3" fmla="*/ 0 h 53"/>
                <a:gd name="T4" fmla="*/ 174 w 174"/>
                <a:gd name="T5" fmla="*/ 0 h 53"/>
                <a:gd name="T6" fmla="*/ 174 w 174"/>
                <a:gd name="T7" fmla="*/ 53 h 53"/>
                <a:gd name="T8" fmla="*/ 0 w 174"/>
                <a:gd name="T9" fmla="*/ 53 h 53"/>
                <a:gd name="T10" fmla="*/ 0 w 174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4" h="53">
                  <a:moveTo>
                    <a:pt x="0" y="53"/>
                  </a:moveTo>
                  <a:lnTo>
                    <a:pt x="0" y="0"/>
                  </a:lnTo>
                  <a:lnTo>
                    <a:pt x="174" y="0"/>
                  </a:lnTo>
                  <a:lnTo>
                    <a:pt x="174" y="53"/>
                  </a:lnTo>
                  <a:lnTo>
                    <a:pt x="0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>
                <a:buFont typeface="Arial" panose="020B0604020202020204" pitchFamily="34" charset="0"/>
                <a:buNone/>
                <a:defRPr/>
              </a:pPr>
              <a:endParaRPr lang="zh-CN" altLang="en-US" sz="135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75" name="Freeform 1549"/>
            <p:cNvSpPr>
              <a:spLocks/>
            </p:cNvSpPr>
            <p:nvPr/>
          </p:nvSpPr>
          <p:spPr bwMode="auto">
            <a:xfrm>
              <a:off x="2105343" y="4462780"/>
              <a:ext cx="30162" cy="68263"/>
            </a:xfrm>
            <a:custGeom>
              <a:avLst/>
              <a:gdLst>
                <a:gd name="T0" fmla="*/ 0 w 16"/>
                <a:gd name="T1" fmla="*/ 11 h 36"/>
                <a:gd name="T2" fmla="*/ 0 w 16"/>
                <a:gd name="T3" fmla="*/ 6 h 36"/>
                <a:gd name="T4" fmla="*/ 5 w 16"/>
                <a:gd name="T5" fmla="*/ 5 h 36"/>
                <a:gd name="T6" fmla="*/ 9 w 16"/>
                <a:gd name="T7" fmla="*/ 4 h 36"/>
                <a:gd name="T8" fmla="*/ 10 w 16"/>
                <a:gd name="T9" fmla="*/ 1 h 36"/>
                <a:gd name="T10" fmla="*/ 10 w 16"/>
                <a:gd name="T11" fmla="*/ 0 h 36"/>
                <a:gd name="T12" fmla="*/ 16 w 16"/>
                <a:gd name="T13" fmla="*/ 0 h 36"/>
                <a:gd name="T14" fmla="*/ 16 w 16"/>
                <a:gd name="T15" fmla="*/ 36 h 36"/>
                <a:gd name="T16" fmla="*/ 9 w 16"/>
                <a:gd name="T17" fmla="*/ 36 h 36"/>
                <a:gd name="T18" fmla="*/ 9 w 16"/>
                <a:gd name="T19" fmla="*/ 11 h 36"/>
                <a:gd name="T20" fmla="*/ 0 w 16"/>
                <a:gd name="T2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6">
                  <a:moveTo>
                    <a:pt x="0" y="11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9" y="3"/>
                    <a:pt x="10" y="2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>
                <a:buFont typeface="Arial" panose="020B0604020202020204" pitchFamily="34" charset="0"/>
                <a:buNone/>
                <a:defRPr/>
              </a:pPr>
              <a:endParaRPr lang="zh-CN" altLang="en-US" sz="135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76" name="Freeform 1550"/>
            <p:cNvSpPr>
              <a:spLocks/>
            </p:cNvSpPr>
            <p:nvPr/>
          </p:nvSpPr>
          <p:spPr bwMode="auto">
            <a:xfrm>
              <a:off x="2103755" y="4562793"/>
              <a:ext cx="46038" cy="69850"/>
            </a:xfrm>
            <a:custGeom>
              <a:avLst/>
              <a:gdLst>
                <a:gd name="T0" fmla="*/ 1 w 24"/>
                <a:gd name="T1" fmla="*/ 30 h 37"/>
                <a:gd name="T2" fmla="*/ 8 w 24"/>
                <a:gd name="T3" fmla="*/ 22 h 37"/>
                <a:gd name="T4" fmla="*/ 15 w 24"/>
                <a:gd name="T5" fmla="*/ 17 h 37"/>
                <a:gd name="T6" fmla="*/ 17 w 24"/>
                <a:gd name="T7" fmla="*/ 12 h 37"/>
                <a:gd name="T8" fmla="*/ 16 w 24"/>
                <a:gd name="T9" fmla="*/ 8 h 37"/>
                <a:gd name="T10" fmla="*/ 12 w 24"/>
                <a:gd name="T11" fmla="*/ 6 h 37"/>
                <a:gd name="T12" fmla="*/ 8 w 24"/>
                <a:gd name="T13" fmla="*/ 9 h 37"/>
                <a:gd name="T14" fmla="*/ 7 w 24"/>
                <a:gd name="T15" fmla="*/ 13 h 37"/>
                <a:gd name="T16" fmla="*/ 0 w 24"/>
                <a:gd name="T17" fmla="*/ 13 h 37"/>
                <a:gd name="T18" fmla="*/ 2 w 24"/>
                <a:gd name="T19" fmla="*/ 6 h 37"/>
                <a:gd name="T20" fmla="*/ 12 w 24"/>
                <a:gd name="T21" fmla="*/ 0 h 37"/>
                <a:gd name="T22" fmla="*/ 21 w 24"/>
                <a:gd name="T23" fmla="*/ 4 h 37"/>
                <a:gd name="T24" fmla="*/ 24 w 24"/>
                <a:gd name="T25" fmla="*/ 12 h 37"/>
                <a:gd name="T26" fmla="*/ 22 w 24"/>
                <a:gd name="T27" fmla="*/ 19 h 37"/>
                <a:gd name="T28" fmla="*/ 17 w 24"/>
                <a:gd name="T29" fmla="*/ 24 h 37"/>
                <a:gd name="T30" fmla="*/ 14 w 24"/>
                <a:gd name="T31" fmla="*/ 26 h 37"/>
                <a:gd name="T32" fmla="*/ 10 w 24"/>
                <a:gd name="T33" fmla="*/ 28 h 37"/>
                <a:gd name="T34" fmla="*/ 8 w 24"/>
                <a:gd name="T35" fmla="*/ 30 h 37"/>
                <a:gd name="T36" fmla="*/ 24 w 24"/>
                <a:gd name="T37" fmla="*/ 30 h 37"/>
                <a:gd name="T38" fmla="*/ 24 w 24"/>
                <a:gd name="T39" fmla="*/ 37 h 37"/>
                <a:gd name="T40" fmla="*/ 0 w 24"/>
                <a:gd name="T41" fmla="*/ 37 h 37"/>
                <a:gd name="T42" fmla="*/ 1 w 24"/>
                <a:gd name="T43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37">
                  <a:moveTo>
                    <a:pt x="1" y="30"/>
                  </a:moveTo>
                  <a:cubicBezTo>
                    <a:pt x="2" y="27"/>
                    <a:pt x="5" y="25"/>
                    <a:pt x="8" y="22"/>
                  </a:cubicBezTo>
                  <a:cubicBezTo>
                    <a:pt x="12" y="20"/>
                    <a:pt x="14" y="18"/>
                    <a:pt x="15" y="17"/>
                  </a:cubicBezTo>
                  <a:cubicBezTo>
                    <a:pt x="16" y="15"/>
                    <a:pt x="17" y="14"/>
                    <a:pt x="17" y="12"/>
                  </a:cubicBezTo>
                  <a:cubicBezTo>
                    <a:pt x="17" y="10"/>
                    <a:pt x="16" y="9"/>
                    <a:pt x="16" y="8"/>
                  </a:cubicBezTo>
                  <a:cubicBezTo>
                    <a:pt x="15" y="7"/>
                    <a:pt x="14" y="6"/>
                    <a:pt x="12" y="6"/>
                  </a:cubicBezTo>
                  <a:cubicBezTo>
                    <a:pt x="10" y="6"/>
                    <a:pt x="8" y="7"/>
                    <a:pt x="8" y="9"/>
                  </a:cubicBezTo>
                  <a:cubicBezTo>
                    <a:pt x="7" y="10"/>
                    <a:pt x="7" y="11"/>
                    <a:pt x="7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1" y="8"/>
                    <a:pt x="2" y="6"/>
                  </a:cubicBezTo>
                  <a:cubicBezTo>
                    <a:pt x="3" y="2"/>
                    <a:pt x="7" y="0"/>
                    <a:pt x="12" y="0"/>
                  </a:cubicBezTo>
                  <a:cubicBezTo>
                    <a:pt x="15" y="0"/>
                    <a:pt x="18" y="1"/>
                    <a:pt x="21" y="4"/>
                  </a:cubicBezTo>
                  <a:cubicBezTo>
                    <a:pt x="23" y="6"/>
                    <a:pt x="24" y="8"/>
                    <a:pt x="24" y="12"/>
                  </a:cubicBezTo>
                  <a:cubicBezTo>
                    <a:pt x="24" y="15"/>
                    <a:pt x="23" y="17"/>
                    <a:pt x="22" y="19"/>
                  </a:cubicBezTo>
                  <a:cubicBezTo>
                    <a:pt x="21" y="20"/>
                    <a:pt x="19" y="22"/>
                    <a:pt x="17" y="24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2" y="27"/>
                    <a:pt x="11" y="28"/>
                    <a:pt x="10" y="28"/>
                  </a:cubicBezTo>
                  <a:cubicBezTo>
                    <a:pt x="9" y="29"/>
                    <a:pt x="9" y="30"/>
                    <a:pt x="8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4"/>
                    <a:pt x="0" y="32"/>
                    <a:pt x="1" y="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>
                <a:buFont typeface="Arial" panose="020B0604020202020204" pitchFamily="34" charset="0"/>
                <a:buNone/>
                <a:defRPr/>
              </a:pPr>
              <a:endParaRPr lang="zh-CN" altLang="en-US" sz="135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77" name="Freeform 1551"/>
            <p:cNvSpPr>
              <a:spLocks/>
            </p:cNvSpPr>
            <p:nvPr/>
          </p:nvSpPr>
          <p:spPr bwMode="auto">
            <a:xfrm>
              <a:off x="2100580" y="4659630"/>
              <a:ext cx="49213" cy="71438"/>
            </a:xfrm>
            <a:custGeom>
              <a:avLst/>
              <a:gdLst>
                <a:gd name="T0" fmla="*/ 7 w 25"/>
                <a:gd name="T1" fmla="*/ 25 h 37"/>
                <a:gd name="T2" fmla="*/ 8 w 25"/>
                <a:gd name="T3" fmla="*/ 29 h 37"/>
                <a:gd name="T4" fmla="*/ 13 w 25"/>
                <a:gd name="T5" fmla="*/ 32 h 37"/>
                <a:gd name="T6" fmla="*/ 16 w 25"/>
                <a:gd name="T7" fmla="*/ 30 h 37"/>
                <a:gd name="T8" fmla="*/ 18 w 25"/>
                <a:gd name="T9" fmla="*/ 26 h 37"/>
                <a:gd name="T10" fmla="*/ 15 w 25"/>
                <a:gd name="T11" fmla="*/ 21 h 37"/>
                <a:gd name="T12" fmla="*/ 10 w 25"/>
                <a:gd name="T13" fmla="*/ 21 h 37"/>
                <a:gd name="T14" fmla="*/ 10 w 25"/>
                <a:gd name="T15" fmla="*/ 16 h 37"/>
                <a:gd name="T16" fmla="*/ 15 w 25"/>
                <a:gd name="T17" fmla="*/ 15 h 37"/>
                <a:gd name="T18" fmla="*/ 17 w 25"/>
                <a:gd name="T19" fmla="*/ 11 h 37"/>
                <a:gd name="T20" fmla="*/ 16 w 25"/>
                <a:gd name="T21" fmla="*/ 7 h 37"/>
                <a:gd name="T22" fmla="*/ 12 w 25"/>
                <a:gd name="T23" fmla="*/ 6 h 37"/>
                <a:gd name="T24" fmla="*/ 9 w 25"/>
                <a:gd name="T25" fmla="*/ 8 h 37"/>
                <a:gd name="T26" fmla="*/ 8 w 25"/>
                <a:gd name="T27" fmla="*/ 12 h 37"/>
                <a:gd name="T28" fmla="*/ 1 w 25"/>
                <a:gd name="T29" fmla="*/ 12 h 37"/>
                <a:gd name="T30" fmla="*/ 2 w 25"/>
                <a:gd name="T31" fmla="*/ 7 h 37"/>
                <a:gd name="T32" fmla="*/ 5 w 25"/>
                <a:gd name="T33" fmla="*/ 3 h 37"/>
                <a:gd name="T34" fmla="*/ 8 w 25"/>
                <a:gd name="T35" fmla="*/ 1 h 37"/>
                <a:gd name="T36" fmla="*/ 13 w 25"/>
                <a:gd name="T37" fmla="*/ 0 h 37"/>
                <a:gd name="T38" fmla="*/ 21 w 25"/>
                <a:gd name="T39" fmla="*/ 3 h 37"/>
                <a:gd name="T40" fmla="*/ 24 w 25"/>
                <a:gd name="T41" fmla="*/ 10 h 37"/>
                <a:gd name="T42" fmla="*/ 22 w 25"/>
                <a:gd name="T43" fmla="*/ 16 h 37"/>
                <a:gd name="T44" fmla="*/ 20 w 25"/>
                <a:gd name="T45" fmla="*/ 17 h 37"/>
                <a:gd name="T46" fmla="*/ 22 w 25"/>
                <a:gd name="T47" fmla="*/ 19 h 37"/>
                <a:gd name="T48" fmla="*/ 25 w 25"/>
                <a:gd name="T49" fmla="*/ 26 h 37"/>
                <a:gd name="T50" fmla="*/ 22 w 25"/>
                <a:gd name="T51" fmla="*/ 34 h 37"/>
                <a:gd name="T52" fmla="*/ 13 w 25"/>
                <a:gd name="T53" fmla="*/ 37 h 37"/>
                <a:gd name="T54" fmla="*/ 2 w 25"/>
                <a:gd name="T55" fmla="*/ 32 h 37"/>
                <a:gd name="T56" fmla="*/ 0 w 25"/>
                <a:gd name="T57" fmla="*/ 25 h 37"/>
                <a:gd name="T58" fmla="*/ 7 w 25"/>
                <a:gd name="T59" fmla="*/ 2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7">
                  <a:moveTo>
                    <a:pt x="7" y="25"/>
                  </a:moveTo>
                  <a:cubicBezTo>
                    <a:pt x="7" y="27"/>
                    <a:pt x="7" y="28"/>
                    <a:pt x="8" y="29"/>
                  </a:cubicBezTo>
                  <a:cubicBezTo>
                    <a:pt x="9" y="31"/>
                    <a:pt x="10" y="32"/>
                    <a:pt x="13" y="32"/>
                  </a:cubicBezTo>
                  <a:cubicBezTo>
                    <a:pt x="14" y="32"/>
                    <a:pt x="15" y="31"/>
                    <a:pt x="16" y="30"/>
                  </a:cubicBezTo>
                  <a:cubicBezTo>
                    <a:pt x="17" y="29"/>
                    <a:pt x="18" y="28"/>
                    <a:pt x="18" y="26"/>
                  </a:cubicBezTo>
                  <a:cubicBezTo>
                    <a:pt x="18" y="24"/>
                    <a:pt x="17" y="22"/>
                    <a:pt x="15" y="21"/>
                  </a:cubicBezTo>
                  <a:cubicBezTo>
                    <a:pt x="14" y="21"/>
                    <a:pt x="12" y="21"/>
                    <a:pt x="10" y="21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16"/>
                    <a:pt x="14" y="15"/>
                    <a:pt x="15" y="15"/>
                  </a:cubicBezTo>
                  <a:cubicBezTo>
                    <a:pt x="16" y="14"/>
                    <a:pt x="17" y="13"/>
                    <a:pt x="17" y="11"/>
                  </a:cubicBezTo>
                  <a:cubicBezTo>
                    <a:pt x="17" y="9"/>
                    <a:pt x="16" y="8"/>
                    <a:pt x="16" y="7"/>
                  </a:cubicBezTo>
                  <a:cubicBezTo>
                    <a:pt x="15" y="7"/>
                    <a:pt x="14" y="6"/>
                    <a:pt x="12" y="6"/>
                  </a:cubicBezTo>
                  <a:cubicBezTo>
                    <a:pt x="11" y="6"/>
                    <a:pt x="9" y="7"/>
                    <a:pt x="9" y="8"/>
                  </a:cubicBezTo>
                  <a:cubicBezTo>
                    <a:pt x="8" y="9"/>
                    <a:pt x="7" y="10"/>
                    <a:pt x="8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0"/>
                    <a:pt x="1" y="8"/>
                    <a:pt x="2" y="7"/>
                  </a:cubicBezTo>
                  <a:cubicBezTo>
                    <a:pt x="2" y="5"/>
                    <a:pt x="3" y="4"/>
                    <a:pt x="5" y="3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0"/>
                    <a:pt x="13" y="0"/>
                  </a:cubicBezTo>
                  <a:cubicBezTo>
                    <a:pt x="16" y="0"/>
                    <a:pt x="19" y="1"/>
                    <a:pt x="21" y="3"/>
                  </a:cubicBezTo>
                  <a:cubicBezTo>
                    <a:pt x="23" y="5"/>
                    <a:pt x="24" y="7"/>
                    <a:pt x="24" y="10"/>
                  </a:cubicBezTo>
                  <a:cubicBezTo>
                    <a:pt x="24" y="12"/>
                    <a:pt x="23" y="14"/>
                    <a:pt x="22" y="16"/>
                  </a:cubicBezTo>
                  <a:cubicBezTo>
                    <a:pt x="21" y="16"/>
                    <a:pt x="20" y="17"/>
                    <a:pt x="20" y="17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4" y="21"/>
                    <a:pt x="25" y="23"/>
                    <a:pt x="25" y="26"/>
                  </a:cubicBezTo>
                  <a:cubicBezTo>
                    <a:pt x="25" y="29"/>
                    <a:pt x="24" y="32"/>
                    <a:pt x="22" y="34"/>
                  </a:cubicBezTo>
                  <a:cubicBezTo>
                    <a:pt x="20" y="36"/>
                    <a:pt x="17" y="37"/>
                    <a:pt x="13" y="37"/>
                  </a:cubicBezTo>
                  <a:cubicBezTo>
                    <a:pt x="8" y="37"/>
                    <a:pt x="4" y="36"/>
                    <a:pt x="2" y="32"/>
                  </a:cubicBezTo>
                  <a:cubicBezTo>
                    <a:pt x="1" y="31"/>
                    <a:pt x="0" y="28"/>
                    <a:pt x="0" y="25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68580" tIns="34290" rIns="68580" bIns="34290"/>
            <a:lstStyle/>
            <a:p>
              <a:pPr defTabSz="685800">
                <a:buFont typeface="Arial" panose="020B0604020202020204" pitchFamily="34" charset="0"/>
                <a:buNone/>
                <a:defRPr/>
              </a:pPr>
              <a:endParaRPr lang="zh-CN" altLang="en-US" sz="1350">
                <a:solidFill>
                  <a:prstClr val="black"/>
                </a:solidFill>
                <a:latin typeface="+mn-ea"/>
              </a:endParaRPr>
            </a:p>
          </p:txBody>
        </p:sp>
      </p:grpSp>
      <p:sp>
        <p:nvSpPr>
          <p:cNvPr id="269" name="Rectangle 13">
            <a:extLst>
              <a:ext uri="{FF2B5EF4-FFF2-40B4-BE49-F238E27FC236}">
                <a16:creationId xmlns:a16="http://schemas.microsoft.com/office/drawing/2014/main" id="{497BBF98-5203-4817-8341-A9486FB47A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2040" y="3984699"/>
            <a:ext cx="1800000" cy="10295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增值服务费</a:t>
            </a:r>
            <a:endParaRPr lang="zh-CN" altLang="zh-CN" sz="2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7489488" y="1988794"/>
            <a:ext cx="1800000" cy="19229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anchor="t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1600" dirty="0">
              <a:solidFill>
                <a:schemeClr val="bg1"/>
              </a:solidFill>
              <a:latin typeface="+mn-ea"/>
              <a:ea typeface="+mn-ea"/>
              <a:sym typeface="宋体" panose="02010600030101010101" pitchFamily="2" charset="-122"/>
            </a:endParaRPr>
          </a:p>
        </p:txBody>
      </p:sp>
      <p:sp>
        <p:nvSpPr>
          <p:cNvPr id="271" name="Rectangle 13">
            <a:extLst>
              <a:ext uri="{FF2B5EF4-FFF2-40B4-BE49-F238E27FC236}">
                <a16:creationId xmlns:a16="http://schemas.microsoft.com/office/drawing/2014/main" id="{6D21DD6F-E1A9-4E9A-8EB6-C5156661DB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9667" y="3984699"/>
            <a:ext cx="1800000" cy="10295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三方引流费</a:t>
            </a:r>
            <a:endParaRPr lang="zh-CN" altLang="zh-CN" sz="24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</p:txBody>
      </p:sp>
      <p:pic>
        <p:nvPicPr>
          <p:cNvPr id="194" name="图片 193">
            <a:extLst>
              <a:ext uri="{FF2B5EF4-FFF2-40B4-BE49-F238E27FC236}">
                <a16:creationId xmlns:a16="http://schemas.microsoft.com/office/drawing/2014/main" id="{97F1D4C1-A166-41F1-B82D-0E75933906E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2961" y="5556153"/>
            <a:ext cx="673396" cy="346318"/>
          </a:xfrm>
          <a:prstGeom prst="rect">
            <a:avLst/>
          </a:prstGeom>
        </p:spPr>
      </p:pic>
      <p:pic>
        <p:nvPicPr>
          <p:cNvPr id="196" name="图片 195">
            <a:extLst>
              <a:ext uri="{FF2B5EF4-FFF2-40B4-BE49-F238E27FC236}">
                <a16:creationId xmlns:a16="http://schemas.microsoft.com/office/drawing/2014/main" id="{A104AB3A-7019-46F8-973B-A1DB0010F8D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6330" y="5519011"/>
            <a:ext cx="1024607" cy="429359"/>
          </a:xfrm>
          <a:prstGeom prst="rect">
            <a:avLst/>
          </a:prstGeom>
        </p:spPr>
      </p:pic>
      <p:pic>
        <p:nvPicPr>
          <p:cNvPr id="200" name="图片 199">
            <a:extLst>
              <a:ext uri="{FF2B5EF4-FFF2-40B4-BE49-F238E27FC236}">
                <a16:creationId xmlns:a16="http://schemas.microsoft.com/office/drawing/2014/main" id="{4D9CC7A9-C1AE-41A3-A03E-820B2D955B9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399" y="5623879"/>
            <a:ext cx="1707011" cy="210866"/>
          </a:xfrm>
          <a:prstGeom prst="rect">
            <a:avLst/>
          </a:prstGeom>
        </p:spPr>
      </p:pic>
      <p:pic>
        <p:nvPicPr>
          <p:cNvPr id="204" name="图片 203">
            <a:extLst>
              <a:ext uri="{FF2B5EF4-FFF2-40B4-BE49-F238E27FC236}">
                <a16:creationId xmlns:a16="http://schemas.microsoft.com/office/drawing/2014/main" id="{3F3EC941-2869-401D-AE61-86FBEF067E5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5807" y="5545908"/>
            <a:ext cx="1128196" cy="348414"/>
          </a:xfrm>
          <a:prstGeom prst="rect">
            <a:avLst/>
          </a:prstGeom>
        </p:spPr>
      </p:pic>
      <p:grpSp>
        <p:nvGrpSpPr>
          <p:cNvPr id="20" name="组合 19"/>
          <p:cNvGrpSpPr/>
          <p:nvPr/>
        </p:nvGrpSpPr>
        <p:grpSpPr>
          <a:xfrm>
            <a:off x="7863638" y="2372751"/>
            <a:ext cx="1083302" cy="1100283"/>
            <a:chOff x="2942085" y="416973"/>
            <a:chExt cx="1083302" cy="1100283"/>
          </a:xfrm>
        </p:grpSpPr>
        <p:sp>
          <p:nvSpPr>
            <p:cNvPr id="58" name="Freeform 423"/>
            <p:cNvSpPr>
              <a:spLocks/>
            </p:cNvSpPr>
            <p:nvPr/>
          </p:nvSpPr>
          <p:spPr bwMode="auto">
            <a:xfrm>
              <a:off x="3295262" y="641105"/>
              <a:ext cx="359969" cy="251299"/>
            </a:xfrm>
            <a:custGeom>
              <a:avLst/>
              <a:gdLst>
                <a:gd name="T0" fmla="*/ 0 w 98"/>
                <a:gd name="T1" fmla="*/ 68 h 68"/>
                <a:gd name="T2" fmla="*/ 98 w 98"/>
                <a:gd name="T3" fmla="*/ 68 h 68"/>
                <a:gd name="T4" fmla="*/ 77 w 98"/>
                <a:gd name="T5" fmla="*/ 6 h 68"/>
                <a:gd name="T6" fmla="*/ 61 w 98"/>
                <a:gd name="T7" fmla="*/ 0 h 68"/>
                <a:gd name="T8" fmla="*/ 49 w 98"/>
                <a:gd name="T9" fmla="*/ 24 h 68"/>
                <a:gd name="T10" fmla="*/ 37 w 98"/>
                <a:gd name="T11" fmla="*/ 0 h 68"/>
                <a:gd name="T12" fmla="*/ 21 w 98"/>
                <a:gd name="T13" fmla="*/ 6 h 68"/>
                <a:gd name="T14" fmla="*/ 0 w 98"/>
                <a:gd name="T1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68">
                  <a:moveTo>
                    <a:pt x="0" y="68"/>
                  </a:moveTo>
                  <a:cubicBezTo>
                    <a:pt x="98" y="68"/>
                    <a:pt x="98" y="68"/>
                    <a:pt x="98" y="68"/>
                  </a:cubicBezTo>
                  <a:cubicBezTo>
                    <a:pt x="98" y="61"/>
                    <a:pt x="92" y="12"/>
                    <a:pt x="77" y="6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6" y="12"/>
                    <a:pt x="0" y="61"/>
                    <a:pt x="0" y="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424"/>
            <p:cNvSpPr>
              <a:spLocks/>
            </p:cNvSpPr>
            <p:nvPr/>
          </p:nvSpPr>
          <p:spPr bwMode="auto">
            <a:xfrm>
              <a:off x="3050755" y="939947"/>
              <a:ext cx="862568" cy="159610"/>
            </a:xfrm>
            <a:custGeom>
              <a:avLst/>
              <a:gdLst>
                <a:gd name="T0" fmla="*/ 211 w 234"/>
                <a:gd name="T1" fmla="*/ 34 h 43"/>
                <a:gd name="T2" fmla="*/ 211 w 234"/>
                <a:gd name="T3" fmla="*/ 43 h 43"/>
                <a:gd name="T4" fmla="*/ 223 w 234"/>
                <a:gd name="T5" fmla="*/ 41 h 43"/>
                <a:gd name="T6" fmla="*/ 234 w 234"/>
                <a:gd name="T7" fmla="*/ 43 h 43"/>
                <a:gd name="T8" fmla="*/ 234 w 234"/>
                <a:gd name="T9" fmla="*/ 34 h 43"/>
                <a:gd name="T10" fmla="*/ 201 w 234"/>
                <a:gd name="T11" fmla="*/ 0 h 43"/>
                <a:gd name="T12" fmla="*/ 34 w 234"/>
                <a:gd name="T13" fmla="*/ 0 h 43"/>
                <a:gd name="T14" fmla="*/ 0 w 234"/>
                <a:gd name="T15" fmla="*/ 34 h 43"/>
                <a:gd name="T16" fmla="*/ 0 w 234"/>
                <a:gd name="T17" fmla="*/ 43 h 43"/>
                <a:gd name="T18" fmla="*/ 12 w 234"/>
                <a:gd name="T19" fmla="*/ 41 h 43"/>
                <a:gd name="T20" fmla="*/ 23 w 234"/>
                <a:gd name="T21" fmla="*/ 43 h 43"/>
                <a:gd name="T22" fmla="*/ 23 w 234"/>
                <a:gd name="T23" fmla="*/ 34 h 43"/>
                <a:gd name="T24" fmla="*/ 34 w 234"/>
                <a:gd name="T25" fmla="*/ 23 h 43"/>
                <a:gd name="T26" fmla="*/ 103 w 234"/>
                <a:gd name="T27" fmla="*/ 23 h 43"/>
                <a:gd name="T28" fmla="*/ 103 w 234"/>
                <a:gd name="T29" fmla="*/ 38 h 43"/>
                <a:gd name="T30" fmla="*/ 126 w 234"/>
                <a:gd name="T31" fmla="*/ 38 h 43"/>
                <a:gd name="T32" fmla="*/ 126 w 234"/>
                <a:gd name="T33" fmla="*/ 23 h 43"/>
                <a:gd name="T34" fmla="*/ 201 w 234"/>
                <a:gd name="T35" fmla="*/ 23 h 43"/>
                <a:gd name="T36" fmla="*/ 211 w 234"/>
                <a:gd name="T37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4" h="43">
                  <a:moveTo>
                    <a:pt x="211" y="34"/>
                  </a:moveTo>
                  <a:cubicBezTo>
                    <a:pt x="211" y="43"/>
                    <a:pt x="211" y="43"/>
                    <a:pt x="211" y="43"/>
                  </a:cubicBezTo>
                  <a:cubicBezTo>
                    <a:pt x="215" y="42"/>
                    <a:pt x="219" y="41"/>
                    <a:pt x="223" y="41"/>
                  </a:cubicBezTo>
                  <a:cubicBezTo>
                    <a:pt x="227" y="41"/>
                    <a:pt x="230" y="42"/>
                    <a:pt x="234" y="43"/>
                  </a:cubicBezTo>
                  <a:cubicBezTo>
                    <a:pt x="234" y="34"/>
                    <a:pt x="234" y="34"/>
                    <a:pt x="234" y="34"/>
                  </a:cubicBezTo>
                  <a:cubicBezTo>
                    <a:pt x="234" y="15"/>
                    <a:pt x="219" y="0"/>
                    <a:pt x="20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" y="42"/>
                    <a:pt x="8" y="41"/>
                    <a:pt x="12" y="41"/>
                  </a:cubicBezTo>
                  <a:cubicBezTo>
                    <a:pt x="16" y="41"/>
                    <a:pt x="19" y="42"/>
                    <a:pt x="23" y="43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28"/>
                    <a:pt x="28" y="23"/>
                    <a:pt x="34" y="23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207" y="23"/>
                    <a:pt x="211" y="28"/>
                    <a:pt x="211" y="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425"/>
            <p:cNvSpPr>
              <a:spLocks/>
            </p:cNvSpPr>
            <p:nvPr/>
          </p:nvSpPr>
          <p:spPr bwMode="auto">
            <a:xfrm>
              <a:off x="3383557" y="416973"/>
              <a:ext cx="183381" cy="183381"/>
            </a:xfrm>
            <a:custGeom>
              <a:avLst/>
              <a:gdLst>
                <a:gd name="T0" fmla="*/ 25 w 50"/>
                <a:gd name="T1" fmla="*/ 50 h 50"/>
                <a:gd name="T2" fmla="*/ 32 w 50"/>
                <a:gd name="T3" fmla="*/ 49 h 50"/>
                <a:gd name="T4" fmla="*/ 50 w 50"/>
                <a:gd name="T5" fmla="*/ 25 h 50"/>
                <a:gd name="T6" fmla="*/ 25 w 50"/>
                <a:gd name="T7" fmla="*/ 0 h 50"/>
                <a:gd name="T8" fmla="*/ 0 w 50"/>
                <a:gd name="T9" fmla="*/ 25 h 50"/>
                <a:gd name="T10" fmla="*/ 18 w 50"/>
                <a:gd name="T11" fmla="*/ 49 h 50"/>
                <a:gd name="T12" fmla="*/ 25 w 50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27" y="50"/>
                    <a:pt x="30" y="50"/>
                    <a:pt x="32" y="49"/>
                  </a:cubicBezTo>
                  <a:cubicBezTo>
                    <a:pt x="43" y="46"/>
                    <a:pt x="50" y="37"/>
                    <a:pt x="50" y="25"/>
                  </a:cubicBezTo>
                  <a:cubicBezTo>
                    <a:pt x="50" y="11"/>
                    <a:pt x="39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7"/>
                    <a:pt x="7" y="46"/>
                    <a:pt x="18" y="49"/>
                  </a:cubicBezTo>
                  <a:cubicBezTo>
                    <a:pt x="20" y="50"/>
                    <a:pt x="23" y="50"/>
                    <a:pt x="25" y="5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426"/>
            <p:cNvSpPr>
              <a:spLocks/>
            </p:cNvSpPr>
            <p:nvPr/>
          </p:nvSpPr>
          <p:spPr bwMode="auto">
            <a:xfrm>
              <a:off x="3322430" y="1310103"/>
              <a:ext cx="302239" cy="207153"/>
            </a:xfrm>
            <a:custGeom>
              <a:avLst/>
              <a:gdLst>
                <a:gd name="T0" fmla="*/ 64 w 82"/>
                <a:gd name="T1" fmla="*/ 5 h 56"/>
                <a:gd name="T2" fmla="*/ 51 w 82"/>
                <a:gd name="T3" fmla="*/ 0 h 56"/>
                <a:gd name="T4" fmla="*/ 41 w 82"/>
                <a:gd name="T5" fmla="*/ 20 h 56"/>
                <a:gd name="T6" fmla="*/ 30 w 82"/>
                <a:gd name="T7" fmla="*/ 0 h 56"/>
                <a:gd name="T8" fmla="*/ 17 w 82"/>
                <a:gd name="T9" fmla="*/ 5 h 56"/>
                <a:gd name="T10" fmla="*/ 0 w 82"/>
                <a:gd name="T11" fmla="*/ 56 h 56"/>
                <a:gd name="T12" fmla="*/ 82 w 82"/>
                <a:gd name="T13" fmla="*/ 56 h 56"/>
                <a:gd name="T14" fmla="*/ 64 w 82"/>
                <a:gd name="T15" fmla="*/ 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56">
                  <a:moveTo>
                    <a:pt x="64" y="5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5" y="10"/>
                    <a:pt x="0" y="51"/>
                    <a:pt x="0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1"/>
                    <a:pt x="76" y="10"/>
                    <a:pt x="64" y="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427"/>
            <p:cNvSpPr>
              <a:spLocks/>
            </p:cNvSpPr>
            <p:nvPr/>
          </p:nvSpPr>
          <p:spPr bwMode="auto">
            <a:xfrm>
              <a:off x="3393743" y="1119931"/>
              <a:ext cx="159610" cy="156213"/>
            </a:xfrm>
            <a:custGeom>
              <a:avLst/>
              <a:gdLst>
                <a:gd name="T0" fmla="*/ 22 w 43"/>
                <a:gd name="T1" fmla="*/ 42 h 42"/>
                <a:gd name="T2" fmla="*/ 28 w 43"/>
                <a:gd name="T3" fmla="*/ 41 h 42"/>
                <a:gd name="T4" fmla="*/ 43 w 43"/>
                <a:gd name="T5" fmla="*/ 21 h 42"/>
                <a:gd name="T6" fmla="*/ 22 w 43"/>
                <a:gd name="T7" fmla="*/ 0 h 42"/>
                <a:gd name="T8" fmla="*/ 0 w 43"/>
                <a:gd name="T9" fmla="*/ 21 h 42"/>
                <a:gd name="T10" fmla="*/ 16 w 43"/>
                <a:gd name="T11" fmla="*/ 41 h 42"/>
                <a:gd name="T12" fmla="*/ 22 w 43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22" y="42"/>
                  </a:moveTo>
                  <a:cubicBezTo>
                    <a:pt x="24" y="42"/>
                    <a:pt x="26" y="42"/>
                    <a:pt x="28" y="41"/>
                  </a:cubicBezTo>
                  <a:cubicBezTo>
                    <a:pt x="36" y="39"/>
                    <a:pt x="43" y="31"/>
                    <a:pt x="43" y="21"/>
                  </a:cubicBezTo>
                  <a:cubicBezTo>
                    <a:pt x="43" y="9"/>
                    <a:pt x="33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1"/>
                    <a:pt x="7" y="39"/>
                    <a:pt x="16" y="41"/>
                  </a:cubicBezTo>
                  <a:cubicBezTo>
                    <a:pt x="18" y="42"/>
                    <a:pt x="20" y="42"/>
                    <a:pt x="22" y="4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428"/>
            <p:cNvSpPr>
              <a:spLocks/>
            </p:cNvSpPr>
            <p:nvPr/>
          </p:nvSpPr>
          <p:spPr bwMode="auto">
            <a:xfrm>
              <a:off x="2942085" y="1310103"/>
              <a:ext cx="302239" cy="207153"/>
            </a:xfrm>
            <a:custGeom>
              <a:avLst/>
              <a:gdLst>
                <a:gd name="T0" fmla="*/ 64 w 82"/>
                <a:gd name="T1" fmla="*/ 5 h 56"/>
                <a:gd name="T2" fmla="*/ 51 w 82"/>
                <a:gd name="T3" fmla="*/ 0 h 56"/>
                <a:gd name="T4" fmla="*/ 41 w 82"/>
                <a:gd name="T5" fmla="*/ 20 h 56"/>
                <a:gd name="T6" fmla="*/ 30 w 82"/>
                <a:gd name="T7" fmla="*/ 0 h 56"/>
                <a:gd name="T8" fmla="*/ 17 w 82"/>
                <a:gd name="T9" fmla="*/ 5 h 56"/>
                <a:gd name="T10" fmla="*/ 0 w 82"/>
                <a:gd name="T11" fmla="*/ 56 h 56"/>
                <a:gd name="T12" fmla="*/ 82 w 82"/>
                <a:gd name="T13" fmla="*/ 56 h 56"/>
                <a:gd name="T14" fmla="*/ 64 w 82"/>
                <a:gd name="T15" fmla="*/ 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56">
                  <a:moveTo>
                    <a:pt x="64" y="5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5" y="10"/>
                    <a:pt x="0" y="51"/>
                    <a:pt x="0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1"/>
                    <a:pt x="76" y="10"/>
                    <a:pt x="64" y="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429"/>
            <p:cNvSpPr>
              <a:spLocks/>
            </p:cNvSpPr>
            <p:nvPr/>
          </p:nvSpPr>
          <p:spPr bwMode="auto">
            <a:xfrm>
              <a:off x="3013399" y="1119931"/>
              <a:ext cx="159610" cy="156213"/>
            </a:xfrm>
            <a:custGeom>
              <a:avLst/>
              <a:gdLst>
                <a:gd name="T0" fmla="*/ 22 w 43"/>
                <a:gd name="T1" fmla="*/ 0 h 42"/>
                <a:gd name="T2" fmla="*/ 10 w 43"/>
                <a:gd name="T3" fmla="*/ 3 h 42"/>
                <a:gd name="T4" fmla="*/ 0 w 43"/>
                <a:gd name="T5" fmla="*/ 21 h 42"/>
                <a:gd name="T6" fmla="*/ 16 w 43"/>
                <a:gd name="T7" fmla="*/ 41 h 42"/>
                <a:gd name="T8" fmla="*/ 22 w 43"/>
                <a:gd name="T9" fmla="*/ 42 h 42"/>
                <a:gd name="T10" fmla="*/ 27 w 43"/>
                <a:gd name="T11" fmla="*/ 41 h 42"/>
                <a:gd name="T12" fmla="*/ 43 w 43"/>
                <a:gd name="T13" fmla="*/ 21 h 42"/>
                <a:gd name="T14" fmla="*/ 33 w 43"/>
                <a:gd name="T15" fmla="*/ 3 h 42"/>
                <a:gd name="T16" fmla="*/ 22 w 43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42">
                  <a:moveTo>
                    <a:pt x="22" y="0"/>
                  </a:moveTo>
                  <a:cubicBezTo>
                    <a:pt x="17" y="0"/>
                    <a:pt x="14" y="1"/>
                    <a:pt x="10" y="3"/>
                  </a:cubicBezTo>
                  <a:cubicBezTo>
                    <a:pt x="4" y="7"/>
                    <a:pt x="0" y="13"/>
                    <a:pt x="0" y="21"/>
                  </a:cubicBezTo>
                  <a:cubicBezTo>
                    <a:pt x="0" y="31"/>
                    <a:pt x="7" y="39"/>
                    <a:pt x="16" y="41"/>
                  </a:cubicBezTo>
                  <a:cubicBezTo>
                    <a:pt x="18" y="42"/>
                    <a:pt x="20" y="42"/>
                    <a:pt x="22" y="42"/>
                  </a:cubicBezTo>
                  <a:cubicBezTo>
                    <a:pt x="24" y="42"/>
                    <a:pt x="26" y="42"/>
                    <a:pt x="27" y="41"/>
                  </a:cubicBezTo>
                  <a:cubicBezTo>
                    <a:pt x="36" y="39"/>
                    <a:pt x="43" y="31"/>
                    <a:pt x="43" y="21"/>
                  </a:cubicBezTo>
                  <a:cubicBezTo>
                    <a:pt x="43" y="13"/>
                    <a:pt x="39" y="7"/>
                    <a:pt x="33" y="3"/>
                  </a:cubicBezTo>
                  <a:cubicBezTo>
                    <a:pt x="30" y="1"/>
                    <a:pt x="26" y="0"/>
                    <a:pt x="2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430"/>
            <p:cNvSpPr>
              <a:spLocks/>
            </p:cNvSpPr>
            <p:nvPr/>
          </p:nvSpPr>
          <p:spPr bwMode="auto">
            <a:xfrm>
              <a:off x="3719753" y="1310103"/>
              <a:ext cx="305634" cy="207153"/>
            </a:xfrm>
            <a:custGeom>
              <a:avLst/>
              <a:gdLst>
                <a:gd name="T0" fmla="*/ 65 w 83"/>
                <a:gd name="T1" fmla="*/ 5 h 56"/>
                <a:gd name="T2" fmla="*/ 52 w 83"/>
                <a:gd name="T3" fmla="*/ 0 h 56"/>
                <a:gd name="T4" fmla="*/ 42 w 83"/>
                <a:gd name="T5" fmla="*/ 20 h 56"/>
                <a:gd name="T6" fmla="*/ 31 w 83"/>
                <a:gd name="T7" fmla="*/ 0 h 56"/>
                <a:gd name="T8" fmla="*/ 18 w 83"/>
                <a:gd name="T9" fmla="*/ 5 h 56"/>
                <a:gd name="T10" fmla="*/ 1 w 83"/>
                <a:gd name="T11" fmla="*/ 56 h 56"/>
                <a:gd name="T12" fmla="*/ 83 w 83"/>
                <a:gd name="T13" fmla="*/ 56 h 56"/>
                <a:gd name="T14" fmla="*/ 65 w 83"/>
                <a:gd name="T15" fmla="*/ 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6">
                  <a:moveTo>
                    <a:pt x="65" y="5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6" y="10"/>
                    <a:pt x="0" y="51"/>
                    <a:pt x="1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1"/>
                    <a:pt x="77" y="10"/>
                    <a:pt x="65" y="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431"/>
            <p:cNvSpPr>
              <a:spLocks/>
            </p:cNvSpPr>
            <p:nvPr/>
          </p:nvSpPr>
          <p:spPr bwMode="auto">
            <a:xfrm>
              <a:off x="3791069" y="1119931"/>
              <a:ext cx="159610" cy="156213"/>
            </a:xfrm>
            <a:custGeom>
              <a:avLst/>
              <a:gdLst>
                <a:gd name="T0" fmla="*/ 22 w 43"/>
                <a:gd name="T1" fmla="*/ 0 h 42"/>
                <a:gd name="T2" fmla="*/ 10 w 43"/>
                <a:gd name="T3" fmla="*/ 3 h 42"/>
                <a:gd name="T4" fmla="*/ 0 w 43"/>
                <a:gd name="T5" fmla="*/ 21 h 42"/>
                <a:gd name="T6" fmla="*/ 16 w 43"/>
                <a:gd name="T7" fmla="*/ 41 h 42"/>
                <a:gd name="T8" fmla="*/ 22 w 43"/>
                <a:gd name="T9" fmla="*/ 42 h 42"/>
                <a:gd name="T10" fmla="*/ 27 w 43"/>
                <a:gd name="T11" fmla="*/ 41 h 42"/>
                <a:gd name="T12" fmla="*/ 43 w 43"/>
                <a:gd name="T13" fmla="*/ 21 h 42"/>
                <a:gd name="T14" fmla="*/ 33 w 43"/>
                <a:gd name="T15" fmla="*/ 3 h 42"/>
                <a:gd name="T16" fmla="*/ 22 w 43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42">
                  <a:moveTo>
                    <a:pt x="22" y="0"/>
                  </a:moveTo>
                  <a:cubicBezTo>
                    <a:pt x="17" y="0"/>
                    <a:pt x="14" y="1"/>
                    <a:pt x="10" y="3"/>
                  </a:cubicBezTo>
                  <a:cubicBezTo>
                    <a:pt x="4" y="7"/>
                    <a:pt x="0" y="13"/>
                    <a:pt x="0" y="21"/>
                  </a:cubicBezTo>
                  <a:cubicBezTo>
                    <a:pt x="0" y="31"/>
                    <a:pt x="7" y="39"/>
                    <a:pt x="16" y="41"/>
                  </a:cubicBezTo>
                  <a:cubicBezTo>
                    <a:pt x="18" y="42"/>
                    <a:pt x="20" y="42"/>
                    <a:pt x="22" y="42"/>
                  </a:cubicBezTo>
                  <a:cubicBezTo>
                    <a:pt x="24" y="42"/>
                    <a:pt x="26" y="42"/>
                    <a:pt x="27" y="41"/>
                  </a:cubicBezTo>
                  <a:cubicBezTo>
                    <a:pt x="36" y="39"/>
                    <a:pt x="43" y="31"/>
                    <a:pt x="43" y="21"/>
                  </a:cubicBezTo>
                  <a:cubicBezTo>
                    <a:pt x="43" y="13"/>
                    <a:pt x="39" y="7"/>
                    <a:pt x="33" y="3"/>
                  </a:cubicBezTo>
                  <a:cubicBezTo>
                    <a:pt x="30" y="1"/>
                    <a:pt x="26" y="0"/>
                    <a:pt x="2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78" name="同侧圆角矩形 77"/>
          <p:cNvSpPr/>
          <p:nvPr/>
        </p:nvSpPr>
        <p:spPr>
          <a:xfrm>
            <a:off x="1787899" y="1044191"/>
            <a:ext cx="9407231" cy="80317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>
              <a:lumMod val="5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向家长收费</a:t>
            </a:r>
          </a:p>
        </p:txBody>
      </p:sp>
    </p:spTree>
    <p:extLst>
      <p:ext uri="{BB962C8B-B14F-4D97-AF65-F5344CB8AC3E}">
        <p14:creationId xmlns:p14="http://schemas.microsoft.com/office/powerpoint/2010/main" val="38047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直接箭头连接符 7"/>
          <p:cNvCxnSpPr>
            <a:cxnSpLocks noChangeShapeType="1"/>
          </p:cNvCxnSpPr>
          <p:nvPr/>
        </p:nvCxnSpPr>
        <p:spPr bwMode="auto">
          <a:xfrm>
            <a:off x="1794857" y="5628583"/>
            <a:ext cx="9248281" cy="0"/>
          </a:xfrm>
          <a:prstGeom prst="straightConnector1">
            <a:avLst/>
          </a:prstGeom>
          <a:noFill/>
          <a:ln w="38100">
            <a:solidFill>
              <a:srgbClr val="A5A5A5"/>
            </a:solidFill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等腰三角形 8"/>
          <p:cNvSpPr>
            <a:spLocks noChangeArrowheads="1"/>
          </p:cNvSpPr>
          <p:nvPr/>
        </p:nvSpPr>
        <p:spPr bwMode="auto">
          <a:xfrm>
            <a:off x="3192957" y="5281534"/>
            <a:ext cx="279400" cy="319617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endParaRPr lang="zh-CN" altLang="zh-CN" sz="2400">
              <a:sym typeface="Calibri" panose="020F0502020204030204" pitchFamily="34" charset="0"/>
            </a:endParaRPr>
          </a:p>
        </p:txBody>
      </p:sp>
      <p:sp>
        <p:nvSpPr>
          <p:cNvPr id="17" name="等腰三角形 125"/>
          <p:cNvSpPr>
            <a:spLocks noChangeArrowheads="1"/>
          </p:cNvSpPr>
          <p:nvPr/>
        </p:nvSpPr>
        <p:spPr bwMode="auto">
          <a:xfrm>
            <a:off x="6239702" y="5281534"/>
            <a:ext cx="279400" cy="319617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endParaRPr lang="zh-CN" altLang="zh-CN" sz="2400">
              <a:sym typeface="Calibri" panose="020F0502020204030204" pitchFamily="34" charset="0"/>
            </a:endParaRPr>
          </a:p>
        </p:txBody>
      </p:sp>
      <p:sp>
        <p:nvSpPr>
          <p:cNvPr id="18" name="等腰三角形 126"/>
          <p:cNvSpPr>
            <a:spLocks noChangeArrowheads="1"/>
          </p:cNvSpPr>
          <p:nvPr/>
        </p:nvSpPr>
        <p:spPr bwMode="auto">
          <a:xfrm>
            <a:off x="9089036" y="5281534"/>
            <a:ext cx="279400" cy="319617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endParaRPr lang="zh-CN" altLang="zh-CN" sz="2400">
              <a:sym typeface="Calibri" panose="020F0502020204030204" pitchFamily="34" charset="0"/>
            </a:endParaRPr>
          </a:p>
        </p:txBody>
      </p:sp>
      <p:sp>
        <p:nvSpPr>
          <p:cNvPr id="21" name="TextBox 129"/>
          <p:cNvSpPr>
            <a:spLocks noChangeArrowheads="1"/>
          </p:cNvSpPr>
          <p:nvPr/>
        </p:nvSpPr>
        <p:spPr bwMode="auto">
          <a:xfrm>
            <a:off x="2557546" y="5843735"/>
            <a:ext cx="1555234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sz="2133" dirty="0">
                <a:solidFill>
                  <a:srgbClr val="393C3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总市场潜力</a:t>
            </a:r>
            <a:endParaRPr lang="zh-CN" altLang="en-US" sz="2400" dirty="0">
              <a:solidFill>
                <a:srgbClr val="393C3D"/>
              </a:solidFill>
            </a:endParaRPr>
          </a:p>
        </p:txBody>
      </p:sp>
      <p:sp>
        <p:nvSpPr>
          <p:cNvPr id="22" name="TextBox 130"/>
          <p:cNvSpPr>
            <a:spLocks noChangeArrowheads="1"/>
          </p:cNvSpPr>
          <p:nvPr/>
        </p:nvSpPr>
        <p:spPr bwMode="auto">
          <a:xfrm>
            <a:off x="5391369" y="5843735"/>
            <a:ext cx="1838965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sz="2133" dirty="0">
                <a:solidFill>
                  <a:srgbClr val="393C3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目标市场份额</a:t>
            </a:r>
            <a:endParaRPr lang="zh-CN" altLang="en-US" sz="2400" dirty="0">
              <a:solidFill>
                <a:srgbClr val="393C3D"/>
              </a:solidFill>
            </a:endParaRPr>
          </a:p>
        </p:txBody>
      </p:sp>
      <p:sp>
        <p:nvSpPr>
          <p:cNvPr id="23" name="TextBox 131"/>
          <p:cNvSpPr>
            <a:spLocks noChangeArrowheads="1"/>
          </p:cNvSpPr>
          <p:nvPr/>
        </p:nvSpPr>
        <p:spPr bwMode="auto">
          <a:xfrm>
            <a:off x="8449680" y="5843735"/>
            <a:ext cx="1555234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sz="2133" dirty="0">
                <a:solidFill>
                  <a:srgbClr val="393C3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市场增长率</a:t>
            </a:r>
            <a:endParaRPr lang="zh-CN" altLang="en-US" sz="2400" dirty="0">
              <a:solidFill>
                <a:srgbClr val="393C3D"/>
              </a:solidFill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2342842" y="2452631"/>
            <a:ext cx="1991251" cy="2689203"/>
            <a:chOff x="1372633" y="2059424"/>
            <a:chExt cx="1991251" cy="2689203"/>
          </a:xfrm>
        </p:grpSpPr>
        <p:sp>
          <p:nvSpPr>
            <p:cNvPr id="5" name="Freeform 6"/>
            <p:cNvSpPr>
              <a:spLocks noChangeArrowheads="1"/>
            </p:cNvSpPr>
            <p:nvPr/>
          </p:nvSpPr>
          <p:spPr bwMode="auto">
            <a:xfrm>
              <a:off x="1555720" y="2170577"/>
              <a:ext cx="1608056" cy="2578050"/>
            </a:xfrm>
            <a:custGeom>
              <a:avLst/>
              <a:gdLst>
                <a:gd name="T0" fmla="*/ 1126511035 w 893"/>
                <a:gd name="T1" fmla="*/ 2147483646 h 1431"/>
                <a:gd name="T2" fmla="*/ 0 w 893"/>
                <a:gd name="T3" fmla="*/ 1123989440 h 1431"/>
                <a:gd name="T4" fmla="*/ 1126511035 w 893"/>
                <a:gd name="T5" fmla="*/ 0 h 1431"/>
                <a:gd name="T6" fmla="*/ 2147483646 w 893"/>
                <a:gd name="T7" fmla="*/ 1123989440 h 1431"/>
                <a:gd name="T8" fmla="*/ 1126511035 w 893"/>
                <a:gd name="T9" fmla="*/ 2147483646 h 14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93"/>
                <a:gd name="T16" fmla="*/ 0 h 1431"/>
                <a:gd name="T17" fmla="*/ 893 w 893"/>
                <a:gd name="T18" fmla="*/ 1431 h 14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93" h="1431">
                  <a:moveTo>
                    <a:pt x="447" y="1431"/>
                  </a:moveTo>
                  <a:lnTo>
                    <a:pt x="0" y="446"/>
                  </a:lnTo>
                  <a:lnTo>
                    <a:pt x="447" y="0"/>
                  </a:lnTo>
                  <a:lnTo>
                    <a:pt x="893" y="446"/>
                  </a:lnTo>
                  <a:lnTo>
                    <a:pt x="447" y="1431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/>
            </a:p>
          </p:txBody>
        </p:sp>
        <p:sp>
          <p:nvSpPr>
            <p:cNvPr id="6" name="Oval 7"/>
            <p:cNvSpPr>
              <a:spLocks noChangeArrowheads="1"/>
            </p:cNvSpPr>
            <p:nvPr/>
          </p:nvSpPr>
          <p:spPr bwMode="auto">
            <a:xfrm>
              <a:off x="1426567" y="2059424"/>
              <a:ext cx="1900741" cy="1901627"/>
            </a:xfrm>
            <a:prstGeom prst="ellipse">
              <a:avLst/>
            </a:prstGeom>
            <a:solidFill>
              <a:srgbClr val="F830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endParaRPr lang="zh-CN" altLang="zh-CN" sz="2133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6" name="TextBox 682"/>
            <p:cNvSpPr>
              <a:spLocks noChangeArrowheads="1"/>
            </p:cNvSpPr>
            <p:nvPr/>
          </p:nvSpPr>
          <p:spPr bwMode="auto">
            <a:xfrm>
              <a:off x="1372633" y="2569447"/>
              <a:ext cx="1991251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Arial" panose="020B0604020202020204" pitchFamily="34" charset="0"/>
                <a:buNone/>
              </a:pPr>
              <a:r>
                <a:rPr lang="en-US" altLang="zh-CN" sz="4800" dirty="0">
                  <a:solidFill>
                    <a:schemeClr val="bg1"/>
                  </a:solidFill>
                  <a:latin typeface="Niagara Solid" panose="04020502070702020202" pitchFamily="82" charset="0"/>
                  <a:ea typeface="方正中等线简体" panose="03000509000000000000" pitchFamily="65" charset="-122"/>
                </a:rPr>
                <a:t>250,000,000</a:t>
              </a:r>
              <a:endParaRPr lang="zh-CN" altLang="en-US" sz="4800" dirty="0">
                <a:solidFill>
                  <a:schemeClr val="bg1"/>
                </a:solidFill>
                <a:latin typeface="Niagara Solid" panose="04020502070702020202" pitchFamily="82" charset="0"/>
                <a:ea typeface="方正中等线简体" panose="03000509000000000000" pitchFamily="65" charset="-122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5631197" y="2685639"/>
            <a:ext cx="1496410" cy="2456195"/>
            <a:chOff x="3849855" y="2557916"/>
            <a:chExt cx="1496410" cy="2456195"/>
          </a:xfrm>
        </p:grpSpPr>
        <p:sp>
          <p:nvSpPr>
            <p:cNvPr id="13" name="Freeform 30"/>
            <p:cNvSpPr>
              <a:spLocks noChangeArrowheads="1"/>
            </p:cNvSpPr>
            <p:nvPr/>
          </p:nvSpPr>
          <p:spPr bwMode="auto">
            <a:xfrm>
              <a:off x="3921884" y="2579535"/>
              <a:ext cx="1352351" cy="2434576"/>
            </a:xfrm>
            <a:custGeom>
              <a:avLst/>
              <a:gdLst>
                <a:gd name="T0" fmla="*/ 947579147 w 751"/>
                <a:gd name="T1" fmla="*/ 2147483646 h 1204"/>
                <a:gd name="T2" fmla="*/ 0 w 751"/>
                <a:gd name="T3" fmla="*/ 952619063 h 1204"/>
                <a:gd name="T4" fmla="*/ 947579147 w 751"/>
                <a:gd name="T5" fmla="*/ 0 h 1204"/>
                <a:gd name="T6" fmla="*/ 1892638931 w 751"/>
                <a:gd name="T7" fmla="*/ 945059388 h 1204"/>
                <a:gd name="T8" fmla="*/ 947579147 w 751"/>
                <a:gd name="T9" fmla="*/ 2147483646 h 120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1"/>
                <a:gd name="T16" fmla="*/ 0 h 1204"/>
                <a:gd name="T17" fmla="*/ 751 w 751"/>
                <a:gd name="T18" fmla="*/ 1204 h 120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1" h="1204">
                  <a:moveTo>
                    <a:pt x="376" y="1204"/>
                  </a:moveTo>
                  <a:lnTo>
                    <a:pt x="0" y="378"/>
                  </a:lnTo>
                  <a:lnTo>
                    <a:pt x="376" y="0"/>
                  </a:lnTo>
                  <a:lnTo>
                    <a:pt x="751" y="375"/>
                  </a:lnTo>
                  <a:lnTo>
                    <a:pt x="376" y="1204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/>
            </a:p>
          </p:txBody>
        </p:sp>
        <p:sp>
          <p:nvSpPr>
            <p:cNvPr id="14" name="Oval 31"/>
            <p:cNvSpPr>
              <a:spLocks noChangeArrowheads="1"/>
            </p:cNvSpPr>
            <p:nvPr/>
          </p:nvSpPr>
          <p:spPr bwMode="auto">
            <a:xfrm>
              <a:off x="3849855" y="2557916"/>
              <a:ext cx="1496410" cy="1497108"/>
            </a:xfrm>
            <a:prstGeom prst="ellipse">
              <a:avLst/>
            </a:prstGeom>
            <a:solidFill>
              <a:srgbClr val="EBAC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endParaRPr lang="zh-CN" altLang="zh-CN" sz="2133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7" name="TextBox 682"/>
            <p:cNvSpPr>
              <a:spLocks noChangeArrowheads="1"/>
            </p:cNvSpPr>
            <p:nvPr/>
          </p:nvSpPr>
          <p:spPr bwMode="auto">
            <a:xfrm>
              <a:off x="4001579" y="2885017"/>
              <a:ext cx="1276311" cy="74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Arial" panose="020B0604020202020204" pitchFamily="34" charset="0"/>
                <a:buNone/>
              </a:pPr>
              <a:r>
                <a:rPr lang="en-US" altLang="zh-CN" sz="4267" dirty="0">
                  <a:solidFill>
                    <a:schemeClr val="bg1"/>
                  </a:solidFill>
                  <a:latin typeface="方正中等线简体" panose="03000509000000000000" pitchFamily="65" charset="-122"/>
                  <a:ea typeface="方正中等线简体" panose="03000509000000000000" pitchFamily="65" charset="-122"/>
                </a:rPr>
                <a:t>68%</a:t>
              </a:r>
              <a:endParaRPr lang="zh-CN" altLang="en-US" sz="4267" dirty="0">
                <a:solidFill>
                  <a:schemeClr val="bg1"/>
                </a:solidFill>
                <a:latin typeface="方正中等线简体" panose="03000509000000000000" pitchFamily="65" charset="-122"/>
                <a:ea typeface="方正中等线简体" panose="03000509000000000000" pitchFamily="65" charset="-122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4E2CDD37-81A4-45F6-8D0C-F5B5AC2DAF93}"/>
              </a:ext>
            </a:extLst>
          </p:cNvPr>
          <p:cNvGrpSpPr/>
          <p:nvPr/>
        </p:nvGrpSpPr>
        <p:grpSpPr>
          <a:xfrm>
            <a:off x="8718219" y="2902372"/>
            <a:ext cx="1018155" cy="2239461"/>
            <a:chOff x="7253283" y="3205141"/>
            <a:chExt cx="1018155" cy="2239461"/>
          </a:xfrm>
        </p:grpSpPr>
        <p:sp>
          <p:nvSpPr>
            <p:cNvPr id="11" name="Freeform 24"/>
            <p:cNvSpPr>
              <a:spLocks noChangeArrowheads="1"/>
            </p:cNvSpPr>
            <p:nvPr/>
          </p:nvSpPr>
          <p:spPr bwMode="auto">
            <a:xfrm>
              <a:off x="7299294" y="3205141"/>
              <a:ext cx="924774" cy="2239461"/>
            </a:xfrm>
            <a:custGeom>
              <a:avLst/>
              <a:gdLst>
                <a:gd name="T0" fmla="*/ 844253534 w 671"/>
                <a:gd name="T1" fmla="*/ 2147483646 h 1075"/>
                <a:gd name="T2" fmla="*/ 0 w 671"/>
                <a:gd name="T3" fmla="*/ 844253385 h 1075"/>
                <a:gd name="T4" fmla="*/ 844253534 w 671"/>
                <a:gd name="T5" fmla="*/ 0 h 1075"/>
                <a:gd name="T6" fmla="*/ 1691026431 w 671"/>
                <a:gd name="T7" fmla="*/ 844253385 h 1075"/>
                <a:gd name="T8" fmla="*/ 844253534 w 671"/>
                <a:gd name="T9" fmla="*/ 2147483646 h 107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71"/>
                <a:gd name="T16" fmla="*/ 0 h 1075"/>
                <a:gd name="T17" fmla="*/ 671 w 671"/>
                <a:gd name="T18" fmla="*/ 1075 h 107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71" h="1075">
                  <a:moveTo>
                    <a:pt x="335" y="1075"/>
                  </a:moveTo>
                  <a:lnTo>
                    <a:pt x="0" y="335"/>
                  </a:lnTo>
                  <a:lnTo>
                    <a:pt x="335" y="0"/>
                  </a:lnTo>
                  <a:lnTo>
                    <a:pt x="671" y="335"/>
                  </a:lnTo>
                  <a:lnTo>
                    <a:pt x="335" y="1075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/>
            </a:p>
          </p:txBody>
        </p:sp>
        <p:sp>
          <p:nvSpPr>
            <p:cNvPr id="12" name="Oval 25"/>
            <p:cNvSpPr>
              <a:spLocks noChangeArrowheads="1"/>
            </p:cNvSpPr>
            <p:nvPr/>
          </p:nvSpPr>
          <p:spPr bwMode="auto">
            <a:xfrm>
              <a:off x="7253283" y="3205566"/>
              <a:ext cx="988420" cy="991546"/>
            </a:xfrm>
            <a:prstGeom prst="ellipse">
              <a:avLst/>
            </a:pr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endParaRPr lang="zh-CN" altLang="zh-CN" sz="2133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  <p:sp>
          <p:nvSpPr>
            <p:cNvPr id="28" name="TextBox 682"/>
            <p:cNvSpPr>
              <a:spLocks noChangeArrowheads="1"/>
            </p:cNvSpPr>
            <p:nvPr/>
          </p:nvSpPr>
          <p:spPr bwMode="auto">
            <a:xfrm>
              <a:off x="7261225" y="3454851"/>
              <a:ext cx="101021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buFont typeface="Arial" panose="020B0604020202020204" pitchFamily="34" charset="0"/>
                <a:buNone/>
              </a:pPr>
              <a:r>
                <a:rPr lang="en-US" altLang="zh-CN" sz="2800" dirty="0">
                  <a:solidFill>
                    <a:schemeClr val="bg1"/>
                  </a:solidFill>
                  <a:latin typeface="方正中等线简体" panose="03000509000000000000" pitchFamily="65" charset="-122"/>
                  <a:ea typeface="方正中等线简体" panose="03000509000000000000" pitchFamily="65" charset="-122"/>
                </a:rPr>
                <a:t>3.6%</a:t>
              </a:r>
              <a:endParaRPr lang="zh-CN" altLang="en-US" sz="2800" dirty="0">
                <a:solidFill>
                  <a:schemeClr val="bg1"/>
                </a:solidFill>
                <a:latin typeface="方正中等线简体" panose="03000509000000000000" pitchFamily="65" charset="-122"/>
                <a:ea typeface="方正中等线简体" panose="03000509000000000000" pitchFamily="65" charset="-122"/>
              </a:endParaRPr>
            </a:p>
          </p:txBody>
        </p:sp>
      </p:grpSp>
      <p:sp>
        <p:nvSpPr>
          <p:cNvPr id="31" name="TextBox 129"/>
          <p:cNvSpPr>
            <a:spLocks noChangeArrowheads="1"/>
          </p:cNvSpPr>
          <p:nvPr/>
        </p:nvSpPr>
        <p:spPr bwMode="auto">
          <a:xfrm>
            <a:off x="1911032" y="508735"/>
            <a:ext cx="377539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sz="2800" dirty="0">
                <a:solidFill>
                  <a:srgbClr val="393C3D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Arial" panose="020B0604020202020204" pitchFamily="34" charset="0"/>
              </a:rPr>
              <a:t>市场定位：小学生家长</a:t>
            </a:r>
            <a:endParaRPr lang="zh-CN" altLang="en-US" sz="2800" dirty="0">
              <a:solidFill>
                <a:srgbClr val="393C3D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2020616" y="1373233"/>
            <a:ext cx="2618681" cy="1008000"/>
          </a:xfrm>
          <a:prstGeom prst="rect">
            <a:avLst/>
          </a:prstGeom>
          <a:solidFill>
            <a:srgbClr val="F83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altLang="zh-CN" sz="17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1</a:t>
            </a:r>
            <a:r>
              <a:rPr lang="zh-CN" altLang="en-US" sz="17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亿小学生  </a:t>
            </a:r>
            <a:r>
              <a:rPr lang="en-US" altLang="zh-CN" sz="17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+  1.5</a:t>
            </a:r>
            <a:r>
              <a:rPr lang="zh-CN" altLang="en-US" sz="17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亿（家长、老师、辅导人员）</a:t>
            </a:r>
          </a:p>
        </p:txBody>
      </p:sp>
      <p:sp>
        <p:nvSpPr>
          <p:cNvPr id="36" name="矩形 35"/>
          <p:cNvSpPr/>
          <p:nvPr/>
        </p:nvSpPr>
        <p:spPr>
          <a:xfrm>
            <a:off x="5262003" y="1373233"/>
            <a:ext cx="2232000" cy="1008000"/>
          </a:xfrm>
          <a:prstGeom prst="rect">
            <a:avLst/>
          </a:prstGeom>
          <a:solidFill>
            <a:srgbClr val="EBAC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有微信</a:t>
            </a:r>
            <a:r>
              <a:rPr lang="en-US" altLang="zh-CN" sz="24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68%</a:t>
            </a:r>
            <a:endParaRPr lang="zh-CN" altLang="en-US" sz="2400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8116709" y="1373233"/>
            <a:ext cx="2232000" cy="1008000"/>
          </a:xfrm>
          <a:prstGeom prst="rect">
            <a:avLst/>
          </a:prstGeom>
          <a:solidFill>
            <a:srgbClr val="A2B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二胎政策导致小学生人数增加</a:t>
            </a:r>
          </a:p>
        </p:txBody>
      </p:sp>
    </p:spTree>
    <p:extLst>
      <p:ext uri="{BB962C8B-B14F-4D97-AF65-F5344CB8AC3E}">
        <p14:creationId xmlns:p14="http://schemas.microsoft.com/office/powerpoint/2010/main" val="159460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945"/>
          <p:cNvSpPr>
            <a:spLocks noChangeArrowheads="1"/>
          </p:cNvSpPr>
          <p:nvPr/>
        </p:nvSpPr>
        <p:spPr bwMode="auto">
          <a:xfrm>
            <a:off x="1759431" y="5711619"/>
            <a:ext cx="9923322" cy="837774"/>
          </a:xfrm>
          <a:prstGeom prst="round2DiagRect">
            <a:avLst>
              <a:gd name="adj1" fmla="val 38496"/>
              <a:gd name="adj2" fmla="val 0"/>
            </a:avLst>
          </a:pr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用户平均访问时长</a:t>
            </a:r>
            <a:r>
              <a:rPr lang="en-US" altLang="zh-CN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&gt;15</a:t>
            </a:r>
            <a:r>
              <a:rPr lang="zh-CN" altLang="en-US" sz="44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分钟</a:t>
            </a:r>
          </a:p>
        </p:txBody>
      </p:sp>
      <p:sp>
        <p:nvSpPr>
          <p:cNvPr id="59" name="对角圆角矩形 58"/>
          <p:cNvSpPr/>
          <p:nvPr/>
        </p:nvSpPr>
        <p:spPr>
          <a:xfrm>
            <a:off x="1759432" y="1154223"/>
            <a:ext cx="3538099" cy="2160000"/>
          </a:xfrm>
          <a:prstGeom prst="round2DiagRect">
            <a:avLst>
              <a:gd name="adj1" fmla="val 18513"/>
              <a:gd name="adj2" fmla="val 0"/>
            </a:avLst>
          </a:prstGeom>
          <a:solidFill>
            <a:srgbClr val="F83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5" name="组合 126071"/>
          <p:cNvGrpSpPr>
            <a:grpSpLocks/>
          </p:cNvGrpSpPr>
          <p:nvPr/>
        </p:nvGrpSpPr>
        <p:grpSpPr bwMode="auto">
          <a:xfrm>
            <a:off x="2262581" y="1773028"/>
            <a:ext cx="575991" cy="1430995"/>
            <a:chOff x="499776" y="-20677"/>
            <a:chExt cx="709613" cy="1798637"/>
          </a:xfrm>
          <a:solidFill>
            <a:schemeClr val="bg1"/>
          </a:solidFill>
        </p:grpSpPr>
        <p:sp>
          <p:nvSpPr>
            <p:cNvPr id="56" name="Freeform 5"/>
            <p:cNvSpPr>
              <a:spLocks noChangeArrowheads="1"/>
            </p:cNvSpPr>
            <p:nvPr/>
          </p:nvSpPr>
          <p:spPr bwMode="auto">
            <a:xfrm>
              <a:off x="499776" y="285710"/>
              <a:ext cx="709613" cy="1492250"/>
            </a:xfrm>
            <a:custGeom>
              <a:avLst/>
              <a:gdLst>
                <a:gd name="T0" fmla="*/ 1748291126 w 218"/>
                <a:gd name="T1" fmla="*/ 10569291 h 459"/>
                <a:gd name="T2" fmla="*/ 593360162 w 218"/>
                <a:gd name="T3" fmla="*/ 0 h 459"/>
                <a:gd name="T4" fmla="*/ 0 w 218"/>
                <a:gd name="T5" fmla="*/ 475631117 h 459"/>
                <a:gd name="T6" fmla="*/ 0 w 218"/>
                <a:gd name="T7" fmla="*/ 496769700 h 459"/>
                <a:gd name="T8" fmla="*/ 0 w 218"/>
                <a:gd name="T9" fmla="*/ 570757991 h 459"/>
                <a:gd name="T10" fmla="*/ 0 w 218"/>
                <a:gd name="T11" fmla="*/ 2147483646 h 459"/>
                <a:gd name="T12" fmla="*/ 190723142 w 218"/>
                <a:gd name="T13" fmla="*/ 2147483646 h 459"/>
                <a:gd name="T14" fmla="*/ 381446283 w 218"/>
                <a:gd name="T15" fmla="*/ 2147483646 h 459"/>
                <a:gd name="T16" fmla="*/ 381446283 w 218"/>
                <a:gd name="T17" fmla="*/ 792719612 h 459"/>
                <a:gd name="T18" fmla="*/ 550975433 w 218"/>
                <a:gd name="T19" fmla="*/ 792719612 h 459"/>
                <a:gd name="T20" fmla="*/ 550975433 w 218"/>
                <a:gd name="T21" fmla="*/ 2124486090 h 459"/>
                <a:gd name="T22" fmla="*/ 550975433 w 218"/>
                <a:gd name="T23" fmla="*/ 2147483646 h 459"/>
                <a:gd name="T24" fmla="*/ 550975433 w 218"/>
                <a:gd name="T25" fmla="*/ 2147483646 h 459"/>
                <a:gd name="T26" fmla="*/ 815869409 w 218"/>
                <a:gd name="T27" fmla="*/ 2147483646 h 459"/>
                <a:gd name="T28" fmla="*/ 1080763385 w 218"/>
                <a:gd name="T29" fmla="*/ 2147483646 h 459"/>
                <a:gd name="T30" fmla="*/ 1080763385 w 218"/>
                <a:gd name="T31" fmla="*/ 2147483646 h 459"/>
                <a:gd name="T32" fmla="*/ 1218506429 w 218"/>
                <a:gd name="T33" fmla="*/ 2147483646 h 459"/>
                <a:gd name="T34" fmla="*/ 1218506429 w 218"/>
                <a:gd name="T35" fmla="*/ 2147483646 h 459"/>
                <a:gd name="T36" fmla="*/ 1483400405 w 218"/>
                <a:gd name="T37" fmla="*/ 2147483646 h 459"/>
                <a:gd name="T38" fmla="*/ 1748291126 w 218"/>
                <a:gd name="T39" fmla="*/ 2147483646 h 459"/>
                <a:gd name="T40" fmla="*/ 1748291126 w 218"/>
                <a:gd name="T41" fmla="*/ 2124486090 h 459"/>
                <a:gd name="T42" fmla="*/ 1748291126 w 218"/>
                <a:gd name="T43" fmla="*/ 2113916798 h 459"/>
                <a:gd name="T44" fmla="*/ 1748291126 w 218"/>
                <a:gd name="T45" fmla="*/ 792719612 h 459"/>
                <a:gd name="T46" fmla="*/ 1896632794 w 218"/>
                <a:gd name="T47" fmla="*/ 792719612 h 459"/>
                <a:gd name="T48" fmla="*/ 1896632794 w 218"/>
                <a:gd name="T49" fmla="*/ 2147483646 h 459"/>
                <a:gd name="T50" fmla="*/ 2097951304 w 218"/>
                <a:gd name="T51" fmla="*/ 2147483646 h 459"/>
                <a:gd name="T52" fmla="*/ 2147483646 w 218"/>
                <a:gd name="T53" fmla="*/ 2147483646 h 459"/>
                <a:gd name="T54" fmla="*/ 2147483646 w 218"/>
                <a:gd name="T55" fmla="*/ 570757991 h 459"/>
                <a:gd name="T56" fmla="*/ 2147483646 w 218"/>
                <a:gd name="T57" fmla="*/ 496769700 h 459"/>
                <a:gd name="T58" fmla="*/ 2147483646 w 218"/>
                <a:gd name="T59" fmla="*/ 454492534 h 459"/>
                <a:gd name="T60" fmla="*/ 1748291126 w 218"/>
                <a:gd name="T61" fmla="*/ 10569291 h 45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18"/>
                <a:gd name="T94" fmla="*/ 0 h 459"/>
                <a:gd name="T95" fmla="*/ 218 w 218"/>
                <a:gd name="T96" fmla="*/ 459 h 45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18" h="459">
                  <a:moveTo>
                    <a:pt x="165" y="1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15" y="1"/>
                    <a:pt x="0" y="34"/>
                    <a:pt x="0" y="4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17"/>
                    <a:pt x="8" y="225"/>
                    <a:pt x="18" y="225"/>
                  </a:cubicBezTo>
                  <a:cubicBezTo>
                    <a:pt x="28" y="225"/>
                    <a:pt x="36" y="217"/>
                    <a:pt x="36" y="207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201"/>
                    <a:pt x="52" y="201"/>
                    <a:pt x="52" y="201"/>
                  </a:cubicBezTo>
                  <a:cubicBezTo>
                    <a:pt x="52" y="203"/>
                    <a:pt x="52" y="205"/>
                    <a:pt x="52" y="206"/>
                  </a:cubicBezTo>
                  <a:cubicBezTo>
                    <a:pt x="52" y="433"/>
                    <a:pt x="52" y="433"/>
                    <a:pt x="52" y="433"/>
                  </a:cubicBezTo>
                  <a:cubicBezTo>
                    <a:pt x="52" y="448"/>
                    <a:pt x="63" y="459"/>
                    <a:pt x="77" y="459"/>
                  </a:cubicBezTo>
                  <a:cubicBezTo>
                    <a:pt x="91" y="459"/>
                    <a:pt x="102" y="448"/>
                    <a:pt x="102" y="433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15" y="233"/>
                    <a:pt x="115" y="233"/>
                    <a:pt x="115" y="233"/>
                  </a:cubicBezTo>
                  <a:cubicBezTo>
                    <a:pt x="115" y="433"/>
                    <a:pt x="115" y="433"/>
                    <a:pt x="115" y="433"/>
                  </a:cubicBezTo>
                  <a:cubicBezTo>
                    <a:pt x="115" y="448"/>
                    <a:pt x="126" y="459"/>
                    <a:pt x="140" y="459"/>
                  </a:cubicBezTo>
                  <a:cubicBezTo>
                    <a:pt x="154" y="459"/>
                    <a:pt x="165" y="448"/>
                    <a:pt x="165" y="433"/>
                  </a:cubicBezTo>
                  <a:cubicBezTo>
                    <a:pt x="165" y="201"/>
                    <a:pt x="165" y="201"/>
                    <a:pt x="165" y="201"/>
                  </a:cubicBezTo>
                  <a:cubicBezTo>
                    <a:pt x="165" y="200"/>
                    <a:pt x="165" y="200"/>
                    <a:pt x="165" y="200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79" y="75"/>
                    <a:pt x="179" y="75"/>
                    <a:pt x="179" y="75"/>
                  </a:cubicBezTo>
                  <a:cubicBezTo>
                    <a:pt x="179" y="207"/>
                    <a:pt x="179" y="207"/>
                    <a:pt x="179" y="207"/>
                  </a:cubicBezTo>
                  <a:cubicBezTo>
                    <a:pt x="179" y="217"/>
                    <a:pt x="187" y="225"/>
                    <a:pt x="198" y="225"/>
                  </a:cubicBezTo>
                  <a:cubicBezTo>
                    <a:pt x="209" y="225"/>
                    <a:pt x="218" y="217"/>
                    <a:pt x="218" y="207"/>
                  </a:cubicBezTo>
                  <a:cubicBezTo>
                    <a:pt x="218" y="54"/>
                    <a:pt x="218" y="54"/>
                    <a:pt x="218" y="54"/>
                  </a:cubicBezTo>
                  <a:cubicBezTo>
                    <a:pt x="218" y="47"/>
                    <a:pt x="218" y="47"/>
                    <a:pt x="218" y="47"/>
                  </a:cubicBezTo>
                  <a:cubicBezTo>
                    <a:pt x="218" y="43"/>
                    <a:pt x="218" y="43"/>
                    <a:pt x="218" y="43"/>
                  </a:cubicBezTo>
                  <a:cubicBezTo>
                    <a:pt x="218" y="30"/>
                    <a:pt x="199" y="1"/>
                    <a:pt x="16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7" name="Oval 6"/>
            <p:cNvSpPr>
              <a:spLocks noChangeArrowheads="1"/>
            </p:cNvSpPr>
            <p:nvPr/>
          </p:nvSpPr>
          <p:spPr bwMode="auto">
            <a:xfrm>
              <a:off x="710914" y="-20677"/>
              <a:ext cx="284163" cy="27940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buFont typeface="Arial" panose="020B0604020202020204" pitchFamily="34" charset="0"/>
                <a:buNone/>
              </a:pPr>
              <a:endParaRPr lang="zh-CN" altLang="zh-CN" sz="1600">
                <a:solidFill>
                  <a:srgbClr val="000000"/>
                </a:solidFill>
                <a:sym typeface="宋体" panose="02010600030101010101" pitchFamily="2" charset="-122"/>
              </a:endParaRPr>
            </a:p>
          </p:txBody>
        </p:sp>
      </p:grpSp>
      <p:sp>
        <p:nvSpPr>
          <p:cNvPr id="60" name="文本框 59"/>
          <p:cNvSpPr txBox="1"/>
          <p:nvPr/>
        </p:nvSpPr>
        <p:spPr>
          <a:xfrm>
            <a:off x="3284871" y="1795669"/>
            <a:ext cx="1487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200 +</a:t>
            </a:r>
            <a:endParaRPr lang="zh-CN" altLang="en-US" sz="8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1812490" y="1200293"/>
            <a:ext cx="27158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用户数</a:t>
            </a:r>
            <a:r>
              <a:rPr lang="en-US" altLang="zh-CN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(</a:t>
            </a:r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单位</a:t>
            </a:r>
            <a:r>
              <a:rPr lang="en-US" altLang="zh-CN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:</a:t>
            </a:r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万</a:t>
            </a:r>
            <a:r>
              <a:rPr lang="en-US" altLang="zh-CN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)</a:t>
            </a:r>
            <a:endParaRPr lang="zh-CN" altLang="en-US" sz="28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68" name="对角圆角矩形 67"/>
          <p:cNvSpPr/>
          <p:nvPr/>
        </p:nvSpPr>
        <p:spPr>
          <a:xfrm>
            <a:off x="5372654" y="1150957"/>
            <a:ext cx="1524706" cy="2160000"/>
          </a:xfrm>
          <a:prstGeom prst="round2DiagRect">
            <a:avLst>
              <a:gd name="adj1" fmla="val 21007"/>
              <a:gd name="adj2" fmla="val 0"/>
            </a:avLst>
          </a:prstGeom>
          <a:solidFill>
            <a:srgbClr val="EBAC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文本框 71"/>
          <p:cNvSpPr txBox="1"/>
          <p:nvPr/>
        </p:nvSpPr>
        <p:spPr>
          <a:xfrm>
            <a:off x="5403870" y="1764728"/>
            <a:ext cx="141577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6000</a:t>
            </a:r>
            <a:endParaRPr lang="zh-CN" altLang="en-US" sz="8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5483513" y="1200293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日自增</a:t>
            </a:r>
          </a:p>
        </p:txBody>
      </p:sp>
      <p:sp>
        <p:nvSpPr>
          <p:cNvPr id="74" name="对角圆角矩形 73"/>
          <p:cNvSpPr/>
          <p:nvPr/>
        </p:nvSpPr>
        <p:spPr>
          <a:xfrm>
            <a:off x="6964140" y="1153945"/>
            <a:ext cx="1405060" cy="2160000"/>
          </a:xfrm>
          <a:prstGeom prst="round2DiagRect">
            <a:avLst>
              <a:gd name="adj1" fmla="val 21007"/>
              <a:gd name="adj2" fmla="val 0"/>
            </a:avLst>
          </a:prstGeom>
          <a:solidFill>
            <a:srgbClr val="A2B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框 74"/>
          <p:cNvSpPr txBox="1"/>
          <p:nvPr/>
        </p:nvSpPr>
        <p:spPr>
          <a:xfrm>
            <a:off x="7092157" y="1764728"/>
            <a:ext cx="115448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15%</a:t>
            </a:r>
            <a:endParaRPr lang="zh-CN" altLang="en-US" sz="8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7176451" y="1200293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日活</a:t>
            </a:r>
          </a:p>
        </p:txBody>
      </p:sp>
      <p:sp>
        <p:nvSpPr>
          <p:cNvPr id="77" name="对角圆角矩形 76"/>
          <p:cNvSpPr/>
          <p:nvPr/>
        </p:nvSpPr>
        <p:spPr>
          <a:xfrm>
            <a:off x="8435980" y="1146719"/>
            <a:ext cx="1431448" cy="2160000"/>
          </a:xfrm>
          <a:prstGeom prst="round2DiagRect">
            <a:avLst>
              <a:gd name="adj1" fmla="val 21007"/>
              <a:gd name="adj2" fmla="val 0"/>
            </a:avLst>
          </a:prstGeom>
          <a:solidFill>
            <a:srgbClr val="C65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框 77"/>
          <p:cNvSpPr txBox="1"/>
          <p:nvPr/>
        </p:nvSpPr>
        <p:spPr>
          <a:xfrm>
            <a:off x="8527543" y="1747967"/>
            <a:ext cx="127310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70%</a:t>
            </a:r>
            <a:endParaRPr lang="zh-CN" altLang="en-US" sz="8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9" name="文本框 78"/>
          <p:cNvSpPr txBox="1"/>
          <p:nvPr/>
        </p:nvSpPr>
        <p:spPr>
          <a:xfrm>
            <a:off x="8657825" y="1200293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月活</a:t>
            </a:r>
          </a:p>
        </p:txBody>
      </p:sp>
      <p:sp>
        <p:nvSpPr>
          <p:cNvPr id="83" name="Rectangle 936"/>
          <p:cNvSpPr>
            <a:spLocks noChangeArrowheads="1"/>
          </p:cNvSpPr>
          <p:nvPr/>
        </p:nvSpPr>
        <p:spPr bwMode="auto">
          <a:xfrm>
            <a:off x="1759431" y="243324"/>
            <a:ext cx="9949411" cy="817829"/>
          </a:xfrm>
          <a:prstGeom prst="round2SameRect">
            <a:avLst>
              <a:gd name="adj1" fmla="val 28966"/>
              <a:gd name="adj2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0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微信公众号</a:t>
            </a:r>
            <a:r>
              <a:rPr lang="en-US" altLang="zh-CN" sz="40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【】</a:t>
            </a:r>
            <a:r>
              <a:rPr lang="zh-CN" altLang="en-US" sz="40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运营数据</a:t>
            </a:r>
          </a:p>
        </p:txBody>
      </p:sp>
      <p:pic>
        <p:nvPicPr>
          <p:cNvPr id="22" name="图片 21" descr="图片包含 文字, 纵横字谜&#10;&#10;已生成极高可信度的说明">
            <a:extLst>
              <a:ext uri="{FF2B5EF4-FFF2-40B4-BE49-F238E27FC236}">
                <a16:creationId xmlns:a16="http://schemas.microsoft.com/office/drawing/2014/main" id="{3AD656D0-BF0A-494F-B12D-4971D3E8C76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325" y="5186996"/>
            <a:ext cx="1107758" cy="1107758"/>
          </a:xfrm>
          <a:prstGeom prst="rect">
            <a:avLst/>
          </a:prstGeom>
        </p:spPr>
      </p:pic>
      <p:grpSp>
        <p:nvGrpSpPr>
          <p:cNvPr id="4" name="组合 3"/>
          <p:cNvGrpSpPr/>
          <p:nvPr/>
        </p:nvGrpSpPr>
        <p:grpSpPr>
          <a:xfrm rot="20464043">
            <a:off x="173562" y="4739553"/>
            <a:ext cx="1357313" cy="338554"/>
            <a:chOff x="4364831" y="102747"/>
            <a:chExt cx="1357313" cy="338554"/>
          </a:xfrm>
        </p:grpSpPr>
        <p:sp>
          <p:nvSpPr>
            <p:cNvPr id="2" name="文本框 1"/>
            <p:cNvSpPr txBox="1"/>
            <p:nvPr/>
          </p:nvSpPr>
          <p:spPr>
            <a:xfrm>
              <a:off x="4444780" y="102747"/>
              <a:ext cx="118814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>
                  <a:solidFill>
                    <a:srgbClr val="FF0000"/>
                  </a:solidFill>
                  <a:latin typeface="方正水黑简体" panose="03000509000000000000" pitchFamily="65" charset="-122"/>
                  <a:ea typeface="方正水黑简体" panose="03000509000000000000" pitchFamily="65" charset="-122"/>
                </a:rPr>
                <a:t>看 看 产 品</a:t>
              </a:r>
            </a:p>
          </p:txBody>
        </p:sp>
        <p:sp>
          <p:nvSpPr>
            <p:cNvPr id="3" name="圆角矩形 2"/>
            <p:cNvSpPr/>
            <p:nvPr/>
          </p:nvSpPr>
          <p:spPr>
            <a:xfrm>
              <a:off x="4364831" y="127521"/>
              <a:ext cx="1357313" cy="277291"/>
            </a:xfrm>
            <a:prstGeom prst="roundRect">
              <a:avLst>
                <a:gd name="adj" fmla="val 3786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9" name="对角圆角矩形 38"/>
          <p:cNvSpPr/>
          <p:nvPr/>
        </p:nvSpPr>
        <p:spPr>
          <a:xfrm>
            <a:off x="9942551" y="1153945"/>
            <a:ext cx="1740202" cy="2160000"/>
          </a:xfrm>
          <a:prstGeom prst="round2DiagRect">
            <a:avLst>
              <a:gd name="adj1" fmla="val 21007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文本框 40"/>
          <p:cNvSpPr txBox="1"/>
          <p:nvPr/>
        </p:nvSpPr>
        <p:spPr>
          <a:xfrm>
            <a:off x="10197874" y="1200293"/>
            <a:ext cx="10759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日</a:t>
            </a:r>
            <a:r>
              <a:rPr lang="en-US" altLang="zh-CN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V</a:t>
            </a:r>
            <a:endParaRPr lang="zh-CN" altLang="en-US" sz="28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10001816" y="1888864"/>
            <a:ext cx="106631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400</a:t>
            </a:r>
            <a:endParaRPr lang="zh-CN" altLang="en-US" sz="8000" dirty="0">
              <a:solidFill>
                <a:schemeClr val="bg1"/>
              </a:solidFill>
              <a:latin typeface="郑庆科黄油体Regular " panose="02000603000000000000" pitchFamily="2" charset="-122"/>
              <a:ea typeface="郑庆科黄油体Regular " panose="02000603000000000000" pitchFamily="2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10873253" y="2059226"/>
            <a:ext cx="7136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5400" dirty="0">
                <a:solidFill>
                  <a:schemeClr val="bg1"/>
                </a:solidFill>
                <a:latin typeface="郑庆科黄油体Regular " panose="02000603000000000000" pitchFamily="2" charset="-122"/>
                <a:ea typeface="郑庆科黄油体Regular " panose="02000603000000000000" pitchFamily="2" charset="-122"/>
              </a:rPr>
              <a:t>万</a:t>
            </a:r>
          </a:p>
        </p:txBody>
      </p:sp>
      <p:sp>
        <p:nvSpPr>
          <p:cNvPr id="103" name="对角圆角矩形 102"/>
          <p:cNvSpPr/>
          <p:nvPr/>
        </p:nvSpPr>
        <p:spPr>
          <a:xfrm>
            <a:off x="1785521" y="3455448"/>
            <a:ext cx="4310479" cy="2160000"/>
          </a:xfrm>
          <a:prstGeom prst="round2DiagRect">
            <a:avLst>
              <a:gd name="adj1" fmla="val 18513"/>
              <a:gd name="adj2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文本框 106"/>
          <p:cNvSpPr txBox="1"/>
          <p:nvPr/>
        </p:nvSpPr>
        <p:spPr>
          <a:xfrm>
            <a:off x="2289988" y="4112389"/>
            <a:ext cx="14622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100%</a:t>
            </a:r>
            <a:endParaRPr lang="zh-CN" altLang="en-US" sz="8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08" name="文本框 107"/>
          <p:cNvSpPr txBox="1"/>
          <p:nvPr/>
        </p:nvSpPr>
        <p:spPr>
          <a:xfrm>
            <a:off x="1893443" y="3551033"/>
            <a:ext cx="41507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河北省教育厅公告练习册</a:t>
            </a:r>
          </a:p>
        </p:txBody>
      </p:sp>
      <p:sp>
        <p:nvSpPr>
          <p:cNvPr id="122" name="对角圆角矩形 121"/>
          <p:cNvSpPr/>
          <p:nvPr/>
        </p:nvSpPr>
        <p:spPr>
          <a:xfrm>
            <a:off x="6149058" y="3426350"/>
            <a:ext cx="2731191" cy="2160000"/>
          </a:xfrm>
          <a:prstGeom prst="round2DiagRect">
            <a:avLst>
              <a:gd name="adj1" fmla="val 18513"/>
              <a:gd name="adj2" fmla="val 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对角圆角矩形 122"/>
          <p:cNvSpPr/>
          <p:nvPr/>
        </p:nvSpPr>
        <p:spPr>
          <a:xfrm>
            <a:off x="8932066" y="3426350"/>
            <a:ext cx="2750687" cy="2160000"/>
          </a:xfrm>
          <a:prstGeom prst="round2DiagRect">
            <a:avLst>
              <a:gd name="adj1" fmla="val 18513"/>
              <a:gd name="adj2" fmla="val 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3805307" y="4285458"/>
            <a:ext cx="203132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dirty="0">
                <a:solidFill>
                  <a:schemeClr val="bg1"/>
                </a:solidFill>
                <a:latin typeface="+mn-ea"/>
              </a:rPr>
              <a:t>全覆盖</a:t>
            </a:r>
          </a:p>
        </p:txBody>
      </p:sp>
      <p:sp>
        <p:nvSpPr>
          <p:cNvPr id="125" name="文本框 124"/>
          <p:cNvSpPr txBox="1"/>
          <p:nvPr/>
        </p:nvSpPr>
        <p:spPr>
          <a:xfrm>
            <a:off x="6496842" y="4112389"/>
            <a:ext cx="126348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1200</a:t>
            </a:r>
            <a:endParaRPr lang="zh-CN" altLang="en-US" sz="8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26" name="文本框 125"/>
          <p:cNvSpPr txBox="1"/>
          <p:nvPr/>
        </p:nvSpPr>
        <p:spPr>
          <a:xfrm>
            <a:off x="6233891" y="3534235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总练习册发布量</a:t>
            </a:r>
          </a:p>
        </p:txBody>
      </p:sp>
      <p:sp>
        <p:nvSpPr>
          <p:cNvPr id="127" name="文本框 126"/>
          <p:cNvSpPr txBox="1"/>
          <p:nvPr/>
        </p:nvSpPr>
        <p:spPr>
          <a:xfrm>
            <a:off x="8966820" y="3507938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总原创讲解视频</a:t>
            </a:r>
          </a:p>
        </p:txBody>
      </p:sp>
      <p:sp>
        <p:nvSpPr>
          <p:cNvPr id="128" name="文本框 127"/>
          <p:cNvSpPr txBox="1"/>
          <p:nvPr/>
        </p:nvSpPr>
        <p:spPr>
          <a:xfrm>
            <a:off x="9161974" y="4112389"/>
            <a:ext cx="110799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latin typeface="Niagara Solid" panose="04020502070702020202" pitchFamily="82" charset="0"/>
                <a:ea typeface="+mj-ea"/>
              </a:rPr>
              <a:t>600</a:t>
            </a:r>
            <a:endParaRPr lang="zh-CN" altLang="en-US" sz="8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29" name="文本框 128"/>
          <p:cNvSpPr txBox="1"/>
          <p:nvPr/>
        </p:nvSpPr>
        <p:spPr>
          <a:xfrm>
            <a:off x="7746728" y="4285458"/>
            <a:ext cx="8002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dirty="0">
                <a:solidFill>
                  <a:schemeClr val="bg1"/>
                </a:solidFill>
                <a:latin typeface="+mn-ea"/>
              </a:rPr>
              <a:t>本</a:t>
            </a:r>
          </a:p>
        </p:txBody>
      </p:sp>
      <p:sp>
        <p:nvSpPr>
          <p:cNvPr id="130" name="文本框 129"/>
          <p:cNvSpPr txBox="1"/>
          <p:nvPr/>
        </p:nvSpPr>
        <p:spPr>
          <a:xfrm>
            <a:off x="10103649" y="4285458"/>
            <a:ext cx="14157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dirty="0">
                <a:solidFill>
                  <a:schemeClr val="bg1"/>
                </a:solidFill>
                <a:latin typeface="+mn-ea"/>
              </a:rPr>
              <a:t>小时</a:t>
            </a:r>
          </a:p>
        </p:txBody>
      </p:sp>
    </p:spTree>
    <p:extLst>
      <p:ext uri="{BB962C8B-B14F-4D97-AF65-F5344CB8AC3E}">
        <p14:creationId xmlns:p14="http://schemas.microsoft.com/office/powerpoint/2010/main" val="190592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36"/>
          <p:cNvSpPr>
            <a:spLocks noChangeArrowheads="1"/>
          </p:cNvSpPr>
          <p:nvPr/>
        </p:nvSpPr>
        <p:spPr bwMode="auto">
          <a:xfrm>
            <a:off x="1762711" y="535932"/>
            <a:ext cx="9884808" cy="817829"/>
          </a:xfrm>
          <a:prstGeom prst="round2SameRect">
            <a:avLst>
              <a:gd name="adj1" fmla="val 28966"/>
              <a:gd name="adj2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4000" dirty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  <a:sym typeface="宋体" panose="02010600030101010101" pitchFamily="2" charset="-122"/>
              </a:rPr>
              <a:t>单月财务数据</a:t>
            </a:r>
            <a:endParaRPr lang="zh-CN" altLang="zh-CN" sz="4000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  <a:sym typeface="宋体" panose="02010600030101010101" pitchFamily="2" charset="-122"/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7941120" y="1997174"/>
            <a:ext cx="3812197" cy="3350520"/>
            <a:chOff x="7941120" y="1814294"/>
            <a:chExt cx="3812197" cy="3350520"/>
          </a:xfrm>
        </p:grpSpPr>
        <p:sp>
          <p:nvSpPr>
            <p:cNvPr id="49" name="文本框 48"/>
            <p:cNvSpPr txBox="1"/>
            <p:nvPr/>
          </p:nvSpPr>
          <p:spPr>
            <a:xfrm>
              <a:off x="8265360" y="1814294"/>
              <a:ext cx="198804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800" b="1" dirty="0">
                  <a:solidFill>
                    <a:srgbClr val="585657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总成本结构</a:t>
              </a:r>
            </a:p>
          </p:txBody>
        </p:sp>
        <p:grpSp>
          <p:nvGrpSpPr>
            <p:cNvPr id="64" name="组合 63"/>
            <p:cNvGrpSpPr/>
            <p:nvPr/>
          </p:nvGrpSpPr>
          <p:grpSpPr>
            <a:xfrm>
              <a:off x="7941120" y="2610868"/>
              <a:ext cx="2455862" cy="2553946"/>
              <a:chOff x="7941120" y="2610868"/>
              <a:chExt cx="2455862" cy="2553946"/>
            </a:xfrm>
          </p:grpSpPr>
          <p:sp>
            <p:nvSpPr>
              <p:cNvPr id="57" name="任意多边形 56"/>
              <p:cNvSpPr>
                <a:spLocks noChangeArrowheads="1"/>
              </p:cNvSpPr>
              <p:nvPr/>
            </p:nvSpPr>
            <p:spPr bwMode="auto">
              <a:xfrm>
                <a:off x="7941120" y="2610868"/>
                <a:ext cx="2455862" cy="1895475"/>
              </a:xfrm>
              <a:custGeom>
                <a:avLst/>
                <a:gdLst>
                  <a:gd name="connsiteX0" fmla="*/ 1230312 w 2455862"/>
                  <a:gd name="connsiteY0" fmla="*/ 0 h 1895475"/>
                  <a:gd name="connsiteX1" fmla="*/ 2314010 w 2455862"/>
                  <a:gd name="connsiteY1" fmla="*/ 652745 h 1895475"/>
                  <a:gd name="connsiteX2" fmla="*/ 2387597 w 2455862"/>
                  <a:gd name="connsiteY2" fmla="*/ 822606 h 1895475"/>
                  <a:gd name="connsiteX3" fmla="*/ 2388400 w 2455862"/>
                  <a:gd name="connsiteY3" fmla="*/ 822325 h 1895475"/>
                  <a:gd name="connsiteX4" fmla="*/ 2455862 w 2455862"/>
                  <a:gd name="connsiteY4" fmla="*/ 1227507 h 1895475"/>
                  <a:gd name="connsiteX5" fmla="*/ 2347174 w 2455862"/>
                  <a:gd name="connsiteY5" fmla="*/ 1741488 h 1895475"/>
                  <a:gd name="connsiteX6" fmla="*/ 1426908 w 2455862"/>
                  <a:gd name="connsiteY6" fmla="*/ 1317981 h 1895475"/>
                  <a:gd name="connsiteX7" fmla="*/ 1235734 w 2455862"/>
                  <a:gd name="connsiteY7" fmla="*/ 1230002 h 1895475"/>
                  <a:gd name="connsiteX8" fmla="*/ 1230312 w 2455862"/>
                  <a:gd name="connsiteY8" fmla="*/ 1231900 h 1895475"/>
                  <a:gd name="connsiteX9" fmla="*/ 1230312 w 2455862"/>
                  <a:gd name="connsiteY9" fmla="*/ 1231121 h 1895475"/>
                  <a:gd name="connsiteX10" fmla="*/ 187547 w 2455862"/>
                  <a:gd name="connsiteY10" fmla="*/ 1876708 h 1895475"/>
                  <a:gd name="connsiteX11" fmla="*/ 195049 w 2455862"/>
                  <a:gd name="connsiteY11" fmla="*/ 1895475 h 1895475"/>
                  <a:gd name="connsiteX12" fmla="*/ 0 w 2455862"/>
                  <a:gd name="connsiteY12" fmla="*/ 1231121 h 1895475"/>
                  <a:gd name="connsiteX13" fmla="*/ 1230312 w 2455862"/>
                  <a:gd name="connsiteY13" fmla="*/ 0 h 189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55862" h="1895475">
                    <a:moveTo>
                      <a:pt x="1230312" y="0"/>
                    </a:moveTo>
                    <a:cubicBezTo>
                      <a:pt x="1699581" y="0"/>
                      <a:pt x="2108551" y="264549"/>
                      <a:pt x="2314010" y="652745"/>
                    </a:cubicBezTo>
                    <a:lnTo>
                      <a:pt x="2387597" y="822606"/>
                    </a:lnTo>
                    <a:lnTo>
                      <a:pt x="2388400" y="822325"/>
                    </a:lnTo>
                    <a:cubicBezTo>
                      <a:pt x="2433375" y="949882"/>
                      <a:pt x="2455862" y="1084943"/>
                      <a:pt x="2455862" y="1227507"/>
                    </a:cubicBezTo>
                    <a:cubicBezTo>
                      <a:pt x="2455862" y="1411340"/>
                      <a:pt x="2418383" y="1583917"/>
                      <a:pt x="2347174" y="1741488"/>
                    </a:cubicBezTo>
                    <a:cubicBezTo>
                      <a:pt x="2347174" y="1741488"/>
                      <a:pt x="2347174" y="1741488"/>
                      <a:pt x="1426908" y="1317981"/>
                    </a:cubicBezTo>
                    <a:lnTo>
                      <a:pt x="1235734" y="1230002"/>
                    </a:lnTo>
                    <a:lnTo>
                      <a:pt x="1230312" y="1231900"/>
                    </a:lnTo>
                    <a:lnTo>
                      <a:pt x="1230312" y="1231121"/>
                    </a:lnTo>
                    <a:cubicBezTo>
                      <a:pt x="1230312" y="1231121"/>
                      <a:pt x="1230312" y="1231121"/>
                      <a:pt x="187547" y="1876708"/>
                    </a:cubicBezTo>
                    <a:lnTo>
                      <a:pt x="195049" y="1895475"/>
                    </a:lnTo>
                    <a:cubicBezTo>
                      <a:pt x="71268" y="1704051"/>
                      <a:pt x="0" y="1475093"/>
                      <a:pt x="0" y="1231121"/>
                    </a:cubicBezTo>
                    <a:cubicBezTo>
                      <a:pt x="0" y="551752"/>
                      <a:pt x="551390" y="0"/>
                      <a:pt x="1230312" y="0"/>
                    </a:cubicBezTo>
                    <a:close/>
                  </a:path>
                </a:pathLst>
              </a:custGeom>
              <a:solidFill>
                <a:srgbClr val="F83003"/>
              </a:solidFill>
              <a:ln w="9525" cmpd="sng">
                <a:solidFill>
                  <a:schemeClr val="bg1"/>
                </a:solidFill>
                <a:bevel/>
                <a:headEnd/>
                <a:tailEnd/>
              </a:ln>
            </p:spPr>
            <p:txBody>
              <a:bodyPr wrap="square">
                <a:noAutofit/>
              </a:bodyPr>
              <a:lstStyle/>
              <a:p>
                <a:endParaRPr lang="zh-CN" altLang="en-US">
                  <a:latin typeface="方正兰亭超细黑简体" panose="02000000000000000000" pitchFamily="2" charset="-122"/>
                  <a:ea typeface="方正兰亭超细黑简体" panose="02000000000000000000" pitchFamily="2" charset="-122"/>
                </a:endParaRPr>
              </a:p>
            </p:txBody>
          </p:sp>
          <p:sp>
            <p:nvSpPr>
              <p:cNvPr id="33" name="Freeform 7"/>
              <p:cNvSpPr>
                <a:spLocks noChangeArrowheads="1"/>
              </p:cNvSpPr>
              <p:nvPr/>
            </p:nvSpPr>
            <p:spPr bwMode="auto">
              <a:xfrm>
                <a:off x="9180957" y="3849118"/>
                <a:ext cx="1112838" cy="1222375"/>
              </a:xfrm>
              <a:custGeom>
                <a:avLst/>
                <a:gdLst>
                  <a:gd name="T0" fmla="*/ 0 w 297"/>
                  <a:gd name="T1" fmla="*/ 0 h 326"/>
                  <a:gd name="T2" fmla="*/ 0 w 297"/>
                  <a:gd name="T3" fmla="*/ 2147483646 h 326"/>
                  <a:gd name="T4" fmla="*/ 2147483646 w 297"/>
                  <a:gd name="T5" fmla="*/ 1912109468 h 326"/>
                  <a:gd name="T6" fmla="*/ 0 w 297"/>
                  <a:gd name="T7" fmla="*/ 0 h 3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97"/>
                  <a:gd name="T13" fmla="*/ 0 h 326"/>
                  <a:gd name="T14" fmla="*/ 297 w 297"/>
                  <a:gd name="T15" fmla="*/ 326 h 3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97" h="326">
                    <a:moveTo>
                      <a:pt x="0" y="0"/>
                    </a:moveTo>
                    <a:cubicBezTo>
                      <a:pt x="0" y="326"/>
                      <a:pt x="0" y="326"/>
                      <a:pt x="0" y="326"/>
                    </a:cubicBezTo>
                    <a:cubicBezTo>
                      <a:pt x="132" y="326"/>
                      <a:pt x="246" y="248"/>
                      <a:pt x="297" y="1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2B932"/>
              </a:solidFill>
              <a:ln w="9525" cmpd="sng">
                <a:solidFill>
                  <a:schemeClr val="bg1"/>
                </a:solidFill>
                <a:bevel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latin typeface="方正兰亭超细黑简体" panose="02000000000000000000" pitchFamily="2" charset="-122"/>
                  <a:ea typeface="方正兰亭超细黑简体" panose="02000000000000000000" pitchFamily="2" charset="-122"/>
                </a:endParaRPr>
              </a:p>
            </p:txBody>
          </p:sp>
          <p:sp>
            <p:nvSpPr>
              <p:cNvPr id="62" name="任意多边形 61"/>
              <p:cNvSpPr>
                <a:spLocks noChangeArrowheads="1"/>
              </p:cNvSpPr>
              <p:nvPr/>
            </p:nvSpPr>
            <p:spPr bwMode="auto">
              <a:xfrm rot="3940954">
                <a:off x="8305446" y="4003600"/>
                <a:ext cx="1112838" cy="1209589"/>
              </a:xfrm>
              <a:custGeom>
                <a:avLst/>
                <a:gdLst>
                  <a:gd name="connsiteX0" fmla="*/ 327139 w 1112838"/>
                  <a:gd name="connsiteY0" fmla="*/ 1176499 h 1209589"/>
                  <a:gd name="connsiteX1" fmla="*/ 402584 w 1112838"/>
                  <a:gd name="connsiteY1" fmla="*/ 1152191 h 1209589"/>
                  <a:gd name="connsiteX2" fmla="*/ 355666 w 1112838"/>
                  <a:gd name="connsiteY2" fmla="*/ 1170115 h 1209589"/>
                  <a:gd name="connsiteX3" fmla="*/ 173809 w 1112838"/>
                  <a:gd name="connsiteY3" fmla="*/ 1209589 h 1209589"/>
                  <a:gd name="connsiteX4" fmla="*/ 203615 w 1112838"/>
                  <a:gd name="connsiteY4" fmla="*/ 1204146 h 1209589"/>
                  <a:gd name="connsiteX5" fmla="*/ 181982 w 1112838"/>
                  <a:gd name="connsiteY5" fmla="*/ 1208988 h 1209589"/>
                  <a:gd name="connsiteX6" fmla="*/ 0 w 1112838"/>
                  <a:gd name="connsiteY6" fmla="*/ 0 h 1209589"/>
                  <a:gd name="connsiteX7" fmla="*/ 1112838 w 1112838"/>
                  <a:gd name="connsiteY7" fmla="*/ 509948 h 1209589"/>
                  <a:gd name="connsiteX8" fmla="*/ 519074 w 1112838"/>
                  <a:gd name="connsiteY8" fmla="*/ 1107689 h 1209589"/>
                  <a:gd name="connsiteX9" fmla="*/ 445402 w 1112838"/>
                  <a:gd name="connsiteY9" fmla="*/ 1135834 h 1209589"/>
                  <a:gd name="connsiteX10" fmla="*/ 385453 w 1112838"/>
                  <a:gd name="connsiteY10" fmla="*/ 984474 h 1209589"/>
                  <a:gd name="connsiteX11" fmla="*/ 11094 w 1112838"/>
                  <a:gd name="connsiteY11" fmla="*/ 39292 h 1209589"/>
                  <a:gd name="connsiteX12" fmla="*/ 0 w 1112838"/>
                  <a:gd name="connsiteY12" fmla="*/ 11282 h 1209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12838" h="1209589">
                    <a:moveTo>
                      <a:pt x="327139" y="1176499"/>
                    </a:moveTo>
                    <a:lnTo>
                      <a:pt x="402584" y="1152191"/>
                    </a:lnTo>
                    <a:lnTo>
                      <a:pt x="355666" y="1170115"/>
                    </a:lnTo>
                    <a:close/>
                    <a:moveTo>
                      <a:pt x="173809" y="1209589"/>
                    </a:moveTo>
                    <a:lnTo>
                      <a:pt x="203615" y="1204146"/>
                    </a:lnTo>
                    <a:lnTo>
                      <a:pt x="181982" y="1208988"/>
                    </a:lnTo>
                    <a:close/>
                    <a:moveTo>
                      <a:pt x="0" y="0"/>
                    </a:moveTo>
                    <a:lnTo>
                      <a:pt x="1112838" y="509948"/>
                    </a:lnTo>
                    <a:cubicBezTo>
                      <a:pt x="993405" y="772421"/>
                      <a:pt x="781762" y="985094"/>
                      <a:pt x="519074" y="1107689"/>
                    </a:cubicBezTo>
                    <a:lnTo>
                      <a:pt x="445402" y="1135834"/>
                    </a:lnTo>
                    <a:lnTo>
                      <a:pt x="385453" y="984474"/>
                    </a:lnTo>
                    <a:cubicBezTo>
                      <a:pt x="134328" y="350434"/>
                      <a:pt x="43758" y="121764"/>
                      <a:pt x="11094" y="39292"/>
                    </a:cubicBezTo>
                    <a:lnTo>
                      <a:pt x="0" y="11282"/>
                    </a:lnTo>
                    <a:close/>
                  </a:path>
                </a:pathLst>
              </a:custGeom>
              <a:solidFill>
                <a:srgbClr val="EBAC07"/>
              </a:solidFill>
              <a:ln w="9525" cmpd="sng">
                <a:solidFill>
                  <a:schemeClr val="bg1"/>
                </a:solidFill>
                <a:bevel/>
                <a:headEnd/>
                <a:tailEnd/>
              </a:ln>
            </p:spPr>
            <p:txBody>
              <a:bodyPr wrap="square">
                <a:noAutofit/>
              </a:bodyPr>
              <a:lstStyle/>
              <a:p>
                <a:endParaRPr lang="zh-CN" altLang="en-US">
                  <a:latin typeface="方正兰亭超细黑简体" panose="02000000000000000000" pitchFamily="2" charset="-122"/>
                  <a:ea typeface="方正兰亭超细黑简体" panose="02000000000000000000" pitchFamily="2" charset="-122"/>
                </a:endParaRPr>
              </a:p>
            </p:txBody>
          </p:sp>
          <p:sp>
            <p:nvSpPr>
              <p:cNvPr id="63" name="任意多边形 62"/>
              <p:cNvSpPr>
                <a:spLocks noChangeArrowheads="1"/>
              </p:cNvSpPr>
              <p:nvPr/>
            </p:nvSpPr>
            <p:spPr bwMode="auto">
              <a:xfrm>
                <a:off x="8131750" y="3849391"/>
                <a:ext cx="1032086" cy="980142"/>
              </a:xfrm>
              <a:custGeom>
                <a:avLst/>
                <a:gdLst>
                  <a:gd name="connsiteX0" fmla="*/ 1032086 w 1032086"/>
                  <a:gd name="connsiteY0" fmla="*/ 0 h 980142"/>
                  <a:gd name="connsiteX1" fmla="*/ 1032086 w 1032086"/>
                  <a:gd name="connsiteY1" fmla="*/ 667 h 980142"/>
                  <a:gd name="connsiteX2" fmla="*/ 1030634 w 1032086"/>
                  <a:gd name="connsiteY2" fmla="*/ 2644 h 980142"/>
                  <a:gd name="connsiteX3" fmla="*/ 312985 w 1032086"/>
                  <a:gd name="connsiteY3" fmla="*/ 980142 h 980142"/>
                  <a:gd name="connsiteX4" fmla="*/ 80074 w 1032086"/>
                  <a:gd name="connsiteY4" fmla="*/ 757238 h 980142"/>
                  <a:gd name="connsiteX5" fmla="*/ 0 w 1032086"/>
                  <a:gd name="connsiteY5" fmla="*/ 642962 h 980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32086" h="980142">
                    <a:moveTo>
                      <a:pt x="1032086" y="0"/>
                    </a:moveTo>
                    <a:lnTo>
                      <a:pt x="1032086" y="667"/>
                    </a:lnTo>
                    <a:lnTo>
                      <a:pt x="1030634" y="2644"/>
                    </a:lnTo>
                    <a:cubicBezTo>
                      <a:pt x="996460" y="49192"/>
                      <a:pt x="859765" y="235382"/>
                      <a:pt x="312985" y="980142"/>
                    </a:cubicBezTo>
                    <a:cubicBezTo>
                      <a:pt x="223770" y="914644"/>
                      <a:pt x="146004" y="839495"/>
                      <a:pt x="80074" y="757238"/>
                    </a:cubicBezTo>
                    <a:lnTo>
                      <a:pt x="0" y="642962"/>
                    </a:lnTo>
                    <a:close/>
                  </a:path>
                </a:pathLst>
              </a:custGeom>
              <a:solidFill>
                <a:srgbClr val="4C6062"/>
              </a:solidFill>
              <a:ln w="9525" cmpd="sng">
                <a:solidFill>
                  <a:schemeClr val="bg1"/>
                </a:solidFill>
                <a:bevel/>
                <a:headEnd/>
                <a:tailEnd/>
              </a:ln>
            </p:spPr>
            <p:txBody>
              <a:bodyPr wrap="square">
                <a:noAutofit/>
              </a:bodyPr>
              <a:lstStyle/>
              <a:p>
                <a:endParaRPr lang="zh-CN" altLang="en-US">
                  <a:latin typeface="方正兰亭超细黑简体" panose="02000000000000000000" pitchFamily="2" charset="-122"/>
                  <a:ea typeface="方正兰亭超细黑简体" panose="02000000000000000000" pitchFamily="2" charset="-122"/>
                </a:endParaRPr>
              </a:p>
            </p:txBody>
          </p:sp>
          <p:sp>
            <p:nvSpPr>
              <p:cNvPr id="50" name="椭圆 49"/>
              <p:cNvSpPr/>
              <p:nvPr/>
            </p:nvSpPr>
            <p:spPr>
              <a:xfrm>
                <a:off x="8629981" y="3250834"/>
                <a:ext cx="1139709" cy="113970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方正兰亭超细黑简体" panose="02000000000000000000" pitchFamily="2" charset="-122"/>
                  <a:ea typeface="方正兰亭超细黑简体" panose="02000000000000000000" pitchFamily="2" charset="-122"/>
                </a:endParaRPr>
              </a:p>
            </p:txBody>
          </p:sp>
        </p:grpSp>
        <p:sp>
          <p:nvSpPr>
            <p:cNvPr id="65" name="文本框 64"/>
            <p:cNvSpPr txBox="1"/>
            <p:nvPr/>
          </p:nvSpPr>
          <p:spPr>
            <a:xfrm rot="20239297">
              <a:off x="8436699" y="2910900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人员工资</a:t>
              </a:r>
            </a:p>
          </p:txBody>
        </p:sp>
        <p:sp>
          <p:nvSpPr>
            <p:cNvPr id="66" name="文本框 65"/>
            <p:cNvSpPr txBox="1"/>
            <p:nvPr/>
          </p:nvSpPr>
          <p:spPr>
            <a:xfrm rot="20239297">
              <a:off x="9259140" y="4425745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硬件网络</a:t>
              </a:r>
            </a:p>
          </p:txBody>
        </p:sp>
        <p:sp>
          <p:nvSpPr>
            <p:cNvPr id="67" name="文本框 66"/>
            <p:cNvSpPr txBox="1"/>
            <p:nvPr/>
          </p:nvSpPr>
          <p:spPr>
            <a:xfrm rot="17592856">
              <a:off x="8481329" y="4552323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管理成本</a:t>
              </a:r>
            </a:p>
          </p:txBody>
        </p:sp>
        <p:sp>
          <p:nvSpPr>
            <p:cNvPr id="68" name="文本框 67"/>
            <p:cNvSpPr txBox="1"/>
            <p:nvPr/>
          </p:nvSpPr>
          <p:spPr>
            <a:xfrm rot="19037679">
              <a:off x="8134255" y="431726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其它成本</a:t>
              </a: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10542729" y="3291298"/>
              <a:ext cx="1210588" cy="110799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人员工资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63%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硬件网络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21%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管理成本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11%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其它成本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5%</a:t>
              </a:r>
              <a:endParaRPr lang="zh-CN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1782862" y="1978143"/>
            <a:ext cx="5418031" cy="3051039"/>
            <a:chOff x="2013238" y="1631628"/>
            <a:chExt cx="5418031" cy="3051039"/>
          </a:xfrm>
        </p:grpSpPr>
        <p:sp>
          <p:nvSpPr>
            <p:cNvPr id="4" name="Freeform 5"/>
            <p:cNvSpPr>
              <a:spLocks noChangeArrowheads="1"/>
            </p:cNvSpPr>
            <p:nvPr/>
          </p:nvSpPr>
          <p:spPr bwMode="auto">
            <a:xfrm>
              <a:off x="2013238" y="3318721"/>
              <a:ext cx="280176" cy="918212"/>
            </a:xfrm>
            <a:custGeom>
              <a:avLst/>
              <a:gdLst>
                <a:gd name="T0" fmla="*/ 84616140 w 93"/>
                <a:gd name="T1" fmla="*/ 1577309813 h 305"/>
                <a:gd name="T2" fmla="*/ 84616140 w 93"/>
                <a:gd name="T3" fmla="*/ 1168898299 h 305"/>
                <a:gd name="T4" fmla="*/ 0 w 93"/>
                <a:gd name="T5" fmla="*/ 1168898299 h 305"/>
                <a:gd name="T6" fmla="*/ 0 w 93"/>
                <a:gd name="T7" fmla="*/ 2140634747 h 305"/>
                <a:gd name="T8" fmla="*/ 1311565188 w 93"/>
                <a:gd name="T9" fmla="*/ 2147483646 h 305"/>
                <a:gd name="T10" fmla="*/ 1311565188 w 93"/>
                <a:gd name="T11" fmla="*/ 0 h 305"/>
                <a:gd name="T12" fmla="*/ 84616140 w 93"/>
                <a:gd name="T13" fmla="*/ 1577309813 h 30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3"/>
                <a:gd name="T22" fmla="*/ 0 h 305"/>
                <a:gd name="T23" fmla="*/ 93 w 93"/>
                <a:gd name="T24" fmla="*/ 305 h 30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3" h="305">
                  <a:moveTo>
                    <a:pt x="6" y="112"/>
                  </a:moveTo>
                  <a:cubicBezTo>
                    <a:pt x="6" y="83"/>
                    <a:pt x="6" y="83"/>
                    <a:pt x="6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08"/>
                    <a:pt x="34" y="260"/>
                    <a:pt x="93" y="305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49" y="33"/>
                    <a:pt x="18" y="71"/>
                    <a:pt x="6" y="112"/>
                  </a:cubicBezTo>
                  <a:close/>
                </a:path>
              </a:pathLst>
            </a:custGeom>
            <a:solidFill>
              <a:srgbClr val="7E0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72" name="任意多边形 71"/>
            <p:cNvSpPr>
              <a:spLocks noChangeArrowheads="1"/>
            </p:cNvSpPr>
            <p:nvPr/>
          </p:nvSpPr>
          <p:spPr bwMode="auto">
            <a:xfrm>
              <a:off x="2293414" y="2874261"/>
              <a:ext cx="2502477" cy="914391"/>
            </a:xfrm>
            <a:custGeom>
              <a:avLst/>
              <a:gdLst>
                <a:gd name="connsiteX0" fmla="*/ 1738362 w 2502477"/>
                <a:gd name="connsiteY0" fmla="*/ 0 h 914391"/>
                <a:gd name="connsiteX1" fmla="*/ 2502477 w 2502477"/>
                <a:gd name="connsiteY1" fmla="*/ 66177 h 914391"/>
                <a:gd name="connsiteX2" fmla="*/ 2502477 w 2502477"/>
                <a:gd name="connsiteY2" fmla="*/ 490307 h 914391"/>
                <a:gd name="connsiteX3" fmla="*/ 1738362 w 2502477"/>
                <a:gd name="connsiteY3" fmla="*/ 366978 h 914391"/>
                <a:gd name="connsiteX4" fmla="*/ 1738362 w 2502477"/>
                <a:gd name="connsiteY4" fmla="*/ 366960 h 914391"/>
                <a:gd name="connsiteX5" fmla="*/ 535343 w 2502477"/>
                <a:gd name="connsiteY5" fmla="*/ 902360 h 914391"/>
                <a:gd name="connsiteX6" fmla="*/ 538351 w 2502477"/>
                <a:gd name="connsiteY6" fmla="*/ 914391 h 914391"/>
                <a:gd name="connsiteX7" fmla="*/ 0 w 2502477"/>
                <a:gd name="connsiteY7" fmla="*/ 914391 h 914391"/>
                <a:gd name="connsiteX8" fmla="*/ 0 w 2502477"/>
                <a:gd name="connsiteY8" fmla="*/ 445164 h 914391"/>
                <a:gd name="connsiteX9" fmla="*/ 1738362 w 2502477"/>
                <a:gd name="connsiteY9" fmla="*/ 0 h 91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2477" h="914391">
                  <a:moveTo>
                    <a:pt x="1738362" y="0"/>
                  </a:moveTo>
                  <a:cubicBezTo>
                    <a:pt x="2009112" y="0"/>
                    <a:pt x="2267828" y="24064"/>
                    <a:pt x="2502477" y="66177"/>
                  </a:cubicBezTo>
                  <a:cubicBezTo>
                    <a:pt x="2502477" y="66177"/>
                    <a:pt x="2502477" y="66177"/>
                    <a:pt x="2502477" y="490307"/>
                  </a:cubicBezTo>
                  <a:cubicBezTo>
                    <a:pt x="2294903" y="412099"/>
                    <a:pt x="2030170" y="366978"/>
                    <a:pt x="1738362" y="366978"/>
                  </a:cubicBezTo>
                  <a:lnTo>
                    <a:pt x="1738362" y="366960"/>
                  </a:lnTo>
                  <a:cubicBezTo>
                    <a:pt x="1073694" y="366960"/>
                    <a:pt x="535343" y="607589"/>
                    <a:pt x="535343" y="902360"/>
                  </a:cubicBezTo>
                  <a:cubicBezTo>
                    <a:pt x="535343" y="908375"/>
                    <a:pt x="538351" y="911383"/>
                    <a:pt x="538351" y="914391"/>
                  </a:cubicBezTo>
                  <a:cubicBezTo>
                    <a:pt x="538351" y="914391"/>
                    <a:pt x="538351" y="914391"/>
                    <a:pt x="0" y="914391"/>
                  </a:cubicBezTo>
                  <a:cubicBezTo>
                    <a:pt x="0" y="914391"/>
                    <a:pt x="0" y="914391"/>
                    <a:pt x="0" y="445164"/>
                  </a:cubicBezTo>
                  <a:cubicBezTo>
                    <a:pt x="348876" y="177464"/>
                    <a:pt x="998506" y="0"/>
                    <a:pt x="1738362" y="0"/>
                  </a:cubicBezTo>
                  <a:close/>
                </a:path>
              </a:pathLst>
            </a:custGeom>
            <a:solidFill>
              <a:srgbClr val="7E0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>
              <a:noAutofit/>
            </a:bodyPr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6" name="Freeform 7"/>
            <p:cNvSpPr>
              <a:spLocks noChangeArrowheads="1"/>
            </p:cNvSpPr>
            <p:nvPr/>
          </p:nvSpPr>
          <p:spPr bwMode="auto">
            <a:xfrm>
              <a:off x="2293414" y="3788652"/>
              <a:ext cx="1689968" cy="894014"/>
            </a:xfrm>
            <a:custGeom>
              <a:avLst/>
              <a:gdLst>
                <a:gd name="T0" fmla="*/ 0 w 562"/>
                <a:gd name="T1" fmla="*/ 2097854407 h 297"/>
                <a:gd name="T2" fmla="*/ 2147483646 w 562"/>
                <a:gd name="T3" fmla="*/ 2147483646 h 297"/>
                <a:gd name="T4" fmla="*/ 2147483646 w 562"/>
                <a:gd name="T5" fmla="*/ 2147483646 h 297"/>
                <a:gd name="T6" fmla="*/ 2147483646 w 562"/>
                <a:gd name="T7" fmla="*/ 1224921927 h 297"/>
                <a:gd name="T8" fmla="*/ 2147483646 w 562"/>
                <a:gd name="T9" fmla="*/ 0 h 297"/>
                <a:gd name="T10" fmla="*/ 0 w 562"/>
                <a:gd name="T11" fmla="*/ 0 h 297"/>
                <a:gd name="T12" fmla="*/ 0 w 562"/>
                <a:gd name="T13" fmla="*/ 2097854407 h 29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62"/>
                <a:gd name="T22" fmla="*/ 0 h 297"/>
                <a:gd name="T23" fmla="*/ 562 w 562"/>
                <a:gd name="T24" fmla="*/ 297 h 29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62" h="297">
                  <a:moveTo>
                    <a:pt x="0" y="149"/>
                  </a:moveTo>
                  <a:cubicBezTo>
                    <a:pt x="114" y="236"/>
                    <a:pt x="323" y="294"/>
                    <a:pt x="562" y="297"/>
                  </a:cubicBezTo>
                  <a:cubicBezTo>
                    <a:pt x="562" y="175"/>
                    <a:pt x="562" y="175"/>
                    <a:pt x="562" y="175"/>
                  </a:cubicBezTo>
                  <a:cubicBezTo>
                    <a:pt x="422" y="173"/>
                    <a:pt x="301" y="138"/>
                    <a:pt x="234" y="87"/>
                  </a:cubicBezTo>
                  <a:cubicBezTo>
                    <a:pt x="200" y="61"/>
                    <a:pt x="180" y="32"/>
                    <a:pt x="17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rgbClr val="285F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7" name="Freeform 8"/>
            <p:cNvSpPr>
              <a:spLocks noChangeArrowheads="1"/>
            </p:cNvSpPr>
            <p:nvPr/>
          </p:nvSpPr>
          <p:spPr bwMode="auto">
            <a:xfrm>
              <a:off x="3983381" y="4230565"/>
              <a:ext cx="692797" cy="452102"/>
            </a:xfrm>
            <a:custGeom>
              <a:avLst/>
              <a:gdLst>
                <a:gd name="T0" fmla="*/ 2030169654 w 230"/>
                <a:gd name="T1" fmla="*/ 268199632 h 150"/>
                <a:gd name="T2" fmla="*/ 225576075 w 230"/>
                <a:gd name="T3" fmla="*/ 395238003 h 150"/>
                <a:gd name="T4" fmla="*/ 98686951 w 230"/>
                <a:gd name="T5" fmla="*/ 395238003 h 150"/>
                <a:gd name="T6" fmla="*/ 0 w 230"/>
                <a:gd name="T7" fmla="*/ 395238003 h 150"/>
                <a:gd name="T8" fmla="*/ 0 w 230"/>
                <a:gd name="T9" fmla="*/ 2117355033 h 150"/>
                <a:gd name="T10" fmla="*/ 225576075 w 230"/>
                <a:gd name="T11" fmla="*/ 2117355033 h 150"/>
                <a:gd name="T12" fmla="*/ 2147483646 w 230"/>
                <a:gd name="T13" fmla="*/ 1891505282 h 150"/>
                <a:gd name="T14" fmla="*/ 2147483646 w 230"/>
                <a:gd name="T15" fmla="*/ 0 h 150"/>
                <a:gd name="T16" fmla="*/ 2030169654 w 230"/>
                <a:gd name="T17" fmla="*/ 268199632 h 1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0"/>
                <a:gd name="T28" fmla="*/ 0 h 150"/>
                <a:gd name="T29" fmla="*/ 230 w 230"/>
                <a:gd name="T30" fmla="*/ 150 h 1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0" h="150">
                  <a:moveTo>
                    <a:pt x="144" y="19"/>
                  </a:moveTo>
                  <a:cubicBezTo>
                    <a:pt x="103" y="25"/>
                    <a:pt x="61" y="28"/>
                    <a:pt x="16" y="28"/>
                  </a:cubicBezTo>
                  <a:cubicBezTo>
                    <a:pt x="13" y="28"/>
                    <a:pt x="10" y="28"/>
                    <a:pt x="7" y="28"/>
                  </a:cubicBezTo>
                  <a:cubicBezTo>
                    <a:pt x="5" y="28"/>
                    <a:pt x="2" y="28"/>
                    <a:pt x="0" y="28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6" y="150"/>
                    <a:pt x="11" y="150"/>
                    <a:pt x="16" y="150"/>
                  </a:cubicBezTo>
                  <a:cubicBezTo>
                    <a:pt x="91" y="150"/>
                    <a:pt x="163" y="144"/>
                    <a:pt x="230" y="134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204" y="8"/>
                    <a:pt x="174" y="14"/>
                    <a:pt x="144" y="19"/>
                  </a:cubicBezTo>
                  <a:close/>
                </a:path>
              </a:pathLst>
            </a:custGeom>
            <a:solidFill>
              <a:srgbClr val="2B1E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8" name="Freeform 9"/>
            <p:cNvSpPr>
              <a:spLocks noChangeArrowheads="1"/>
            </p:cNvSpPr>
            <p:nvPr/>
          </p:nvSpPr>
          <p:spPr bwMode="auto">
            <a:xfrm>
              <a:off x="4676179" y="2940484"/>
              <a:ext cx="1374134" cy="1693788"/>
            </a:xfrm>
            <a:custGeom>
              <a:avLst/>
              <a:gdLst>
                <a:gd name="T0" fmla="*/ 2147483646 w 457"/>
                <a:gd name="T1" fmla="*/ 2147483646 h 563"/>
                <a:gd name="T2" fmla="*/ 2147483646 w 457"/>
                <a:gd name="T3" fmla="*/ 2147483646 h 563"/>
                <a:gd name="T4" fmla="*/ 2147483646 w 457"/>
                <a:gd name="T5" fmla="*/ 675081217 h 563"/>
                <a:gd name="T6" fmla="*/ 561951657 w 457"/>
                <a:gd name="T7" fmla="*/ 0 h 563"/>
                <a:gd name="T8" fmla="*/ 561951657 w 457"/>
                <a:gd name="T9" fmla="*/ 1983046153 h 563"/>
                <a:gd name="T10" fmla="*/ 590047928 w 457"/>
                <a:gd name="T11" fmla="*/ 1983046153 h 563"/>
                <a:gd name="T12" fmla="*/ 2147483646 w 457"/>
                <a:gd name="T13" fmla="*/ 2147483646 h 563"/>
                <a:gd name="T14" fmla="*/ 0 w 457"/>
                <a:gd name="T15" fmla="*/ 2147483646 h 563"/>
                <a:gd name="T16" fmla="*/ 0 w 457"/>
                <a:gd name="T17" fmla="*/ 2147483646 h 563"/>
                <a:gd name="T18" fmla="*/ 2147483646 w 457"/>
                <a:gd name="T19" fmla="*/ 2147483646 h 563"/>
                <a:gd name="T20" fmla="*/ 2147483646 w 457"/>
                <a:gd name="T21" fmla="*/ 2147483646 h 563"/>
                <a:gd name="T22" fmla="*/ 2147483646 w 457"/>
                <a:gd name="T23" fmla="*/ 2147483646 h 56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57"/>
                <a:gd name="T37" fmla="*/ 0 h 563"/>
                <a:gd name="T38" fmla="*/ 457 w 457"/>
                <a:gd name="T39" fmla="*/ 563 h 56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57" h="563">
                  <a:moveTo>
                    <a:pt x="450" y="209"/>
                  </a:moveTo>
                  <a:cubicBezTo>
                    <a:pt x="450" y="237"/>
                    <a:pt x="450" y="237"/>
                    <a:pt x="450" y="237"/>
                  </a:cubicBezTo>
                  <a:cubicBezTo>
                    <a:pt x="427" y="161"/>
                    <a:pt x="341" y="95"/>
                    <a:pt x="216" y="48"/>
                  </a:cubicBezTo>
                  <a:cubicBezTo>
                    <a:pt x="163" y="28"/>
                    <a:pt x="104" y="12"/>
                    <a:pt x="40" y="0"/>
                  </a:cubicBezTo>
                  <a:cubicBezTo>
                    <a:pt x="40" y="141"/>
                    <a:pt x="40" y="141"/>
                    <a:pt x="40" y="141"/>
                  </a:cubicBezTo>
                  <a:cubicBezTo>
                    <a:pt x="41" y="141"/>
                    <a:pt x="41" y="141"/>
                    <a:pt x="42" y="141"/>
                  </a:cubicBezTo>
                  <a:cubicBezTo>
                    <a:pt x="129" y="174"/>
                    <a:pt x="185" y="223"/>
                    <a:pt x="185" y="278"/>
                  </a:cubicBezTo>
                  <a:cubicBezTo>
                    <a:pt x="185" y="342"/>
                    <a:pt x="111" y="397"/>
                    <a:pt x="0" y="429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266" y="523"/>
                    <a:pt x="457" y="411"/>
                    <a:pt x="457" y="278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0" y="209"/>
                  </a:lnTo>
                  <a:close/>
                </a:path>
              </a:pathLst>
            </a:custGeom>
            <a:solidFill>
              <a:srgbClr val="6B85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11" name="Freeform 12"/>
            <p:cNvSpPr>
              <a:spLocks noChangeArrowheads="1"/>
            </p:cNvSpPr>
            <p:nvPr/>
          </p:nvSpPr>
          <p:spPr bwMode="auto">
            <a:xfrm>
              <a:off x="4417653" y="2874261"/>
              <a:ext cx="1632659" cy="1548606"/>
            </a:xfrm>
            <a:custGeom>
              <a:avLst/>
              <a:gdLst>
                <a:gd name="T0" fmla="*/ 2147483646 w 543"/>
                <a:gd name="T1" fmla="*/ 2147483646 h 515"/>
                <a:gd name="T2" fmla="*/ 2147483646 w 543"/>
                <a:gd name="T3" fmla="*/ 0 h 515"/>
                <a:gd name="T4" fmla="*/ 1798101475 w 543"/>
                <a:gd name="T5" fmla="*/ 1306663396 h 515"/>
                <a:gd name="T6" fmla="*/ 2147483646 w 543"/>
                <a:gd name="T7" fmla="*/ 2147483646 h 515"/>
                <a:gd name="T8" fmla="*/ 0 w 543"/>
                <a:gd name="T9" fmla="*/ 2147483646 h 515"/>
                <a:gd name="T10" fmla="*/ 1208099370 w 543"/>
                <a:gd name="T11" fmla="*/ 2147483646 h 515"/>
                <a:gd name="T12" fmla="*/ 2147483646 w 543"/>
                <a:gd name="T13" fmla="*/ 2147483646 h 5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43"/>
                <a:gd name="T22" fmla="*/ 0 h 515"/>
                <a:gd name="T23" fmla="*/ 543 w 543"/>
                <a:gd name="T24" fmla="*/ 515 h 5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43" h="515">
                  <a:moveTo>
                    <a:pt x="543" y="231"/>
                  </a:moveTo>
                  <a:cubicBezTo>
                    <a:pt x="543" y="138"/>
                    <a:pt x="449" y="55"/>
                    <a:pt x="302" y="0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215" y="126"/>
                    <a:pt x="271" y="175"/>
                    <a:pt x="271" y="231"/>
                  </a:cubicBezTo>
                  <a:cubicBezTo>
                    <a:pt x="271" y="309"/>
                    <a:pt x="157" y="376"/>
                    <a:pt x="0" y="400"/>
                  </a:cubicBezTo>
                  <a:cubicBezTo>
                    <a:pt x="86" y="515"/>
                    <a:pt x="86" y="515"/>
                    <a:pt x="86" y="515"/>
                  </a:cubicBezTo>
                  <a:cubicBezTo>
                    <a:pt x="352" y="475"/>
                    <a:pt x="543" y="363"/>
                    <a:pt x="543" y="231"/>
                  </a:cubicBezTo>
                  <a:close/>
                </a:path>
              </a:pathLst>
            </a:custGeom>
            <a:solidFill>
              <a:srgbClr val="A2B9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12" name="Freeform 13"/>
            <p:cNvSpPr>
              <a:spLocks noChangeArrowheads="1"/>
            </p:cNvSpPr>
            <p:nvPr/>
          </p:nvSpPr>
          <p:spPr bwMode="auto">
            <a:xfrm>
              <a:off x="3983381" y="4077742"/>
              <a:ext cx="692797" cy="393519"/>
            </a:xfrm>
            <a:custGeom>
              <a:avLst/>
              <a:gdLst>
                <a:gd name="T0" fmla="*/ 225576075 w 230"/>
                <a:gd name="T1" fmla="*/ 126195581 h 131"/>
                <a:gd name="T2" fmla="*/ 98686951 w 230"/>
                <a:gd name="T3" fmla="*/ 126195581 h 131"/>
                <a:gd name="T4" fmla="*/ 0 w 230"/>
                <a:gd name="T5" fmla="*/ 1836851370 h 131"/>
                <a:gd name="T6" fmla="*/ 225576075 w 230"/>
                <a:gd name="T7" fmla="*/ 1836851370 h 131"/>
                <a:gd name="T8" fmla="*/ 2147483646 w 230"/>
                <a:gd name="T9" fmla="*/ 1612503254 h 131"/>
                <a:gd name="T10" fmla="*/ 2030169654 w 230"/>
                <a:gd name="T11" fmla="*/ 0 h 131"/>
                <a:gd name="T12" fmla="*/ 225576075 w 230"/>
                <a:gd name="T13" fmla="*/ 126195581 h 1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0"/>
                <a:gd name="T22" fmla="*/ 0 h 131"/>
                <a:gd name="T23" fmla="*/ 230 w 230"/>
                <a:gd name="T24" fmla="*/ 131 h 1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0" h="131">
                  <a:moveTo>
                    <a:pt x="16" y="9"/>
                  </a:moveTo>
                  <a:cubicBezTo>
                    <a:pt x="13" y="9"/>
                    <a:pt x="10" y="9"/>
                    <a:pt x="7" y="9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6" y="131"/>
                    <a:pt x="11" y="131"/>
                    <a:pt x="16" y="131"/>
                  </a:cubicBezTo>
                  <a:cubicBezTo>
                    <a:pt x="91" y="131"/>
                    <a:pt x="163" y="125"/>
                    <a:pt x="230" y="115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03" y="6"/>
                    <a:pt x="61" y="9"/>
                    <a:pt x="16" y="9"/>
                  </a:cubicBezTo>
                  <a:close/>
                </a:path>
              </a:pathLst>
            </a:custGeom>
            <a:solidFill>
              <a:srgbClr val="4C6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13" name="Freeform 14"/>
            <p:cNvSpPr>
              <a:spLocks noChangeArrowheads="1"/>
            </p:cNvSpPr>
            <p:nvPr/>
          </p:nvSpPr>
          <p:spPr bwMode="auto">
            <a:xfrm>
              <a:off x="2282590" y="3839593"/>
              <a:ext cx="1711617" cy="631668"/>
            </a:xfrm>
            <a:custGeom>
              <a:avLst/>
              <a:gdLst>
                <a:gd name="T0" fmla="*/ 2147483646 w 569"/>
                <a:gd name="T1" fmla="*/ 0 h 210"/>
                <a:gd name="T2" fmla="*/ 0 w 569"/>
                <a:gd name="T3" fmla="*/ 871651800 h 210"/>
                <a:gd name="T4" fmla="*/ 2147483646 w 569"/>
                <a:gd name="T5" fmla="*/ 2147483646 h 210"/>
                <a:gd name="T6" fmla="*/ 2147483646 w 569"/>
                <a:gd name="T7" fmla="*/ 1237185377 h 210"/>
                <a:gd name="T8" fmla="*/ 2147483646 w 569"/>
                <a:gd name="T9" fmla="*/ 0 h 2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69"/>
                <a:gd name="T16" fmla="*/ 0 h 210"/>
                <a:gd name="T17" fmla="*/ 569 w 569"/>
                <a:gd name="T18" fmla="*/ 210 h 2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69" h="210">
                  <a:moveTo>
                    <a:pt x="234" y="0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14" y="149"/>
                    <a:pt x="323" y="207"/>
                    <a:pt x="562" y="210"/>
                  </a:cubicBezTo>
                  <a:cubicBezTo>
                    <a:pt x="569" y="88"/>
                    <a:pt x="569" y="88"/>
                    <a:pt x="569" y="88"/>
                  </a:cubicBezTo>
                  <a:cubicBezTo>
                    <a:pt x="426" y="87"/>
                    <a:pt x="302" y="52"/>
                    <a:pt x="234" y="0"/>
                  </a:cubicBezTo>
                  <a:close/>
                </a:path>
              </a:pathLst>
            </a:custGeom>
            <a:solidFill>
              <a:srgbClr val="3D9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71" name="任意多边形 70"/>
            <p:cNvSpPr>
              <a:spLocks noChangeArrowheads="1"/>
            </p:cNvSpPr>
            <p:nvPr/>
          </p:nvSpPr>
          <p:spPr bwMode="auto">
            <a:xfrm>
              <a:off x="2013238" y="2662856"/>
              <a:ext cx="3312440" cy="1363946"/>
            </a:xfrm>
            <a:custGeom>
              <a:avLst/>
              <a:gdLst>
                <a:gd name="connsiteX0" fmla="*/ 2018538 w 3312440"/>
                <a:gd name="connsiteY0" fmla="*/ 0 h 1363946"/>
                <a:gd name="connsiteX1" fmla="*/ 3312440 w 3312440"/>
                <a:gd name="connsiteY1" fmla="*/ 210561 h 1363946"/>
                <a:gd name="connsiteX2" fmla="*/ 2788861 w 3312440"/>
                <a:gd name="connsiteY2" fmla="*/ 490307 h 1363946"/>
                <a:gd name="connsiteX3" fmla="*/ 2018538 w 3312440"/>
                <a:gd name="connsiteY3" fmla="*/ 366978 h 1363946"/>
                <a:gd name="connsiteX4" fmla="*/ 2018538 w 3312440"/>
                <a:gd name="connsiteY4" fmla="*/ 367332 h 1363946"/>
                <a:gd name="connsiteX5" fmla="*/ 815237 w 3312440"/>
                <a:gd name="connsiteY5" fmla="*/ 906287 h 1363946"/>
                <a:gd name="connsiteX6" fmla="*/ 983699 w 3312440"/>
                <a:gd name="connsiteY6" fmla="*/ 1177269 h 1363946"/>
                <a:gd name="connsiteX7" fmla="*/ 279768 w 3312440"/>
                <a:gd name="connsiteY7" fmla="*/ 1363946 h 1363946"/>
                <a:gd name="connsiteX8" fmla="*/ 0 w 3312440"/>
                <a:gd name="connsiteY8" fmla="*/ 906287 h 1363946"/>
                <a:gd name="connsiteX9" fmla="*/ 2018538 w 3312440"/>
                <a:gd name="connsiteY9" fmla="*/ 0 h 136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12440" h="1363946">
                  <a:moveTo>
                    <a:pt x="2018538" y="0"/>
                  </a:moveTo>
                  <a:cubicBezTo>
                    <a:pt x="2509017" y="0"/>
                    <a:pt x="2960379" y="78209"/>
                    <a:pt x="3312440" y="210561"/>
                  </a:cubicBezTo>
                  <a:cubicBezTo>
                    <a:pt x="3312440" y="210561"/>
                    <a:pt x="3312440" y="210561"/>
                    <a:pt x="2788861" y="490307"/>
                  </a:cubicBezTo>
                  <a:cubicBezTo>
                    <a:pt x="2578226" y="412099"/>
                    <a:pt x="2310418" y="366978"/>
                    <a:pt x="2018538" y="366978"/>
                  </a:cubicBezTo>
                  <a:lnTo>
                    <a:pt x="2018538" y="367332"/>
                  </a:lnTo>
                  <a:cubicBezTo>
                    <a:pt x="1353714" y="367332"/>
                    <a:pt x="815237" y="608206"/>
                    <a:pt x="815237" y="906287"/>
                  </a:cubicBezTo>
                  <a:cubicBezTo>
                    <a:pt x="815237" y="1005647"/>
                    <a:pt x="878410" y="1098985"/>
                    <a:pt x="983699" y="1177269"/>
                  </a:cubicBezTo>
                  <a:cubicBezTo>
                    <a:pt x="983699" y="1177269"/>
                    <a:pt x="983699" y="1177269"/>
                    <a:pt x="279768" y="1363946"/>
                  </a:cubicBezTo>
                  <a:cubicBezTo>
                    <a:pt x="102281" y="1228455"/>
                    <a:pt x="0" y="1071887"/>
                    <a:pt x="0" y="906287"/>
                  </a:cubicBezTo>
                  <a:cubicBezTo>
                    <a:pt x="0" y="406474"/>
                    <a:pt x="902476" y="0"/>
                    <a:pt x="2018538" y="0"/>
                  </a:cubicBezTo>
                  <a:close/>
                </a:path>
              </a:pathLst>
            </a:custGeom>
            <a:solidFill>
              <a:srgbClr val="F830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>
              <a:noAutofit/>
            </a:bodyPr>
            <a:lstStyle/>
            <a:p>
              <a:endParaRPr lang="zh-CN" altLang="en-US" sz="2400"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2616282" y="1631628"/>
              <a:ext cx="270939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800" b="1" dirty="0">
                  <a:solidFill>
                    <a:srgbClr val="585657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总营业收入结构</a:t>
              </a:r>
            </a:p>
          </p:txBody>
        </p:sp>
        <p:sp>
          <p:nvSpPr>
            <p:cNvPr id="51" name="文本框 50"/>
            <p:cNvSpPr txBox="1"/>
            <p:nvPr/>
          </p:nvSpPr>
          <p:spPr>
            <a:xfrm rot="20239297">
              <a:off x="2819765" y="2810752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广告收入</a:t>
              </a:r>
            </a:p>
          </p:txBody>
        </p:sp>
        <p:sp>
          <p:nvSpPr>
            <p:cNvPr id="52" name="文本框 51"/>
            <p:cNvSpPr txBox="1"/>
            <p:nvPr/>
          </p:nvSpPr>
          <p:spPr>
            <a:xfrm rot="18800704">
              <a:off x="5175574" y="3485925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会员收入</a:t>
              </a:r>
            </a:p>
          </p:txBody>
        </p:sp>
        <p:sp>
          <p:nvSpPr>
            <p:cNvPr id="53" name="文本框 52"/>
            <p:cNvSpPr txBox="1"/>
            <p:nvPr/>
          </p:nvSpPr>
          <p:spPr>
            <a:xfrm rot="21389452">
              <a:off x="3962042" y="4167110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流量主</a:t>
              </a:r>
            </a:p>
          </p:txBody>
        </p:sp>
        <p:sp>
          <p:nvSpPr>
            <p:cNvPr id="55" name="文本框 54"/>
            <p:cNvSpPr txBox="1"/>
            <p:nvPr/>
          </p:nvSpPr>
          <p:spPr>
            <a:xfrm rot="667325">
              <a:off x="2922423" y="4038964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作业辅导</a:t>
              </a: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6219078" y="3111963"/>
              <a:ext cx="1212191" cy="110799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广告收入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46%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会员收入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33%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作业辅导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14%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流  量  主：</a:t>
              </a:r>
              <a:r>
                <a:rPr lang="en-US" altLang="zh-CN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兰亭超细黑简体" panose="02000000000000000000" pitchFamily="2" charset="-122"/>
                  <a:ea typeface="方正兰亭超细黑简体" panose="02000000000000000000" pitchFamily="2" charset="-122"/>
                </a:rPr>
                <a:t>7%</a:t>
              </a:r>
              <a:endParaRPr lang="zh-CN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兰亭超细黑简体" panose="02000000000000000000" pitchFamily="2" charset="-122"/>
                <a:ea typeface="方正兰亭超细黑简体" panose="02000000000000000000" pitchFamily="2" charset="-122"/>
              </a:endParaRPr>
            </a:p>
          </p:txBody>
        </p:sp>
      </p:grpSp>
      <p:sp>
        <p:nvSpPr>
          <p:cNvPr id="17" name="文本框 16"/>
          <p:cNvSpPr txBox="1"/>
          <p:nvPr/>
        </p:nvSpPr>
        <p:spPr>
          <a:xfrm>
            <a:off x="4358220" y="5700200"/>
            <a:ext cx="42883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已实现正向现金流</a:t>
            </a:r>
          </a:p>
        </p:txBody>
      </p:sp>
    </p:spTree>
    <p:extLst>
      <p:ext uri="{BB962C8B-B14F-4D97-AF65-F5344CB8AC3E}">
        <p14:creationId xmlns:p14="http://schemas.microsoft.com/office/powerpoint/2010/main" val="378702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矩形 57">
            <a:extLst>
              <a:ext uri="{FF2B5EF4-FFF2-40B4-BE49-F238E27FC236}">
                <a16:creationId xmlns:a16="http://schemas.microsoft.com/office/drawing/2014/main" id="{1253AC41-2CEA-4425-81F7-5AC9B487BE99}"/>
              </a:ext>
            </a:extLst>
          </p:cNvPr>
          <p:cNvSpPr/>
          <p:nvPr/>
        </p:nvSpPr>
        <p:spPr>
          <a:xfrm>
            <a:off x="1541040" y="5001722"/>
            <a:ext cx="1260000" cy="1260000"/>
          </a:xfrm>
          <a:prstGeom prst="rect">
            <a:avLst/>
          </a:prstGeom>
          <a:solidFill>
            <a:srgbClr val="4C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91E3348-0AEC-4305-835D-51C22868BE3B}"/>
              </a:ext>
            </a:extLst>
          </p:cNvPr>
          <p:cNvSpPr/>
          <p:nvPr/>
        </p:nvSpPr>
        <p:spPr>
          <a:xfrm>
            <a:off x="1550531" y="3682239"/>
            <a:ext cx="1260000" cy="1260000"/>
          </a:xfrm>
          <a:prstGeom prst="rect">
            <a:avLst/>
          </a:prstGeom>
          <a:solidFill>
            <a:srgbClr val="A2B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3101C390-A8B3-4782-9DCD-D5FE7BBF5BCC}"/>
              </a:ext>
            </a:extLst>
          </p:cNvPr>
          <p:cNvSpPr/>
          <p:nvPr/>
        </p:nvSpPr>
        <p:spPr>
          <a:xfrm>
            <a:off x="1554047" y="2375321"/>
            <a:ext cx="1260000" cy="1260000"/>
          </a:xfrm>
          <a:prstGeom prst="rect">
            <a:avLst/>
          </a:prstGeom>
          <a:solidFill>
            <a:srgbClr val="EBAC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943F3C00-B50C-415F-820E-4563EB6DC981}"/>
              </a:ext>
            </a:extLst>
          </p:cNvPr>
          <p:cNvSpPr/>
          <p:nvPr/>
        </p:nvSpPr>
        <p:spPr>
          <a:xfrm>
            <a:off x="1548440" y="1054471"/>
            <a:ext cx="1260000" cy="1260000"/>
          </a:xfrm>
          <a:prstGeom prst="rect">
            <a:avLst/>
          </a:prstGeom>
          <a:solidFill>
            <a:srgbClr val="F83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TextBox 44">
            <a:extLst>
              <a:ext uri="{FF2B5EF4-FFF2-40B4-BE49-F238E27FC236}">
                <a16:creationId xmlns:a16="http://schemas.microsoft.com/office/drawing/2014/main" id="{B884301B-C0B0-4FA2-8C1C-A0C7E7E9E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46282" y="6412041"/>
            <a:ext cx="184731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933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2FE0D34-DC53-4125-A359-2E9312F53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0007" y="752075"/>
            <a:ext cx="3452283" cy="1589617"/>
          </a:xfrm>
          <a:custGeom>
            <a:avLst/>
            <a:gdLst>
              <a:gd name="T0" fmla="*/ 2147483646 w 1175"/>
              <a:gd name="T1" fmla="*/ 1889133119 h 541"/>
              <a:gd name="T2" fmla="*/ 2147483646 w 1175"/>
              <a:gd name="T3" fmla="*/ 505064179 h 541"/>
              <a:gd name="T4" fmla="*/ 0 w 1175"/>
              <a:gd name="T5" fmla="*/ 2147483646 h 541"/>
              <a:gd name="T6" fmla="*/ 2147483646 w 1175"/>
              <a:gd name="T7" fmla="*/ 2147483646 h 541"/>
              <a:gd name="T8" fmla="*/ 2147483646 w 1175"/>
              <a:gd name="T9" fmla="*/ 1889133119 h 5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75"/>
              <a:gd name="T16" fmla="*/ 0 h 541"/>
              <a:gd name="T17" fmla="*/ 1175 w 1175"/>
              <a:gd name="T18" fmla="*/ 541 h 54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75" h="541">
                <a:moveTo>
                  <a:pt x="1118" y="389"/>
                </a:moveTo>
                <a:cubicBezTo>
                  <a:pt x="895" y="0"/>
                  <a:pt x="456" y="104"/>
                  <a:pt x="456" y="104"/>
                </a:cubicBezTo>
                <a:cubicBezTo>
                  <a:pt x="126" y="200"/>
                  <a:pt x="25" y="389"/>
                  <a:pt x="0" y="541"/>
                </a:cubicBezTo>
                <a:cubicBezTo>
                  <a:pt x="1175" y="541"/>
                  <a:pt x="1175" y="541"/>
                  <a:pt x="1175" y="541"/>
                </a:cubicBezTo>
                <a:cubicBezTo>
                  <a:pt x="1150" y="449"/>
                  <a:pt x="1118" y="389"/>
                  <a:pt x="1118" y="389"/>
                </a:cubicBezTo>
                <a:close/>
              </a:path>
            </a:pathLst>
          </a:custGeom>
          <a:solidFill>
            <a:srgbClr val="F830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B89EC781-CA87-4DDC-B163-21DC9D989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3090" y="2341692"/>
            <a:ext cx="3905251" cy="1312333"/>
          </a:xfrm>
          <a:custGeom>
            <a:avLst/>
            <a:gdLst>
              <a:gd name="T0" fmla="*/ 572268239 w 1330"/>
              <a:gd name="T1" fmla="*/ 1090883689 h 447"/>
              <a:gd name="T2" fmla="*/ 494671202 w 1330"/>
              <a:gd name="T3" fmla="*/ 1362391364 h 447"/>
              <a:gd name="T4" fmla="*/ 38798519 w 1330"/>
              <a:gd name="T5" fmla="*/ 2104192184 h 447"/>
              <a:gd name="T6" fmla="*/ 0 w 1330"/>
              <a:gd name="T7" fmla="*/ 2147483646 h 447"/>
              <a:gd name="T8" fmla="*/ 2147483646 w 1330"/>
              <a:gd name="T9" fmla="*/ 2147483646 h 447"/>
              <a:gd name="T10" fmla="*/ 2147483646 w 1330"/>
              <a:gd name="T11" fmla="*/ 0 h 447"/>
              <a:gd name="T12" fmla="*/ 509221197 w 1330"/>
              <a:gd name="T13" fmla="*/ 0 h 447"/>
              <a:gd name="T14" fmla="*/ 572268239 w 1330"/>
              <a:gd name="T15" fmla="*/ 1090883689 h 44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30"/>
              <a:gd name="T25" fmla="*/ 0 h 447"/>
              <a:gd name="T26" fmla="*/ 1330 w 1330"/>
              <a:gd name="T27" fmla="*/ 447 h 44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30" h="447">
                <a:moveTo>
                  <a:pt x="118" y="225"/>
                </a:moveTo>
                <a:cubicBezTo>
                  <a:pt x="121" y="237"/>
                  <a:pt x="116" y="242"/>
                  <a:pt x="102" y="281"/>
                </a:cubicBezTo>
                <a:cubicBezTo>
                  <a:pt x="89" y="321"/>
                  <a:pt x="18" y="422"/>
                  <a:pt x="8" y="434"/>
                </a:cubicBezTo>
                <a:cubicBezTo>
                  <a:pt x="5" y="438"/>
                  <a:pt x="2" y="442"/>
                  <a:pt x="0" y="447"/>
                </a:cubicBezTo>
                <a:cubicBezTo>
                  <a:pt x="1250" y="447"/>
                  <a:pt x="1250" y="447"/>
                  <a:pt x="1250" y="447"/>
                </a:cubicBezTo>
                <a:cubicBezTo>
                  <a:pt x="1330" y="289"/>
                  <a:pt x="1311" y="119"/>
                  <a:pt x="1280" y="0"/>
                </a:cubicBezTo>
                <a:cubicBezTo>
                  <a:pt x="105" y="0"/>
                  <a:pt x="105" y="0"/>
                  <a:pt x="105" y="0"/>
                </a:cubicBezTo>
                <a:cubicBezTo>
                  <a:pt x="85" y="125"/>
                  <a:pt x="118" y="225"/>
                  <a:pt x="118" y="225"/>
                </a:cubicBezTo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0" name="Freeform 7">
            <a:extLst>
              <a:ext uri="{FF2B5EF4-FFF2-40B4-BE49-F238E27FC236}">
                <a16:creationId xmlns:a16="http://schemas.microsoft.com/office/drawing/2014/main" id="{25373D03-23FC-4C60-94F4-8434462C4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7691" y="3654026"/>
            <a:ext cx="3697817" cy="1314449"/>
          </a:xfrm>
          <a:custGeom>
            <a:avLst/>
            <a:gdLst>
              <a:gd name="T0" fmla="*/ 4861101 w 1258"/>
              <a:gd name="T1" fmla="*/ 121599796 h 447"/>
              <a:gd name="T2" fmla="*/ 97204389 w 1258"/>
              <a:gd name="T3" fmla="*/ 316160352 h 447"/>
              <a:gd name="T4" fmla="*/ 568640826 w 1258"/>
              <a:gd name="T5" fmla="*/ 389121112 h 447"/>
              <a:gd name="T6" fmla="*/ 636683016 w 1258"/>
              <a:gd name="T7" fmla="*/ 530177404 h 447"/>
              <a:gd name="T8" fmla="*/ 534619730 w 1258"/>
              <a:gd name="T9" fmla="*/ 632322909 h 447"/>
              <a:gd name="T10" fmla="*/ 486017536 w 1258"/>
              <a:gd name="T11" fmla="*/ 734466209 h 447"/>
              <a:gd name="T12" fmla="*/ 534619730 w 1258"/>
              <a:gd name="T13" fmla="*/ 851202983 h 447"/>
              <a:gd name="T14" fmla="*/ 670704111 w 1258"/>
              <a:gd name="T15" fmla="*/ 1050628766 h 447"/>
              <a:gd name="T16" fmla="*/ 631824120 w 1258"/>
              <a:gd name="T17" fmla="*/ 1108996051 h 447"/>
              <a:gd name="T18" fmla="*/ 592941923 w 1258"/>
              <a:gd name="T19" fmla="*/ 1196548080 h 447"/>
              <a:gd name="T20" fmla="*/ 602661921 w 1258"/>
              <a:gd name="T21" fmla="*/ 1327876125 h 447"/>
              <a:gd name="T22" fmla="*/ 826230693 w 1258"/>
              <a:gd name="T23" fmla="*/ 1532164929 h 447"/>
              <a:gd name="T24" fmla="*/ 831089590 w 1258"/>
              <a:gd name="T25" fmla="*/ 1600262667 h 447"/>
              <a:gd name="T26" fmla="*/ 869971786 w 1258"/>
              <a:gd name="T27" fmla="*/ 2147483646 h 447"/>
              <a:gd name="T28" fmla="*/ 2147483646 w 1258"/>
              <a:gd name="T29" fmla="*/ 2147483646 h 447"/>
              <a:gd name="T30" fmla="*/ 2147483646 w 1258"/>
              <a:gd name="T31" fmla="*/ 1609990915 h 447"/>
              <a:gd name="T32" fmla="*/ 2147483646 w 1258"/>
              <a:gd name="T33" fmla="*/ 491266617 h 447"/>
              <a:gd name="T34" fmla="*/ 2147483646 w 1258"/>
              <a:gd name="T35" fmla="*/ 0 h 447"/>
              <a:gd name="T36" fmla="*/ 38882197 w 1258"/>
              <a:gd name="T37" fmla="*/ 0 h 447"/>
              <a:gd name="T38" fmla="*/ 4861101 w 1258"/>
              <a:gd name="T39" fmla="*/ 121599796 h 44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58"/>
              <a:gd name="T61" fmla="*/ 0 h 447"/>
              <a:gd name="T62" fmla="*/ 1258 w 1258"/>
              <a:gd name="T63" fmla="*/ 447 h 44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58" h="447">
                <a:moveTo>
                  <a:pt x="1" y="25"/>
                </a:moveTo>
                <a:cubicBezTo>
                  <a:pt x="0" y="43"/>
                  <a:pt x="7" y="58"/>
                  <a:pt x="20" y="65"/>
                </a:cubicBezTo>
                <a:cubicBezTo>
                  <a:pt x="33" y="73"/>
                  <a:pt x="117" y="80"/>
                  <a:pt x="117" y="80"/>
                </a:cubicBezTo>
                <a:cubicBezTo>
                  <a:pt x="131" y="109"/>
                  <a:pt x="131" y="109"/>
                  <a:pt x="131" y="109"/>
                </a:cubicBezTo>
                <a:cubicBezTo>
                  <a:pt x="131" y="109"/>
                  <a:pt x="117" y="122"/>
                  <a:pt x="110" y="130"/>
                </a:cubicBezTo>
                <a:cubicBezTo>
                  <a:pt x="104" y="139"/>
                  <a:pt x="102" y="143"/>
                  <a:pt x="100" y="151"/>
                </a:cubicBezTo>
                <a:cubicBezTo>
                  <a:pt x="99" y="160"/>
                  <a:pt x="105" y="169"/>
                  <a:pt x="110" y="175"/>
                </a:cubicBezTo>
                <a:cubicBezTo>
                  <a:pt x="114" y="182"/>
                  <a:pt x="138" y="216"/>
                  <a:pt x="138" y="216"/>
                </a:cubicBezTo>
                <a:cubicBezTo>
                  <a:pt x="138" y="216"/>
                  <a:pt x="134" y="222"/>
                  <a:pt x="130" y="228"/>
                </a:cubicBezTo>
                <a:cubicBezTo>
                  <a:pt x="125" y="235"/>
                  <a:pt x="122" y="246"/>
                  <a:pt x="122" y="246"/>
                </a:cubicBezTo>
                <a:cubicBezTo>
                  <a:pt x="119" y="254"/>
                  <a:pt x="119" y="263"/>
                  <a:pt x="124" y="273"/>
                </a:cubicBezTo>
                <a:cubicBezTo>
                  <a:pt x="130" y="282"/>
                  <a:pt x="165" y="309"/>
                  <a:pt x="170" y="315"/>
                </a:cubicBezTo>
                <a:cubicBezTo>
                  <a:pt x="174" y="322"/>
                  <a:pt x="171" y="329"/>
                  <a:pt x="171" y="329"/>
                </a:cubicBezTo>
                <a:cubicBezTo>
                  <a:pt x="154" y="381"/>
                  <a:pt x="165" y="422"/>
                  <a:pt x="179" y="447"/>
                </a:cubicBezTo>
                <a:cubicBezTo>
                  <a:pt x="1116" y="447"/>
                  <a:pt x="1116" y="447"/>
                  <a:pt x="1116" y="447"/>
                </a:cubicBezTo>
                <a:cubicBezTo>
                  <a:pt x="1100" y="402"/>
                  <a:pt x="1088" y="361"/>
                  <a:pt x="1083" y="331"/>
                </a:cubicBezTo>
                <a:cubicBezTo>
                  <a:pt x="1068" y="232"/>
                  <a:pt x="1190" y="101"/>
                  <a:pt x="1190" y="101"/>
                </a:cubicBezTo>
                <a:cubicBezTo>
                  <a:pt x="1218" y="68"/>
                  <a:pt x="1240" y="34"/>
                  <a:pt x="1258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7"/>
                  <a:pt x="2" y="14"/>
                  <a:pt x="1" y="25"/>
                </a:cubicBezTo>
              </a:path>
            </a:pathLst>
          </a:custGeom>
          <a:solidFill>
            <a:srgbClr val="A2B9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4327219F-A8F4-44B5-A0DB-E3200AAA08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4741" y="4966359"/>
            <a:ext cx="3295649" cy="1314449"/>
          </a:xfrm>
          <a:custGeom>
            <a:avLst/>
            <a:gdLst>
              <a:gd name="T0" fmla="*/ 106767142 w 1122"/>
              <a:gd name="T1" fmla="*/ 141056293 h 447"/>
              <a:gd name="T2" fmla="*/ 1412249626 w 1122"/>
              <a:gd name="T3" fmla="*/ 63232511 h 447"/>
              <a:gd name="T4" fmla="*/ 1732555459 w 1122"/>
              <a:gd name="T5" fmla="*/ 1104133029 h 447"/>
              <a:gd name="T6" fmla="*/ 1713142850 w 1122"/>
              <a:gd name="T7" fmla="*/ 1104133029 h 447"/>
              <a:gd name="T8" fmla="*/ 679432476 w 1122"/>
              <a:gd name="T9" fmla="*/ 2147483646 h 447"/>
              <a:gd name="T10" fmla="*/ 2147483646 w 1122"/>
              <a:gd name="T11" fmla="*/ 2147483646 h 447"/>
              <a:gd name="T12" fmla="*/ 2147483646 w 1122"/>
              <a:gd name="T13" fmla="*/ 2147483646 h 447"/>
              <a:gd name="T14" fmla="*/ 2147483646 w 1122"/>
              <a:gd name="T15" fmla="*/ 1089539554 h 447"/>
              <a:gd name="T16" fmla="*/ 2147483646 w 1122"/>
              <a:gd name="T17" fmla="*/ 0 h 447"/>
              <a:gd name="T18" fmla="*/ 0 w 1122"/>
              <a:gd name="T19" fmla="*/ 0 h 447"/>
              <a:gd name="T20" fmla="*/ 106767142 w 1122"/>
              <a:gd name="T21" fmla="*/ 141056293 h 44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22"/>
              <a:gd name="T34" fmla="*/ 0 h 447"/>
              <a:gd name="T35" fmla="*/ 1122 w 1122"/>
              <a:gd name="T36" fmla="*/ 447 h 44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22" h="447">
                <a:moveTo>
                  <a:pt x="22" y="29"/>
                </a:moveTo>
                <a:cubicBezTo>
                  <a:pt x="73" y="71"/>
                  <a:pt x="257" y="9"/>
                  <a:pt x="291" y="13"/>
                </a:cubicBezTo>
                <a:cubicBezTo>
                  <a:pt x="316" y="17"/>
                  <a:pt x="345" y="158"/>
                  <a:pt x="357" y="227"/>
                </a:cubicBezTo>
                <a:cubicBezTo>
                  <a:pt x="353" y="227"/>
                  <a:pt x="353" y="227"/>
                  <a:pt x="353" y="227"/>
                </a:cubicBezTo>
                <a:cubicBezTo>
                  <a:pt x="353" y="227"/>
                  <a:pt x="194" y="418"/>
                  <a:pt x="140" y="447"/>
                </a:cubicBezTo>
                <a:cubicBezTo>
                  <a:pt x="1055" y="447"/>
                  <a:pt x="1055" y="447"/>
                  <a:pt x="1055" y="447"/>
                </a:cubicBezTo>
                <a:cubicBezTo>
                  <a:pt x="1122" y="447"/>
                  <a:pt x="1122" y="447"/>
                  <a:pt x="1122" y="447"/>
                </a:cubicBezTo>
                <a:cubicBezTo>
                  <a:pt x="1038" y="224"/>
                  <a:pt x="1038" y="224"/>
                  <a:pt x="1038" y="224"/>
                </a:cubicBezTo>
                <a:cubicBezTo>
                  <a:pt x="1004" y="162"/>
                  <a:pt x="965" y="76"/>
                  <a:pt x="937" y="0"/>
                </a:cubicBezTo>
                <a:cubicBezTo>
                  <a:pt x="0" y="0"/>
                  <a:pt x="0" y="0"/>
                  <a:pt x="0" y="0"/>
                </a:cubicBezTo>
                <a:cubicBezTo>
                  <a:pt x="8" y="15"/>
                  <a:pt x="18" y="25"/>
                  <a:pt x="22" y="29"/>
                </a:cubicBezTo>
                <a:close/>
              </a:path>
            </a:pathLst>
          </a:custGeom>
          <a:solidFill>
            <a:srgbClr val="4C606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2" name="Freeform 9">
            <a:extLst>
              <a:ext uri="{FF2B5EF4-FFF2-40B4-BE49-F238E27FC236}">
                <a16:creationId xmlns:a16="http://schemas.microsoft.com/office/drawing/2014/main" id="{0723D683-5FDF-4422-9761-FD077A658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4856" y="3958825"/>
            <a:ext cx="482600" cy="751416"/>
          </a:xfrm>
          <a:custGeom>
            <a:avLst/>
            <a:gdLst>
              <a:gd name="T0" fmla="*/ 774473684 w 164"/>
              <a:gd name="T1" fmla="*/ 203540543 h 256"/>
              <a:gd name="T2" fmla="*/ 662443538 w 164"/>
              <a:gd name="T3" fmla="*/ 0 h 256"/>
              <a:gd name="T4" fmla="*/ 540669434 w 164"/>
              <a:gd name="T5" fmla="*/ 19385652 h 256"/>
              <a:gd name="T6" fmla="*/ 414026660 w 164"/>
              <a:gd name="T7" fmla="*/ 43616617 h 256"/>
              <a:gd name="T8" fmla="*/ 414026660 w 164"/>
              <a:gd name="T9" fmla="*/ 43616617 h 256"/>
              <a:gd name="T10" fmla="*/ 409155784 w 164"/>
              <a:gd name="T11" fmla="*/ 43616617 h 256"/>
              <a:gd name="T12" fmla="*/ 404284908 w 164"/>
              <a:gd name="T13" fmla="*/ 43616617 h 256"/>
              <a:gd name="T14" fmla="*/ 404284908 w 164"/>
              <a:gd name="T15" fmla="*/ 43616617 h 256"/>
              <a:gd name="T16" fmla="*/ 263029506 w 164"/>
              <a:gd name="T17" fmla="*/ 24230965 h 256"/>
              <a:gd name="T18" fmla="*/ 136384526 w 164"/>
              <a:gd name="T19" fmla="*/ 0 h 256"/>
              <a:gd name="T20" fmla="*/ 24354380 w 164"/>
              <a:gd name="T21" fmla="*/ 203540543 h 256"/>
              <a:gd name="T22" fmla="*/ 77934015 w 164"/>
              <a:gd name="T23" fmla="*/ 489469007 h 256"/>
              <a:gd name="T24" fmla="*/ 102288394 w 164"/>
              <a:gd name="T25" fmla="*/ 789933408 h 256"/>
              <a:gd name="T26" fmla="*/ 180222409 w 164"/>
              <a:gd name="T27" fmla="*/ 1085554698 h 256"/>
              <a:gd name="T28" fmla="*/ 292254762 w 164"/>
              <a:gd name="T29" fmla="*/ 1177633244 h 256"/>
              <a:gd name="T30" fmla="*/ 321480017 w 164"/>
              <a:gd name="T31" fmla="*/ 765702443 h 256"/>
              <a:gd name="T32" fmla="*/ 355576149 w 164"/>
              <a:gd name="T33" fmla="*/ 683316724 h 256"/>
              <a:gd name="T34" fmla="*/ 399414032 w 164"/>
              <a:gd name="T35" fmla="*/ 649392933 h 256"/>
              <a:gd name="T36" fmla="*/ 438381039 w 164"/>
              <a:gd name="T37" fmla="*/ 678471411 h 256"/>
              <a:gd name="T38" fmla="*/ 472477171 w 164"/>
              <a:gd name="T39" fmla="*/ 765702443 h 256"/>
              <a:gd name="T40" fmla="*/ 506573302 w 164"/>
              <a:gd name="T41" fmla="*/ 1177633244 h 256"/>
              <a:gd name="T42" fmla="*/ 618605655 w 164"/>
              <a:gd name="T43" fmla="*/ 1085554698 h 256"/>
              <a:gd name="T44" fmla="*/ 696539670 w 164"/>
              <a:gd name="T45" fmla="*/ 789933408 h 256"/>
              <a:gd name="T46" fmla="*/ 720894049 w 164"/>
              <a:gd name="T47" fmla="*/ 489469007 h 256"/>
              <a:gd name="T48" fmla="*/ 774473684 w 164"/>
              <a:gd name="T49" fmla="*/ 203540543 h 25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64"/>
              <a:gd name="T76" fmla="*/ 0 h 256"/>
              <a:gd name="T77" fmla="*/ 164 w 164"/>
              <a:gd name="T78" fmla="*/ 256 h 25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64" h="256">
                <a:moveTo>
                  <a:pt x="159" y="42"/>
                </a:moveTo>
                <a:cubicBezTo>
                  <a:pt x="154" y="21"/>
                  <a:pt x="148" y="3"/>
                  <a:pt x="136" y="0"/>
                </a:cubicBezTo>
                <a:cubicBezTo>
                  <a:pt x="132" y="0"/>
                  <a:pt x="122" y="2"/>
                  <a:pt x="111" y="4"/>
                </a:cubicBezTo>
                <a:cubicBezTo>
                  <a:pt x="102" y="7"/>
                  <a:pt x="92" y="9"/>
                  <a:pt x="85" y="9"/>
                </a:cubicBezTo>
                <a:cubicBezTo>
                  <a:pt x="85" y="9"/>
                  <a:pt x="85" y="9"/>
                  <a:pt x="85" y="9"/>
                </a:cubicBezTo>
                <a:cubicBezTo>
                  <a:pt x="84" y="9"/>
                  <a:pt x="84" y="9"/>
                  <a:pt x="84" y="9"/>
                </a:cubicBezTo>
                <a:cubicBezTo>
                  <a:pt x="83" y="9"/>
                  <a:pt x="83" y="9"/>
                  <a:pt x="83" y="9"/>
                </a:cubicBezTo>
                <a:cubicBezTo>
                  <a:pt x="83" y="9"/>
                  <a:pt x="83" y="9"/>
                  <a:pt x="83" y="9"/>
                </a:cubicBezTo>
                <a:cubicBezTo>
                  <a:pt x="76" y="9"/>
                  <a:pt x="65" y="7"/>
                  <a:pt x="54" y="5"/>
                </a:cubicBezTo>
                <a:cubicBezTo>
                  <a:pt x="43" y="2"/>
                  <a:pt x="32" y="0"/>
                  <a:pt x="28" y="0"/>
                </a:cubicBezTo>
                <a:cubicBezTo>
                  <a:pt x="16" y="3"/>
                  <a:pt x="9" y="21"/>
                  <a:pt x="5" y="42"/>
                </a:cubicBezTo>
                <a:cubicBezTo>
                  <a:pt x="0" y="62"/>
                  <a:pt x="9" y="85"/>
                  <a:pt x="16" y="101"/>
                </a:cubicBezTo>
                <a:cubicBezTo>
                  <a:pt x="23" y="117"/>
                  <a:pt x="18" y="135"/>
                  <a:pt x="21" y="163"/>
                </a:cubicBezTo>
                <a:cubicBezTo>
                  <a:pt x="23" y="190"/>
                  <a:pt x="30" y="202"/>
                  <a:pt x="37" y="224"/>
                </a:cubicBezTo>
                <a:cubicBezTo>
                  <a:pt x="44" y="247"/>
                  <a:pt x="64" y="256"/>
                  <a:pt x="60" y="243"/>
                </a:cubicBezTo>
                <a:cubicBezTo>
                  <a:pt x="55" y="229"/>
                  <a:pt x="60" y="179"/>
                  <a:pt x="66" y="158"/>
                </a:cubicBezTo>
                <a:cubicBezTo>
                  <a:pt x="69" y="150"/>
                  <a:pt x="71" y="144"/>
                  <a:pt x="73" y="141"/>
                </a:cubicBezTo>
                <a:cubicBezTo>
                  <a:pt x="74" y="137"/>
                  <a:pt x="77" y="134"/>
                  <a:pt x="82" y="134"/>
                </a:cubicBezTo>
                <a:cubicBezTo>
                  <a:pt x="86" y="134"/>
                  <a:pt x="89" y="137"/>
                  <a:pt x="90" y="140"/>
                </a:cubicBezTo>
                <a:cubicBezTo>
                  <a:pt x="92" y="143"/>
                  <a:pt x="94" y="149"/>
                  <a:pt x="97" y="158"/>
                </a:cubicBezTo>
                <a:cubicBezTo>
                  <a:pt x="104" y="179"/>
                  <a:pt x="109" y="229"/>
                  <a:pt x="104" y="243"/>
                </a:cubicBezTo>
                <a:cubicBezTo>
                  <a:pt x="100" y="256"/>
                  <a:pt x="120" y="247"/>
                  <a:pt x="127" y="224"/>
                </a:cubicBezTo>
                <a:cubicBezTo>
                  <a:pt x="134" y="202"/>
                  <a:pt x="141" y="190"/>
                  <a:pt x="143" y="163"/>
                </a:cubicBezTo>
                <a:cubicBezTo>
                  <a:pt x="145" y="135"/>
                  <a:pt x="141" y="117"/>
                  <a:pt x="148" y="101"/>
                </a:cubicBezTo>
                <a:cubicBezTo>
                  <a:pt x="154" y="85"/>
                  <a:pt x="164" y="62"/>
                  <a:pt x="159" y="42"/>
                </a:cubicBezTo>
              </a:path>
            </a:pathLst>
          </a:custGeom>
          <a:solidFill>
            <a:srgbClr val="EBAC0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3" name="Freeform 11">
            <a:extLst>
              <a:ext uri="{FF2B5EF4-FFF2-40B4-BE49-F238E27FC236}">
                <a16:creationId xmlns:a16="http://schemas.microsoft.com/office/drawing/2014/main" id="{8C9F8063-EF5E-4D88-B9B2-553FF0E860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35740" y="1478092"/>
            <a:ext cx="734483" cy="628649"/>
          </a:xfrm>
          <a:custGeom>
            <a:avLst/>
            <a:gdLst>
              <a:gd name="T0" fmla="*/ 621462677 w 250"/>
              <a:gd name="T1" fmla="*/ 1014514441 h 214"/>
              <a:gd name="T2" fmla="*/ 553490713 w 250"/>
              <a:gd name="T3" fmla="*/ 868891054 h 214"/>
              <a:gd name="T4" fmla="*/ 451532768 w 250"/>
              <a:gd name="T5" fmla="*/ 834910942 h 214"/>
              <a:gd name="T6" fmla="*/ 354429018 w 250"/>
              <a:gd name="T7" fmla="*/ 825203598 h 214"/>
              <a:gd name="T8" fmla="*/ 267035863 w 250"/>
              <a:gd name="T9" fmla="*/ 723265464 h 214"/>
              <a:gd name="T10" fmla="*/ 97103750 w 250"/>
              <a:gd name="T11" fmla="*/ 601912642 h 214"/>
              <a:gd name="T12" fmla="*/ 53407173 w 250"/>
              <a:gd name="T13" fmla="*/ 495120837 h 214"/>
              <a:gd name="T14" fmla="*/ 24275387 w 250"/>
              <a:gd name="T15" fmla="*/ 359206998 h 214"/>
              <a:gd name="T16" fmla="*/ 63117768 w 250"/>
              <a:gd name="T17" fmla="*/ 286393101 h 214"/>
              <a:gd name="T18" fmla="*/ 87393155 w 250"/>
              <a:gd name="T19" fmla="*/ 208727736 h 214"/>
              <a:gd name="T20" fmla="*/ 310732440 w 250"/>
              <a:gd name="T21" fmla="*/ 77665366 h 214"/>
              <a:gd name="T22" fmla="*/ 509794136 w 250"/>
              <a:gd name="T23" fmla="*/ 38833784 h 214"/>
              <a:gd name="T24" fmla="*/ 606897886 w 250"/>
              <a:gd name="T25" fmla="*/ 33977909 h 214"/>
              <a:gd name="T26" fmla="*/ 699147440 w 250"/>
              <a:gd name="T27" fmla="*/ 53394801 h 214"/>
              <a:gd name="T28" fmla="*/ 810815981 w 250"/>
              <a:gd name="T29" fmla="*/ 58250677 h 214"/>
              <a:gd name="T30" fmla="*/ 917630326 w 250"/>
              <a:gd name="T31" fmla="*/ 87374913 h 214"/>
              <a:gd name="T32" fmla="*/ 1034153064 w 250"/>
              <a:gd name="T33" fmla="*/ 135916042 h 214"/>
              <a:gd name="T34" fmla="*/ 1126402618 w 250"/>
              <a:gd name="T35" fmla="*/ 242707848 h 214"/>
              <a:gd name="T36" fmla="*/ 1160388600 w 250"/>
              <a:gd name="T37" fmla="*/ 330080558 h 214"/>
              <a:gd name="T38" fmla="*/ 1189520386 w 250"/>
              <a:gd name="T39" fmla="*/ 470850272 h 214"/>
              <a:gd name="T40" fmla="*/ 1199230981 w 250"/>
              <a:gd name="T41" fmla="*/ 553371513 h 214"/>
              <a:gd name="T42" fmla="*/ 1179809790 w 250"/>
              <a:gd name="T43" fmla="*/ 611619987 h 214"/>
              <a:gd name="T44" fmla="*/ 1170099195 w 250"/>
              <a:gd name="T45" fmla="*/ 694141228 h 214"/>
              <a:gd name="T46" fmla="*/ 1053574254 w 250"/>
              <a:gd name="T47" fmla="*/ 747536029 h 214"/>
              <a:gd name="T48" fmla="*/ 971037499 w 250"/>
              <a:gd name="T49" fmla="*/ 941702748 h 214"/>
              <a:gd name="T50" fmla="*/ 762263005 w 250"/>
              <a:gd name="T51" fmla="*/ 941702748 h 214"/>
              <a:gd name="T52" fmla="*/ 786540595 w 250"/>
              <a:gd name="T53" fmla="*/ 1009660769 h 214"/>
              <a:gd name="T54" fmla="*/ 679726249 w 250"/>
              <a:gd name="T55" fmla="*/ 1038785005 h 214"/>
              <a:gd name="T56" fmla="*/ 621462677 w 250"/>
              <a:gd name="T57" fmla="*/ 1014514441 h 21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50"/>
              <a:gd name="T88" fmla="*/ 0 h 214"/>
              <a:gd name="T89" fmla="*/ 250 w 250"/>
              <a:gd name="T90" fmla="*/ 214 h 21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50" h="214">
                <a:moveTo>
                  <a:pt x="128" y="209"/>
                </a:moveTo>
                <a:cubicBezTo>
                  <a:pt x="114" y="179"/>
                  <a:pt x="114" y="179"/>
                  <a:pt x="114" y="179"/>
                </a:cubicBezTo>
                <a:cubicBezTo>
                  <a:pt x="114" y="179"/>
                  <a:pt x="102" y="172"/>
                  <a:pt x="93" y="172"/>
                </a:cubicBezTo>
                <a:cubicBezTo>
                  <a:pt x="84" y="172"/>
                  <a:pt x="85" y="176"/>
                  <a:pt x="73" y="170"/>
                </a:cubicBezTo>
                <a:cubicBezTo>
                  <a:pt x="60" y="164"/>
                  <a:pt x="57" y="153"/>
                  <a:pt x="55" y="149"/>
                </a:cubicBezTo>
                <a:cubicBezTo>
                  <a:pt x="53" y="145"/>
                  <a:pt x="26" y="129"/>
                  <a:pt x="20" y="124"/>
                </a:cubicBezTo>
                <a:cubicBezTo>
                  <a:pt x="14" y="119"/>
                  <a:pt x="10" y="105"/>
                  <a:pt x="11" y="102"/>
                </a:cubicBezTo>
                <a:cubicBezTo>
                  <a:pt x="13" y="100"/>
                  <a:pt x="0" y="85"/>
                  <a:pt x="5" y="74"/>
                </a:cubicBezTo>
                <a:cubicBezTo>
                  <a:pt x="9" y="63"/>
                  <a:pt x="13" y="59"/>
                  <a:pt x="13" y="59"/>
                </a:cubicBezTo>
                <a:cubicBezTo>
                  <a:pt x="13" y="59"/>
                  <a:pt x="5" y="56"/>
                  <a:pt x="18" y="43"/>
                </a:cubicBezTo>
                <a:cubicBezTo>
                  <a:pt x="31" y="31"/>
                  <a:pt x="49" y="10"/>
                  <a:pt x="64" y="16"/>
                </a:cubicBezTo>
                <a:cubicBezTo>
                  <a:pt x="64" y="16"/>
                  <a:pt x="91" y="0"/>
                  <a:pt x="105" y="8"/>
                </a:cubicBezTo>
                <a:cubicBezTo>
                  <a:pt x="119" y="16"/>
                  <a:pt x="117" y="7"/>
                  <a:pt x="125" y="7"/>
                </a:cubicBezTo>
                <a:cubicBezTo>
                  <a:pt x="134" y="7"/>
                  <a:pt x="139" y="7"/>
                  <a:pt x="144" y="11"/>
                </a:cubicBezTo>
                <a:cubicBezTo>
                  <a:pt x="148" y="14"/>
                  <a:pt x="156" y="7"/>
                  <a:pt x="167" y="12"/>
                </a:cubicBezTo>
                <a:cubicBezTo>
                  <a:pt x="178" y="17"/>
                  <a:pt x="189" y="18"/>
                  <a:pt x="189" y="18"/>
                </a:cubicBezTo>
                <a:cubicBezTo>
                  <a:pt x="189" y="18"/>
                  <a:pt x="204" y="18"/>
                  <a:pt x="213" y="28"/>
                </a:cubicBezTo>
                <a:cubicBezTo>
                  <a:pt x="222" y="38"/>
                  <a:pt x="225" y="43"/>
                  <a:pt x="232" y="50"/>
                </a:cubicBezTo>
                <a:cubicBezTo>
                  <a:pt x="239" y="58"/>
                  <a:pt x="233" y="60"/>
                  <a:pt x="239" y="68"/>
                </a:cubicBezTo>
                <a:cubicBezTo>
                  <a:pt x="245" y="75"/>
                  <a:pt x="245" y="88"/>
                  <a:pt x="245" y="97"/>
                </a:cubicBezTo>
                <a:cubicBezTo>
                  <a:pt x="245" y="107"/>
                  <a:pt x="245" y="108"/>
                  <a:pt x="247" y="114"/>
                </a:cubicBezTo>
                <a:cubicBezTo>
                  <a:pt x="250" y="121"/>
                  <a:pt x="243" y="126"/>
                  <a:pt x="243" y="126"/>
                </a:cubicBezTo>
                <a:cubicBezTo>
                  <a:pt x="243" y="126"/>
                  <a:pt x="249" y="133"/>
                  <a:pt x="241" y="143"/>
                </a:cubicBezTo>
                <a:cubicBezTo>
                  <a:pt x="232" y="153"/>
                  <a:pt x="217" y="154"/>
                  <a:pt x="217" y="154"/>
                </a:cubicBezTo>
                <a:cubicBezTo>
                  <a:pt x="217" y="154"/>
                  <a:pt x="215" y="190"/>
                  <a:pt x="200" y="194"/>
                </a:cubicBezTo>
                <a:cubicBezTo>
                  <a:pt x="185" y="199"/>
                  <a:pt x="157" y="194"/>
                  <a:pt x="157" y="194"/>
                </a:cubicBezTo>
                <a:cubicBezTo>
                  <a:pt x="157" y="194"/>
                  <a:pt x="163" y="204"/>
                  <a:pt x="162" y="208"/>
                </a:cubicBezTo>
                <a:cubicBezTo>
                  <a:pt x="161" y="212"/>
                  <a:pt x="145" y="214"/>
                  <a:pt x="140" y="214"/>
                </a:cubicBezTo>
                <a:cubicBezTo>
                  <a:pt x="136" y="214"/>
                  <a:pt x="128" y="209"/>
                  <a:pt x="128" y="2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4" name="Freeform 12">
            <a:extLst>
              <a:ext uri="{FF2B5EF4-FFF2-40B4-BE49-F238E27FC236}">
                <a16:creationId xmlns:a16="http://schemas.microsoft.com/office/drawing/2014/main" id="{1342C848-6C4E-4896-AF6A-F9D01E84E007}"/>
              </a:ext>
            </a:extLst>
          </p:cNvPr>
          <p:cNvSpPr>
            <a:spLocks noEditPoints="1" noChangeArrowheads="1"/>
          </p:cNvSpPr>
          <p:nvPr/>
        </p:nvSpPr>
        <p:spPr bwMode="auto">
          <a:xfrm>
            <a:off x="10108224" y="1465391"/>
            <a:ext cx="791633" cy="668867"/>
          </a:xfrm>
          <a:custGeom>
            <a:avLst/>
            <a:gdLst>
              <a:gd name="T0" fmla="*/ 1242727996 w 270"/>
              <a:gd name="T1" fmla="*/ 319502645 h 228"/>
              <a:gd name="T2" fmla="*/ 1179865713 w 270"/>
              <a:gd name="T3" fmla="*/ 193639100 h 228"/>
              <a:gd name="T4" fmla="*/ 880065374 w 270"/>
              <a:gd name="T5" fmla="*/ 33887778 h 228"/>
              <a:gd name="T6" fmla="*/ 764011927 w 270"/>
              <a:gd name="T7" fmla="*/ 24204613 h 228"/>
              <a:gd name="T8" fmla="*/ 580262835 w 270"/>
              <a:gd name="T9" fmla="*/ 14523648 h 228"/>
              <a:gd name="T10" fmla="*/ 328815900 w 270"/>
              <a:gd name="T11" fmla="*/ 43568743 h 228"/>
              <a:gd name="T12" fmla="*/ 53191163 w 270"/>
              <a:gd name="T13" fmla="*/ 300140715 h 228"/>
              <a:gd name="T14" fmla="*/ 53191163 w 270"/>
              <a:gd name="T15" fmla="*/ 513141745 h 228"/>
              <a:gd name="T16" fmla="*/ 183749092 w 270"/>
              <a:gd name="T17" fmla="*/ 706780846 h 228"/>
              <a:gd name="T18" fmla="*/ 449702708 w 270"/>
              <a:gd name="T19" fmla="*/ 905260428 h 228"/>
              <a:gd name="T20" fmla="*/ 560920594 w 270"/>
              <a:gd name="T21" fmla="*/ 924624558 h 228"/>
              <a:gd name="T22" fmla="*/ 725327445 w 270"/>
              <a:gd name="T23" fmla="*/ 1103740011 h 228"/>
              <a:gd name="T24" fmla="*/ 928418777 w 270"/>
              <a:gd name="T25" fmla="*/ 1021443008 h 228"/>
              <a:gd name="T26" fmla="*/ 1252399117 w 270"/>
              <a:gd name="T27" fmla="*/ 745509106 h 228"/>
              <a:gd name="T28" fmla="*/ 580262835 w 270"/>
              <a:gd name="T29" fmla="*/ 793918331 h 228"/>
              <a:gd name="T30" fmla="*/ 759176367 w 270"/>
              <a:gd name="T31" fmla="*/ 721304493 h 228"/>
              <a:gd name="T32" fmla="*/ 575427275 w 270"/>
              <a:gd name="T33" fmla="*/ 818122943 h 228"/>
              <a:gd name="T34" fmla="*/ 1121841189 w 270"/>
              <a:gd name="T35" fmla="*/ 706780846 h 228"/>
              <a:gd name="T36" fmla="*/ 807531969 w 270"/>
              <a:gd name="T37" fmla="*/ 789077848 h 228"/>
              <a:gd name="T38" fmla="*/ 967103260 w 270"/>
              <a:gd name="T39" fmla="*/ 682576233 h 228"/>
              <a:gd name="T40" fmla="*/ 865558693 w 270"/>
              <a:gd name="T41" fmla="*/ 590598266 h 228"/>
              <a:gd name="T42" fmla="*/ 797860849 w 270"/>
              <a:gd name="T43" fmla="*/ 416323295 h 228"/>
              <a:gd name="T44" fmla="*/ 831709771 w 270"/>
              <a:gd name="T45" fmla="*/ 648688455 h 228"/>
              <a:gd name="T46" fmla="*/ 522236112 w 270"/>
              <a:gd name="T47" fmla="*/ 760030553 h 228"/>
              <a:gd name="T48" fmla="*/ 454538268 w 270"/>
              <a:gd name="T49" fmla="*/ 803599296 h 228"/>
              <a:gd name="T50" fmla="*/ 362664822 w 270"/>
              <a:gd name="T51" fmla="*/ 726144976 h 228"/>
              <a:gd name="T52" fmla="*/ 401347105 w 270"/>
              <a:gd name="T53" fmla="*/ 668052586 h 228"/>
              <a:gd name="T54" fmla="*/ 338487020 w 270"/>
              <a:gd name="T55" fmla="*/ 634167008 h 228"/>
              <a:gd name="T56" fmla="*/ 304638099 w 270"/>
              <a:gd name="T57" fmla="*/ 474413485 h 228"/>
              <a:gd name="T58" fmla="*/ 270789177 w 270"/>
              <a:gd name="T59" fmla="*/ 643847973 h 228"/>
              <a:gd name="T60" fmla="*/ 149900170 w 270"/>
              <a:gd name="T61" fmla="*/ 527665393 h 228"/>
              <a:gd name="T62" fmla="*/ 140229049 w 270"/>
              <a:gd name="T63" fmla="*/ 348549940 h 228"/>
              <a:gd name="T64" fmla="*/ 333651460 w 270"/>
              <a:gd name="T65" fmla="*/ 227524678 h 228"/>
              <a:gd name="T66" fmla="*/ 169242411 w 270"/>
              <a:gd name="T67" fmla="*/ 266252938 h 228"/>
              <a:gd name="T68" fmla="*/ 333651460 w 270"/>
              <a:gd name="T69" fmla="*/ 145229875 h 228"/>
              <a:gd name="T70" fmla="*/ 531907233 w 270"/>
              <a:gd name="T71" fmla="*/ 101661133 h 228"/>
              <a:gd name="T72" fmla="*/ 614111757 w 270"/>
              <a:gd name="T73" fmla="*/ 193639100 h 228"/>
              <a:gd name="T74" fmla="*/ 556085034 w 270"/>
              <a:gd name="T75" fmla="*/ 256571973 h 228"/>
              <a:gd name="T76" fmla="*/ 415853786 w 270"/>
              <a:gd name="T77" fmla="*/ 411482813 h 228"/>
              <a:gd name="T78" fmla="*/ 531907233 w 270"/>
              <a:gd name="T79" fmla="*/ 392118683 h 228"/>
              <a:gd name="T80" fmla="*/ 575427275 w 270"/>
              <a:gd name="T81" fmla="*/ 450208873 h 228"/>
              <a:gd name="T82" fmla="*/ 594769516 w 270"/>
              <a:gd name="T83" fmla="*/ 314662163 h 228"/>
              <a:gd name="T84" fmla="*/ 618947318 w 270"/>
              <a:gd name="T85" fmla="*/ 300140715 h 228"/>
              <a:gd name="T86" fmla="*/ 647960679 w 270"/>
              <a:gd name="T87" fmla="*/ 111342098 h 228"/>
              <a:gd name="T88" fmla="*/ 710820764 w 270"/>
              <a:gd name="T89" fmla="*/ 111342098 h 228"/>
              <a:gd name="T90" fmla="*/ 836545331 w 270"/>
              <a:gd name="T91" fmla="*/ 125865745 h 228"/>
              <a:gd name="T92" fmla="*/ 1039636664 w 270"/>
              <a:gd name="T93" fmla="*/ 188798618 h 228"/>
              <a:gd name="T94" fmla="*/ 1136347869 w 270"/>
              <a:gd name="T95" fmla="*/ 300140715 h 228"/>
              <a:gd name="T96" fmla="*/ 1117005628 w 270"/>
              <a:gd name="T97" fmla="*/ 304981198 h 228"/>
              <a:gd name="T98" fmla="*/ 1175032352 w 270"/>
              <a:gd name="T99" fmla="*/ 411482813 h 228"/>
              <a:gd name="T100" fmla="*/ 1136347869 w 270"/>
              <a:gd name="T101" fmla="*/ 517982228 h 228"/>
              <a:gd name="T102" fmla="*/ 991281061 w 270"/>
              <a:gd name="T103" fmla="*/ 309821680 h 228"/>
              <a:gd name="T104" fmla="*/ 1005787742 w 270"/>
              <a:gd name="T105" fmla="*/ 517982228 h 228"/>
              <a:gd name="T106" fmla="*/ 1150854550 w 270"/>
              <a:gd name="T107" fmla="*/ 619643361 h 228"/>
              <a:gd name="T108" fmla="*/ 1175032352 w 270"/>
              <a:gd name="T109" fmla="*/ 677735751 h 2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70"/>
              <a:gd name="T166" fmla="*/ 0 h 228"/>
              <a:gd name="T167" fmla="*/ 270 w 270"/>
              <a:gd name="T168" fmla="*/ 228 h 22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70" h="228">
                <a:moveTo>
                  <a:pt x="267" y="115"/>
                </a:moveTo>
                <a:cubicBezTo>
                  <a:pt x="265" y="110"/>
                  <a:pt x="265" y="110"/>
                  <a:pt x="265" y="101"/>
                </a:cubicBezTo>
                <a:cubicBezTo>
                  <a:pt x="265" y="91"/>
                  <a:pt x="265" y="76"/>
                  <a:pt x="257" y="66"/>
                </a:cubicBezTo>
                <a:cubicBezTo>
                  <a:pt x="256" y="64"/>
                  <a:pt x="256" y="64"/>
                  <a:pt x="256" y="63"/>
                </a:cubicBezTo>
                <a:cubicBezTo>
                  <a:pt x="256" y="59"/>
                  <a:pt x="255" y="53"/>
                  <a:pt x="250" y="47"/>
                </a:cubicBezTo>
                <a:cubicBezTo>
                  <a:pt x="248" y="45"/>
                  <a:pt x="246" y="42"/>
                  <a:pt x="244" y="40"/>
                </a:cubicBezTo>
                <a:cubicBezTo>
                  <a:pt x="240" y="36"/>
                  <a:pt x="236" y="32"/>
                  <a:pt x="230" y="25"/>
                </a:cubicBezTo>
                <a:cubicBezTo>
                  <a:pt x="219" y="13"/>
                  <a:pt x="203" y="12"/>
                  <a:pt x="200" y="12"/>
                </a:cubicBezTo>
                <a:cubicBezTo>
                  <a:pt x="198" y="12"/>
                  <a:pt x="190" y="11"/>
                  <a:pt x="182" y="7"/>
                </a:cubicBezTo>
                <a:cubicBezTo>
                  <a:pt x="177" y="5"/>
                  <a:pt x="173" y="4"/>
                  <a:pt x="168" y="4"/>
                </a:cubicBezTo>
                <a:cubicBezTo>
                  <a:pt x="165" y="4"/>
                  <a:pt x="162" y="4"/>
                  <a:pt x="160" y="5"/>
                </a:cubicBezTo>
                <a:cubicBezTo>
                  <a:pt x="159" y="5"/>
                  <a:pt x="159" y="5"/>
                  <a:pt x="158" y="5"/>
                </a:cubicBezTo>
                <a:cubicBezTo>
                  <a:pt x="152" y="1"/>
                  <a:pt x="144" y="1"/>
                  <a:pt x="135" y="1"/>
                </a:cubicBezTo>
                <a:cubicBezTo>
                  <a:pt x="129" y="1"/>
                  <a:pt x="126" y="3"/>
                  <a:pt x="123" y="5"/>
                </a:cubicBezTo>
                <a:cubicBezTo>
                  <a:pt x="123" y="4"/>
                  <a:pt x="122" y="4"/>
                  <a:pt x="120" y="3"/>
                </a:cubicBezTo>
                <a:cubicBezTo>
                  <a:pt x="116" y="1"/>
                  <a:pt x="111" y="0"/>
                  <a:pt x="106" y="0"/>
                </a:cubicBezTo>
                <a:cubicBezTo>
                  <a:pt x="93" y="0"/>
                  <a:pt x="79" y="6"/>
                  <a:pt x="72" y="9"/>
                </a:cubicBezTo>
                <a:cubicBezTo>
                  <a:pt x="71" y="9"/>
                  <a:pt x="69" y="9"/>
                  <a:pt x="68" y="9"/>
                </a:cubicBezTo>
                <a:cubicBezTo>
                  <a:pt x="51" y="9"/>
                  <a:pt x="36" y="24"/>
                  <a:pt x="24" y="36"/>
                </a:cubicBezTo>
                <a:cubicBezTo>
                  <a:pt x="23" y="38"/>
                  <a:pt x="22" y="39"/>
                  <a:pt x="21" y="40"/>
                </a:cubicBezTo>
                <a:cubicBezTo>
                  <a:pt x="15" y="45"/>
                  <a:pt x="9" y="53"/>
                  <a:pt x="11" y="62"/>
                </a:cubicBezTo>
                <a:cubicBezTo>
                  <a:pt x="9" y="65"/>
                  <a:pt x="7" y="69"/>
                  <a:pt x="5" y="74"/>
                </a:cubicBezTo>
                <a:cubicBezTo>
                  <a:pt x="0" y="85"/>
                  <a:pt x="6" y="97"/>
                  <a:pt x="10" y="104"/>
                </a:cubicBezTo>
                <a:cubicBezTo>
                  <a:pt x="10" y="105"/>
                  <a:pt x="10" y="106"/>
                  <a:pt x="11" y="106"/>
                </a:cubicBezTo>
                <a:cubicBezTo>
                  <a:pt x="10" y="109"/>
                  <a:pt x="11" y="114"/>
                  <a:pt x="13" y="120"/>
                </a:cubicBezTo>
                <a:cubicBezTo>
                  <a:pt x="14" y="124"/>
                  <a:pt x="18" y="131"/>
                  <a:pt x="23" y="135"/>
                </a:cubicBezTo>
                <a:cubicBezTo>
                  <a:pt x="26" y="138"/>
                  <a:pt x="30" y="141"/>
                  <a:pt x="38" y="146"/>
                </a:cubicBezTo>
                <a:cubicBezTo>
                  <a:pt x="44" y="149"/>
                  <a:pt x="53" y="155"/>
                  <a:pt x="56" y="158"/>
                </a:cubicBezTo>
                <a:cubicBezTo>
                  <a:pt x="58" y="164"/>
                  <a:pt x="63" y="176"/>
                  <a:pt x="78" y="183"/>
                </a:cubicBezTo>
                <a:cubicBezTo>
                  <a:pt x="85" y="186"/>
                  <a:pt x="89" y="187"/>
                  <a:pt x="93" y="187"/>
                </a:cubicBezTo>
                <a:cubicBezTo>
                  <a:pt x="96" y="187"/>
                  <a:pt x="98" y="187"/>
                  <a:pt x="99" y="187"/>
                </a:cubicBezTo>
                <a:cubicBezTo>
                  <a:pt x="100" y="186"/>
                  <a:pt x="101" y="186"/>
                  <a:pt x="103" y="186"/>
                </a:cubicBezTo>
                <a:cubicBezTo>
                  <a:pt x="107" y="186"/>
                  <a:pt x="112" y="188"/>
                  <a:pt x="116" y="191"/>
                </a:cubicBezTo>
                <a:cubicBezTo>
                  <a:pt x="128" y="217"/>
                  <a:pt x="128" y="217"/>
                  <a:pt x="128" y="217"/>
                </a:cubicBezTo>
                <a:cubicBezTo>
                  <a:pt x="129" y="219"/>
                  <a:pt x="131" y="221"/>
                  <a:pt x="132" y="222"/>
                </a:cubicBezTo>
                <a:cubicBezTo>
                  <a:pt x="136" y="224"/>
                  <a:pt x="144" y="228"/>
                  <a:pt x="150" y="228"/>
                </a:cubicBezTo>
                <a:cubicBezTo>
                  <a:pt x="157" y="228"/>
                  <a:pt x="180" y="227"/>
                  <a:pt x="182" y="214"/>
                </a:cubicBezTo>
                <a:cubicBezTo>
                  <a:pt x="183" y="213"/>
                  <a:pt x="183" y="212"/>
                  <a:pt x="183" y="210"/>
                </a:cubicBezTo>
                <a:cubicBezTo>
                  <a:pt x="186" y="211"/>
                  <a:pt x="189" y="211"/>
                  <a:pt x="192" y="211"/>
                </a:cubicBezTo>
                <a:cubicBezTo>
                  <a:pt x="201" y="211"/>
                  <a:pt x="208" y="210"/>
                  <a:pt x="213" y="208"/>
                </a:cubicBezTo>
                <a:cubicBezTo>
                  <a:pt x="230" y="204"/>
                  <a:pt x="235" y="181"/>
                  <a:pt x="237" y="167"/>
                </a:cubicBezTo>
                <a:cubicBezTo>
                  <a:pt x="243" y="165"/>
                  <a:pt x="252" y="161"/>
                  <a:pt x="259" y="154"/>
                </a:cubicBezTo>
                <a:cubicBezTo>
                  <a:pt x="265" y="146"/>
                  <a:pt x="266" y="138"/>
                  <a:pt x="265" y="132"/>
                </a:cubicBezTo>
                <a:cubicBezTo>
                  <a:pt x="268" y="128"/>
                  <a:pt x="270" y="122"/>
                  <a:pt x="267" y="115"/>
                </a:cubicBezTo>
                <a:close/>
                <a:moveTo>
                  <a:pt x="120" y="164"/>
                </a:moveTo>
                <a:cubicBezTo>
                  <a:pt x="123" y="158"/>
                  <a:pt x="135" y="152"/>
                  <a:pt x="144" y="150"/>
                </a:cubicBezTo>
                <a:cubicBezTo>
                  <a:pt x="146" y="150"/>
                  <a:pt x="150" y="150"/>
                  <a:pt x="154" y="150"/>
                </a:cubicBezTo>
                <a:cubicBezTo>
                  <a:pt x="155" y="150"/>
                  <a:pt x="156" y="149"/>
                  <a:pt x="157" y="149"/>
                </a:cubicBezTo>
                <a:cubicBezTo>
                  <a:pt x="154" y="155"/>
                  <a:pt x="152" y="161"/>
                  <a:pt x="154" y="167"/>
                </a:cubicBezTo>
                <a:cubicBezTo>
                  <a:pt x="144" y="170"/>
                  <a:pt x="135" y="174"/>
                  <a:pt x="127" y="173"/>
                </a:cubicBezTo>
                <a:cubicBezTo>
                  <a:pt x="125" y="172"/>
                  <a:pt x="122" y="170"/>
                  <a:pt x="119" y="169"/>
                </a:cubicBezTo>
                <a:cubicBezTo>
                  <a:pt x="118" y="167"/>
                  <a:pt x="119" y="166"/>
                  <a:pt x="120" y="164"/>
                </a:cubicBezTo>
                <a:close/>
                <a:moveTo>
                  <a:pt x="243" y="140"/>
                </a:moveTo>
                <a:cubicBezTo>
                  <a:pt x="240" y="143"/>
                  <a:pt x="236" y="145"/>
                  <a:pt x="232" y="146"/>
                </a:cubicBezTo>
                <a:cubicBezTo>
                  <a:pt x="232" y="146"/>
                  <a:pt x="231" y="146"/>
                  <a:pt x="231" y="146"/>
                </a:cubicBezTo>
                <a:cubicBezTo>
                  <a:pt x="216" y="145"/>
                  <a:pt x="200" y="151"/>
                  <a:pt x="184" y="157"/>
                </a:cubicBezTo>
                <a:cubicBezTo>
                  <a:pt x="178" y="159"/>
                  <a:pt x="172" y="161"/>
                  <a:pt x="167" y="163"/>
                </a:cubicBezTo>
                <a:cubicBezTo>
                  <a:pt x="167" y="159"/>
                  <a:pt x="170" y="154"/>
                  <a:pt x="173" y="151"/>
                </a:cubicBezTo>
                <a:cubicBezTo>
                  <a:pt x="175" y="149"/>
                  <a:pt x="179" y="149"/>
                  <a:pt x="183" y="148"/>
                </a:cubicBezTo>
                <a:cubicBezTo>
                  <a:pt x="189" y="147"/>
                  <a:pt x="195" y="146"/>
                  <a:pt x="200" y="141"/>
                </a:cubicBezTo>
                <a:cubicBezTo>
                  <a:pt x="204" y="137"/>
                  <a:pt x="204" y="133"/>
                  <a:pt x="203" y="130"/>
                </a:cubicBezTo>
                <a:cubicBezTo>
                  <a:pt x="201" y="124"/>
                  <a:pt x="193" y="123"/>
                  <a:pt x="186" y="122"/>
                </a:cubicBezTo>
                <a:cubicBezTo>
                  <a:pt x="183" y="122"/>
                  <a:pt x="180" y="122"/>
                  <a:pt x="179" y="122"/>
                </a:cubicBezTo>
                <a:cubicBezTo>
                  <a:pt x="170" y="117"/>
                  <a:pt x="170" y="112"/>
                  <a:pt x="171" y="100"/>
                </a:cubicBezTo>
                <a:cubicBezTo>
                  <a:pt x="171" y="98"/>
                  <a:pt x="171" y="95"/>
                  <a:pt x="171" y="93"/>
                </a:cubicBezTo>
                <a:cubicBezTo>
                  <a:pt x="172" y="89"/>
                  <a:pt x="169" y="86"/>
                  <a:pt x="165" y="86"/>
                </a:cubicBezTo>
                <a:cubicBezTo>
                  <a:pt x="161" y="86"/>
                  <a:pt x="158" y="89"/>
                  <a:pt x="158" y="92"/>
                </a:cubicBezTo>
                <a:cubicBezTo>
                  <a:pt x="158" y="95"/>
                  <a:pt x="157" y="97"/>
                  <a:pt x="157" y="99"/>
                </a:cubicBezTo>
                <a:cubicBezTo>
                  <a:pt x="156" y="110"/>
                  <a:pt x="155" y="125"/>
                  <a:pt x="172" y="134"/>
                </a:cubicBezTo>
                <a:cubicBezTo>
                  <a:pt x="169" y="135"/>
                  <a:pt x="159" y="136"/>
                  <a:pt x="154" y="136"/>
                </a:cubicBezTo>
                <a:cubicBezTo>
                  <a:pt x="149" y="136"/>
                  <a:pt x="145" y="136"/>
                  <a:pt x="141" y="137"/>
                </a:cubicBezTo>
                <a:cubicBezTo>
                  <a:pt x="138" y="137"/>
                  <a:pt x="116" y="143"/>
                  <a:pt x="108" y="157"/>
                </a:cubicBezTo>
                <a:cubicBezTo>
                  <a:pt x="106" y="160"/>
                  <a:pt x="105" y="163"/>
                  <a:pt x="105" y="165"/>
                </a:cubicBezTo>
                <a:cubicBezTo>
                  <a:pt x="104" y="165"/>
                  <a:pt x="104" y="165"/>
                  <a:pt x="103" y="165"/>
                </a:cubicBezTo>
                <a:cubicBezTo>
                  <a:pt x="99" y="165"/>
                  <a:pt x="96" y="166"/>
                  <a:pt x="94" y="166"/>
                </a:cubicBezTo>
                <a:cubicBezTo>
                  <a:pt x="94" y="167"/>
                  <a:pt x="93" y="167"/>
                  <a:pt x="93" y="167"/>
                </a:cubicBezTo>
                <a:cubicBezTo>
                  <a:pt x="93" y="167"/>
                  <a:pt x="92" y="167"/>
                  <a:pt x="87" y="165"/>
                </a:cubicBezTo>
                <a:cubicBezTo>
                  <a:pt x="79" y="161"/>
                  <a:pt x="77" y="154"/>
                  <a:pt x="75" y="150"/>
                </a:cubicBezTo>
                <a:cubicBezTo>
                  <a:pt x="75" y="149"/>
                  <a:pt x="75" y="149"/>
                  <a:pt x="75" y="149"/>
                </a:cubicBezTo>
                <a:cubicBezTo>
                  <a:pt x="75" y="149"/>
                  <a:pt x="75" y="149"/>
                  <a:pt x="75" y="149"/>
                </a:cubicBezTo>
                <a:cubicBezTo>
                  <a:pt x="75" y="146"/>
                  <a:pt x="80" y="139"/>
                  <a:pt x="83" y="138"/>
                </a:cubicBezTo>
                <a:cubicBezTo>
                  <a:pt x="86" y="137"/>
                  <a:pt x="88" y="133"/>
                  <a:pt x="87" y="129"/>
                </a:cubicBezTo>
                <a:cubicBezTo>
                  <a:pt x="86" y="126"/>
                  <a:pt x="82" y="124"/>
                  <a:pt x="78" y="125"/>
                </a:cubicBezTo>
                <a:cubicBezTo>
                  <a:pt x="76" y="126"/>
                  <a:pt x="73" y="128"/>
                  <a:pt x="70" y="131"/>
                </a:cubicBezTo>
                <a:cubicBezTo>
                  <a:pt x="70" y="128"/>
                  <a:pt x="71" y="126"/>
                  <a:pt x="71" y="123"/>
                </a:cubicBezTo>
                <a:cubicBezTo>
                  <a:pt x="71" y="117"/>
                  <a:pt x="72" y="110"/>
                  <a:pt x="71" y="104"/>
                </a:cubicBezTo>
                <a:cubicBezTo>
                  <a:pt x="71" y="100"/>
                  <a:pt x="67" y="97"/>
                  <a:pt x="63" y="98"/>
                </a:cubicBezTo>
                <a:cubicBezTo>
                  <a:pt x="60" y="98"/>
                  <a:pt x="57" y="101"/>
                  <a:pt x="57" y="105"/>
                </a:cubicBezTo>
                <a:cubicBezTo>
                  <a:pt x="58" y="111"/>
                  <a:pt x="57" y="116"/>
                  <a:pt x="57" y="122"/>
                </a:cubicBezTo>
                <a:cubicBezTo>
                  <a:pt x="57" y="126"/>
                  <a:pt x="56" y="129"/>
                  <a:pt x="56" y="133"/>
                </a:cubicBezTo>
                <a:cubicBezTo>
                  <a:pt x="54" y="132"/>
                  <a:pt x="52" y="130"/>
                  <a:pt x="49" y="128"/>
                </a:cubicBezTo>
                <a:cubicBezTo>
                  <a:pt x="44" y="125"/>
                  <a:pt x="38" y="121"/>
                  <a:pt x="36" y="120"/>
                </a:cubicBezTo>
                <a:cubicBezTo>
                  <a:pt x="34" y="118"/>
                  <a:pt x="32" y="112"/>
                  <a:pt x="31" y="109"/>
                </a:cubicBezTo>
                <a:cubicBezTo>
                  <a:pt x="33" y="104"/>
                  <a:pt x="30" y="100"/>
                  <a:pt x="28" y="95"/>
                </a:cubicBezTo>
                <a:cubicBezTo>
                  <a:pt x="27" y="92"/>
                  <a:pt x="23" y="84"/>
                  <a:pt x="24" y="82"/>
                </a:cubicBezTo>
                <a:cubicBezTo>
                  <a:pt x="26" y="77"/>
                  <a:pt x="28" y="73"/>
                  <a:pt x="29" y="72"/>
                </a:cubicBezTo>
                <a:cubicBezTo>
                  <a:pt x="31" y="71"/>
                  <a:pt x="33" y="71"/>
                  <a:pt x="34" y="71"/>
                </a:cubicBezTo>
                <a:cubicBezTo>
                  <a:pt x="46" y="69"/>
                  <a:pt x="58" y="68"/>
                  <a:pt x="69" y="57"/>
                </a:cubicBezTo>
                <a:cubicBezTo>
                  <a:pt x="72" y="54"/>
                  <a:pt x="72" y="49"/>
                  <a:pt x="69" y="47"/>
                </a:cubicBezTo>
                <a:cubicBezTo>
                  <a:pt x="66" y="44"/>
                  <a:pt x="62" y="44"/>
                  <a:pt x="59" y="47"/>
                </a:cubicBezTo>
                <a:cubicBezTo>
                  <a:pt x="52" y="54"/>
                  <a:pt x="43" y="56"/>
                  <a:pt x="33" y="57"/>
                </a:cubicBezTo>
                <a:cubicBezTo>
                  <a:pt x="34" y="56"/>
                  <a:pt x="34" y="56"/>
                  <a:pt x="35" y="55"/>
                </a:cubicBezTo>
                <a:cubicBezTo>
                  <a:pt x="37" y="54"/>
                  <a:pt x="38" y="52"/>
                  <a:pt x="39" y="51"/>
                </a:cubicBezTo>
                <a:cubicBezTo>
                  <a:pt x="47" y="43"/>
                  <a:pt x="60" y="30"/>
                  <a:pt x="68" y="30"/>
                </a:cubicBezTo>
                <a:cubicBezTo>
                  <a:pt x="68" y="30"/>
                  <a:pt x="69" y="30"/>
                  <a:pt x="69" y="30"/>
                </a:cubicBezTo>
                <a:cubicBezTo>
                  <a:pt x="72" y="31"/>
                  <a:pt x="76" y="31"/>
                  <a:pt x="79" y="29"/>
                </a:cubicBezTo>
                <a:cubicBezTo>
                  <a:pt x="83" y="27"/>
                  <a:pt x="96" y="20"/>
                  <a:pt x="106" y="20"/>
                </a:cubicBezTo>
                <a:cubicBezTo>
                  <a:pt x="107" y="20"/>
                  <a:pt x="109" y="21"/>
                  <a:pt x="110" y="21"/>
                </a:cubicBezTo>
                <a:cubicBezTo>
                  <a:pt x="111" y="21"/>
                  <a:pt x="111" y="21"/>
                  <a:pt x="111" y="21"/>
                </a:cubicBezTo>
                <a:cubicBezTo>
                  <a:pt x="112" y="23"/>
                  <a:pt x="113" y="25"/>
                  <a:pt x="116" y="25"/>
                </a:cubicBezTo>
                <a:cubicBezTo>
                  <a:pt x="119" y="25"/>
                  <a:pt x="124" y="32"/>
                  <a:pt x="127" y="40"/>
                </a:cubicBezTo>
                <a:cubicBezTo>
                  <a:pt x="128" y="42"/>
                  <a:pt x="130" y="45"/>
                  <a:pt x="129" y="47"/>
                </a:cubicBezTo>
                <a:cubicBezTo>
                  <a:pt x="129" y="48"/>
                  <a:pt x="128" y="48"/>
                  <a:pt x="125" y="49"/>
                </a:cubicBezTo>
                <a:cubicBezTo>
                  <a:pt x="122" y="49"/>
                  <a:pt x="118" y="50"/>
                  <a:pt x="115" y="53"/>
                </a:cubicBezTo>
                <a:cubicBezTo>
                  <a:pt x="104" y="60"/>
                  <a:pt x="94" y="67"/>
                  <a:pt x="83" y="72"/>
                </a:cubicBezTo>
                <a:cubicBezTo>
                  <a:pt x="79" y="74"/>
                  <a:pt x="78" y="78"/>
                  <a:pt x="80" y="82"/>
                </a:cubicBezTo>
                <a:cubicBezTo>
                  <a:pt x="81" y="84"/>
                  <a:pt x="83" y="85"/>
                  <a:pt x="86" y="85"/>
                </a:cubicBezTo>
                <a:cubicBezTo>
                  <a:pt x="87" y="85"/>
                  <a:pt x="88" y="85"/>
                  <a:pt x="89" y="85"/>
                </a:cubicBezTo>
                <a:cubicBezTo>
                  <a:pt x="96" y="81"/>
                  <a:pt x="103" y="77"/>
                  <a:pt x="109" y="73"/>
                </a:cubicBezTo>
                <a:cubicBezTo>
                  <a:pt x="109" y="76"/>
                  <a:pt x="110" y="78"/>
                  <a:pt x="110" y="81"/>
                </a:cubicBezTo>
                <a:cubicBezTo>
                  <a:pt x="111" y="83"/>
                  <a:pt x="111" y="85"/>
                  <a:pt x="111" y="87"/>
                </a:cubicBezTo>
                <a:cubicBezTo>
                  <a:pt x="112" y="91"/>
                  <a:pt x="115" y="93"/>
                  <a:pt x="118" y="93"/>
                </a:cubicBezTo>
                <a:cubicBezTo>
                  <a:pt x="119" y="93"/>
                  <a:pt x="119" y="93"/>
                  <a:pt x="119" y="93"/>
                </a:cubicBezTo>
                <a:cubicBezTo>
                  <a:pt x="123" y="93"/>
                  <a:pt x="125" y="89"/>
                  <a:pt x="125" y="86"/>
                </a:cubicBezTo>
                <a:cubicBezTo>
                  <a:pt x="125" y="83"/>
                  <a:pt x="124" y="81"/>
                  <a:pt x="124" y="78"/>
                </a:cubicBezTo>
                <a:cubicBezTo>
                  <a:pt x="123" y="73"/>
                  <a:pt x="122" y="68"/>
                  <a:pt x="123" y="65"/>
                </a:cubicBezTo>
                <a:cubicBezTo>
                  <a:pt x="123" y="64"/>
                  <a:pt x="123" y="64"/>
                  <a:pt x="124" y="64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125" y="63"/>
                  <a:pt x="126" y="62"/>
                  <a:pt x="128" y="62"/>
                </a:cubicBezTo>
                <a:cubicBezTo>
                  <a:pt x="131" y="61"/>
                  <a:pt x="137" y="60"/>
                  <a:pt x="141" y="54"/>
                </a:cubicBezTo>
                <a:cubicBezTo>
                  <a:pt x="145" y="47"/>
                  <a:pt x="142" y="39"/>
                  <a:pt x="140" y="34"/>
                </a:cubicBezTo>
                <a:cubicBezTo>
                  <a:pt x="139" y="31"/>
                  <a:pt x="137" y="27"/>
                  <a:pt x="134" y="23"/>
                </a:cubicBezTo>
                <a:cubicBezTo>
                  <a:pt x="135" y="22"/>
                  <a:pt x="135" y="22"/>
                  <a:pt x="135" y="22"/>
                </a:cubicBezTo>
                <a:cubicBezTo>
                  <a:pt x="135" y="22"/>
                  <a:pt x="135" y="22"/>
                  <a:pt x="135" y="22"/>
                </a:cubicBezTo>
                <a:cubicBezTo>
                  <a:pt x="141" y="22"/>
                  <a:pt x="146" y="22"/>
                  <a:pt x="147" y="23"/>
                </a:cubicBezTo>
                <a:cubicBezTo>
                  <a:pt x="150" y="25"/>
                  <a:pt x="153" y="26"/>
                  <a:pt x="157" y="26"/>
                </a:cubicBezTo>
                <a:cubicBezTo>
                  <a:pt x="159" y="26"/>
                  <a:pt x="161" y="26"/>
                  <a:pt x="163" y="25"/>
                </a:cubicBezTo>
                <a:cubicBezTo>
                  <a:pt x="167" y="25"/>
                  <a:pt x="170" y="24"/>
                  <a:pt x="173" y="26"/>
                </a:cubicBezTo>
                <a:cubicBezTo>
                  <a:pt x="185" y="31"/>
                  <a:pt x="198" y="32"/>
                  <a:pt x="198" y="32"/>
                </a:cubicBezTo>
                <a:cubicBezTo>
                  <a:pt x="199" y="33"/>
                  <a:pt x="199" y="33"/>
                  <a:pt x="199" y="33"/>
                </a:cubicBezTo>
                <a:cubicBezTo>
                  <a:pt x="199" y="33"/>
                  <a:pt x="209" y="33"/>
                  <a:pt x="215" y="39"/>
                </a:cubicBezTo>
                <a:cubicBezTo>
                  <a:pt x="221" y="46"/>
                  <a:pt x="224" y="49"/>
                  <a:pt x="228" y="54"/>
                </a:cubicBezTo>
                <a:cubicBezTo>
                  <a:pt x="230" y="56"/>
                  <a:pt x="232" y="58"/>
                  <a:pt x="234" y="61"/>
                </a:cubicBezTo>
                <a:cubicBezTo>
                  <a:pt x="235" y="62"/>
                  <a:pt x="235" y="62"/>
                  <a:pt x="235" y="62"/>
                </a:cubicBezTo>
                <a:cubicBezTo>
                  <a:pt x="236" y="63"/>
                  <a:pt x="236" y="63"/>
                  <a:pt x="236" y="64"/>
                </a:cubicBezTo>
                <a:cubicBezTo>
                  <a:pt x="236" y="65"/>
                  <a:pt x="236" y="66"/>
                  <a:pt x="236" y="68"/>
                </a:cubicBezTo>
                <a:cubicBezTo>
                  <a:pt x="233" y="67"/>
                  <a:pt x="231" y="65"/>
                  <a:pt x="231" y="63"/>
                </a:cubicBezTo>
                <a:cubicBezTo>
                  <a:pt x="230" y="59"/>
                  <a:pt x="227" y="57"/>
                  <a:pt x="223" y="58"/>
                </a:cubicBezTo>
                <a:cubicBezTo>
                  <a:pt x="219" y="58"/>
                  <a:pt x="217" y="62"/>
                  <a:pt x="217" y="66"/>
                </a:cubicBezTo>
                <a:cubicBezTo>
                  <a:pt x="220" y="78"/>
                  <a:pt x="234" y="84"/>
                  <a:pt x="243" y="85"/>
                </a:cubicBezTo>
                <a:cubicBezTo>
                  <a:pt x="245" y="90"/>
                  <a:pt x="245" y="96"/>
                  <a:pt x="245" y="101"/>
                </a:cubicBezTo>
                <a:cubicBezTo>
                  <a:pt x="245" y="109"/>
                  <a:pt x="245" y="112"/>
                  <a:pt x="246" y="117"/>
                </a:cubicBezTo>
                <a:cubicBezTo>
                  <a:pt x="243" y="113"/>
                  <a:pt x="239" y="110"/>
                  <a:pt x="235" y="107"/>
                </a:cubicBezTo>
                <a:cubicBezTo>
                  <a:pt x="232" y="105"/>
                  <a:pt x="229" y="103"/>
                  <a:pt x="226" y="102"/>
                </a:cubicBezTo>
                <a:cubicBezTo>
                  <a:pt x="222" y="100"/>
                  <a:pt x="219" y="98"/>
                  <a:pt x="217" y="96"/>
                </a:cubicBezTo>
                <a:cubicBezTo>
                  <a:pt x="208" y="89"/>
                  <a:pt x="201" y="74"/>
                  <a:pt x="205" y="64"/>
                </a:cubicBezTo>
                <a:cubicBezTo>
                  <a:pt x="206" y="61"/>
                  <a:pt x="204" y="57"/>
                  <a:pt x="201" y="56"/>
                </a:cubicBezTo>
                <a:cubicBezTo>
                  <a:pt x="197" y="54"/>
                  <a:pt x="193" y="56"/>
                  <a:pt x="192" y="60"/>
                </a:cubicBezTo>
                <a:cubicBezTo>
                  <a:pt x="186" y="75"/>
                  <a:pt x="195" y="97"/>
                  <a:pt x="208" y="107"/>
                </a:cubicBezTo>
                <a:cubicBezTo>
                  <a:pt x="212" y="110"/>
                  <a:pt x="216" y="112"/>
                  <a:pt x="220" y="114"/>
                </a:cubicBezTo>
                <a:cubicBezTo>
                  <a:pt x="222" y="115"/>
                  <a:pt x="225" y="117"/>
                  <a:pt x="227" y="118"/>
                </a:cubicBezTo>
                <a:cubicBezTo>
                  <a:pt x="231" y="121"/>
                  <a:pt x="234" y="125"/>
                  <a:pt x="238" y="128"/>
                </a:cubicBezTo>
                <a:cubicBezTo>
                  <a:pt x="240" y="131"/>
                  <a:pt x="242" y="133"/>
                  <a:pt x="244" y="136"/>
                </a:cubicBezTo>
                <a:cubicBezTo>
                  <a:pt x="245" y="136"/>
                  <a:pt x="245" y="136"/>
                  <a:pt x="245" y="137"/>
                </a:cubicBezTo>
                <a:cubicBezTo>
                  <a:pt x="245" y="137"/>
                  <a:pt x="243" y="140"/>
                  <a:pt x="243" y="140"/>
                </a:cubicBezTo>
                <a:close/>
              </a:path>
            </a:pathLst>
          </a:custGeom>
          <a:solidFill>
            <a:srgbClr val="EBAE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pic>
        <p:nvPicPr>
          <p:cNvPr id="25" name="Picture 13">
            <a:extLst>
              <a:ext uri="{FF2B5EF4-FFF2-40B4-BE49-F238E27FC236}">
                <a16:creationId xmlns:a16="http://schemas.microsoft.com/office/drawing/2014/main" id="{374EECEA-C111-4D45-BBAB-9BBF82D1B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50974" y="2712108"/>
            <a:ext cx="556683" cy="556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sp>
        <p:nvSpPr>
          <p:cNvPr id="26" name="Freeform 14">
            <a:extLst>
              <a:ext uri="{FF2B5EF4-FFF2-40B4-BE49-F238E27FC236}">
                <a16:creationId xmlns:a16="http://schemas.microsoft.com/office/drawing/2014/main" id="{833F0736-C35D-4D19-A3D3-AC70AB7482C9}"/>
              </a:ext>
            </a:extLst>
          </p:cNvPr>
          <p:cNvSpPr>
            <a:spLocks noEditPoints="1" noChangeArrowheads="1"/>
          </p:cNvSpPr>
          <p:nvPr/>
        </p:nvSpPr>
        <p:spPr bwMode="auto">
          <a:xfrm>
            <a:off x="9244624" y="2703642"/>
            <a:ext cx="573617" cy="573617"/>
          </a:xfrm>
          <a:custGeom>
            <a:avLst/>
            <a:gdLst>
              <a:gd name="T0" fmla="*/ 472152183 w 196"/>
              <a:gd name="T1" fmla="*/ 0 h 196"/>
              <a:gd name="T2" fmla="*/ 0 w 196"/>
              <a:gd name="T3" fmla="*/ 472152183 h 196"/>
              <a:gd name="T4" fmla="*/ 472152183 w 196"/>
              <a:gd name="T5" fmla="*/ 944302170 h 196"/>
              <a:gd name="T6" fmla="*/ 944302170 w 196"/>
              <a:gd name="T7" fmla="*/ 472152183 h 196"/>
              <a:gd name="T8" fmla="*/ 472152183 w 196"/>
              <a:gd name="T9" fmla="*/ 0 h 196"/>
              <a:gd name="T10" fmla="*/ 472152183 w 196"/>
              <a:gd name="T11" fmla="*/ 823855700 h 196"/>
              <a:gd name="T12" fmla="*/ 120446470 w 196"/>
              <a:gd name="T13" fmla="*/ 472152183 h 196"/>
              <a:gd name="T14" fmla="*/ 472152183 w 196"/>
              <a:gd name="T15" fmla="*/ 120446470 h 196"/>
              <a:gd name="T16" fmla="*/ 823855700 w 196"/>
              <a:gd name="T17" fmla="*/ 472152183 h 196"/>
              <a:gd name="T18" fmla="*/ 472152183 w 196"/>
              <a:gd name="T19" fmla="*/ 823855700 h 19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96"/>
              <a:gd name="T31" fmla="*/ 0 h 196"/>
              <a:gd name="T32" fmla="*/ 196 w 196"/>
              <a:gd name="T33" fmla="*/ 196 h 19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96" h="196">
                <a:moveTo>
                  <a:pt x="98" y="0"/>
                </a:moveTo>
                <a:cubicBezTo>
                  <a:pt x="44" y="0"/>
                  <a:pt x="0" y="44"/>
                  <a:pt x="0" y="98"/>
                </a:cubicBezTo>
                <a:cubicBezTo>
                  <a:pt x="0" y="152"/>
                  <a:pt x="44" y="196"/>
                  <a:pt x="98" y="196"/>
                </a:cubicBezTo>
                <a:cubicBezTo>
                  <a:pt x="152" y="196"/>
                  <a:pt x="196" y="152"/>
                  <a:pt x="196" y="98"/>
                </a:cubicBezTo>
                <a:cubicBezTo>
                  <a:pt x="196" y="44"/>
                  <a:pt x="152" y="0"/>
                  <a:pt x="98" y="0"/>
                </a:cubicBezTo>
                <a:close/>
                <a:moveTo>
                  <a:pt x="98" y="171"/>
                </a:moveTo>
                <a:cubicBezTo>
                  <a:pt x="58" y="171"/>
                  <a:pt x="25" y="138"/>
                  <a:pt x="25" y="98"/>
                </a:cubicBezTo>
                <a:cubicBezTo>
                  <a:pt x="25" y="58"/>
                  <a:pt x="58" y="25"/>
                  <a:pt x="98" y="25"/>
                </a:cubicBezTo>
                <a:cubicBezTo>
                  <a:pt x="139" y="25"/>
                  <a:pt x="171" y="58"/>
                  <a:pt x="171" y="98"/>
                </a:cubicBezTo>
                <a:cubicBezTo>
                  <a:pt x="171" y="138"/>
                  <a:pt x="139" y="171"/>
                  <a:pt x="98" y="171"/>
                </a:cubicBezTo>
                <a:close/>
              </a:path>
            </a:pathLst>
          </a:custGeom>
          <a:solidFill>
            <a:srgbClr val="D579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7" name="Oval 15">
            <a:extLst>
              <a:ext uri="{FF2B5EF4-FFF2-40B4-BE49-F238E27FC236}">
                <a16:creationId xmlns:a16="http://schemas.microsoft.com/office/drawing/2014/main" id="{68DDA261-D5AF-4B73-A494-FA79E615A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7608" y="2864508"/>
            <a:ext cx="249767" cy="249767"/>
          </a:xfrm>
          <a:prstGeom prst="ellipse">
            <a:avLst/>
          </a:prstGeom>
          <a:solidFill>
            <a:srgbClr val="D579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2400">
              <a:solidFill>
                <a:srgbClr val="000000"/>
              </a:solidFill>
              <a:sym typeface="宋体" panose="02010600030101010101" pitchFamily="2" charset="-122"/>
            </a:endParaRPr>
          </a:p>
        </p:txBody>
      </p:sp>
      <p:pic>
        <p:nvPicPr>
          <p:cNvPr id="28" name="Picture 16">
            <a:extLst>
              <a:ext uri="{FF2B5EF4-FFF2-40B4-BE49-F238E27FC236}">
                <a16:creationId xmlns:a16="http://schemas.microsoft.com/office/drawing/2014/main" id="{791638F3-53FC-4E51-AC3A-42F8FADA8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51541" y="2995742"/>
            <a:ext cx="139700" cy="141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pic>
        <p:nvPicPr>
          <p:cNvPr id="29" name="Picture 17">
            <a:extLst>
              <a:ext uri="{FF2B5EF4-FFF2-40B4-BE49-F238E27FC236}">
                <a16:creationId xmlns:a16="http://schemas.microsoft.com/office/drawing/2014/main" id="{8CEFDC31-7FA5-4123-BEAC-703A9CFA1B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21256" y="2820989"/>
            <a:ext cx="97367" cy="95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sp>
        <p:nvSpPr>
          <p:cNvPr id="30" name="TextBox 614">
            <a:extLst>
              <a:ext uri="{FF2B5EF4-FFF2-40B4-BE49-F238E27FC236}">
                <a16:creationId xmlns:a16="http://schemas.microsoft.com/office/drawing/2014/main" id="{749C512C-F81A-47BB-91C8-1D15C0B8CE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9043" y="1564874"/>
            <a:ext cx="732894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13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决策</a:t>
            </a:r>
            <a:endParaRPr lang="zh-CN" altLang="en-US" sz="2400" dirty="0">
              <a:solidFill>
                <a:srgbClr val="000000"/>
              </a:solidFill>
            </a:endParaRPr>
          </a:p>
        </p:txBody>
      </p:sp>
      <p:sp>
        <p:nvSpPr>
          <p:cNvPr id="31" name="Freeform 9">
            <a:extLst>
              <a:ext uri="{FF2B5EF4-FFF2-40B4-BE49-F238E27FC236}">
                <a16:creationId xmlns:a16="http://schemas.microsoft.com/office/drawing/2014/main" id="{7B0C9E61-5794-4BEF-B19D-6F687E715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3541" y="4037141"/>
            <a:ext cx="387349" cy="603251"/>
          </a:xfrm>
          <a:custGeom>
            <a:avLst/>
            <a:gdLst>
              <a:gd name="T0" fmla="*/ 498927789 w 164"/>
              <a:gd name="T1" fmla="*/ 131185812 h 256"/>
              <a:gd name="T2" fmla="*/ 426755042 w 164"/>
              <a:gd name="T3" fmla="*/ 0 h 256"/>
              <a:gd name="T4" fmla="*/ 348307945 w 164"/>
              <a:gd name="T5" fmla="*/ 12493298 h 256"/>
              <a:gd name="T6" fmla="*/ 266721901 w 164"/>
              <a:gd name="T7" fmla="*/ 28111245 h 256"/>
              <a:gd name="T8" fmla="*/ 266721901 w 164"/>
              <a:gd name="T9" fmla="*/ 28111245 h 256"/>
              <a:gd name="T10" fmla="*/ 263584726 w 164"/>
              <a:gd name="T11" fmla="*/ 28111245 h 256"/>
              <a:gd name="T12" fmla="*/ 260445779 w 164"/>
              <a:gd name="T13" fmla="*/ 28111245 h 256"/>
              <a:gd name="T14" fmla="*/ 260445779 w 164"/>
              <a:gd name="T15" fmla="*/ 28111245 h 256"/>
              <a:gd name="T16" fmla="*/ 169446438 w 164"/>
              <a:gd name="T17" fmla="*/ 15617948 h 256"/>
              <a:gd name="T18" fmla="*/ 87862166 w 164"/>
              <a:gd name="T19" fmla="*/ 0 h 256"/>
              <a:gd name="T20" fmla="*/ 15689419 w 164"/>
              <a:gd name="T21" fmla="*/ 131185812 h 256"/>
              <a:gd name="T22" fmla="*/ 50207205 w 164"/>
              <a:gd name="T23" fmla="*/ 315471232 h 256"/>
              <a:gd name="T24" fmla="*/ 65896624 w 164"/>
              <a:gd name="T25" fmla="*/ 509127068 h 256"/>
              <a:gd name="T26" fmla="*/ 116102058 w 164"/>
              <a:gd name="T27" fmla="*/ 699658253 h 256"/>
              <a:gd name="T28" fmla="*/ 188274804 w 164"/>
              <a:gd name="T29" fmla="*/ 759005394 h 256"/>
              <a:gd name="T30" fmla="*/ 207101399 w 164"/>
              <a:gd name="T31" fmla="*/ 493509120 h 256"/>
              <a:gd name="T32" fmla="*/ 229066941 w 164"/>
              <a:gd name="T33" fmla="*/ 440409512 h 256"/>
              <a:gd name="T34" fmla="*/ 257308604 w 164"/>
              <a:gd name="T35" fmla="*/ 418545799 h 256"/>
              <a:gd name="T36" fmla="*/ 282411321 w 164"/>
              <a:gd name="T37" fmla="*/ 437286629 h 256"/>
              <a:gd name="T38" fmla="*/ 304376862 w 164"/>
              <a:gd name="T39" fmla="*/ 493509120 h 256"/>
              <a:gd name="T40" fmla="*/ 326342404 w 164"/>
              <a:gd name="T41" fmla="*/ 759005394 h 256"/>
              <a:gd name="T42" fmla="*/ 398515150 w 164"/>
              <a:gd name="T43" fmla="*/ 699658253 h 256"/>
              <a:gd name="T44" fmla="*/ 448720584 w 164"/>
              <a:gd name="T45" fmla="*/ 509127068 h 256"/>
              <a:gd name="T46" fmla="*/ 464410003 w 164"/>
              <a:gd name="T47" fmla="*/ 315471232 h 256"/>
              <a:gd name="T48" fmla="*/ 498927789 w 164"/>
              <a:gd name="T49" fmla="*/ 131185812 h 25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64"/>
              <a:gd name="T76" fmla="*/ 0 h 256"/>
              <a:gd name="T77" fmla="*/ 164 w 164"/>
              <a:gd name="T78" fmla="*/ 256 h 25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64" h="256">
                <a:moveTo>
                  <a:pt x="159" y="42"/>
                </a:moveTo>
                <a:cubicBezTo>
                  <a:pt x="154" y="21"/>
                  <a:pt x="148" y="3"/>
                  <a:pt x="136" y="0"/>
                </a:cubicBezTo>
                <a:cubicBezTo>
                  <a:pt x="132" y="0"/>
                  <a:pt x="122" y="2"/>
                  <a:pt x="111" y="4"/>
                </a:cubicBezTo>
                <a:cubicBezTo>
                  <a:pt x="102" y="7"/>
                  <a:pt x="92" y="9"/>
                  <a:pt x="85" y="9"/>
                </a:cubicBezTo>
                <a:cubicBezTo>
                  <a:pt x="85" y="9"/>
                  <a:pt x="85" y="9"/>
                  <a:pt x="85" y="9"/>
                </a:cubicBezTo>
                <a:cubicBezTo>
                  <a:pt x="84" y="9"/>
                  <a:pt x="84" y="9"/>
                  <a:pt x="84" y="9"/>
                </a:cubicBezTo>
                <a:cubicBezTo>
                  <a:pt x="83" y="9"/>
                  <a:pt x="83" y="9"/>
                  <a:pt x="83" y="9"/>
                </a:cubicBezTo>
                <a:cubicBezTo>
                  <a:pt x="83" y="9"/>
                  <a:pt x="83" y="9"/>
                  <a:pt x="83" y="9"/>
                </a:cubicBezTo>
                <a:cubicBezTo>
                  <a:pt x="76" y="9"/>
                  <a:pt x="65" y="7"/>
                  <a:pt x="54" y="5"/>
                </a:cubicBezTo>
                <a:cubicBezTo>
                  <a:pt x="43" y="2"/>
                  <a:pt x="32" y="0"/>
                  <a:pt x="28" y="0"/>
                </a:cubicBezTo>
                <a:cubicBezTo>
                  <a:pt x="16" y="3"/>
                  <a:pt x="9" y="21"/>
                  <a:pt x="5" y="42"/>
                </a:cubicBezTo>
                <a:cubicBezTo>
                  <a:pt x="0" y="62"/>
                  <a:pt x="9" y="85"/>
                  <a:pt x="16" y="101"/>
                </a:cubicBezTo>
                <a:cubicBezTo>
                  <a:pt x="23" y="117"/>
                  <a:pt x="18" y="135"/>
                  <a:pt x="21" y="163"/>
                </a:cubicBezTo>
                <a:cubicBezTo>
                  <a:pt x="23" y="190"/>
                  <a:pt x="30" y="202"/>
                  <a:pt x="37" y="224"/>
                </a:cubicBezTo>
                <a:cubicBezTo>
                  <a:pt x="44" y="247"/>
                  <a:pt x="64" y="256"/>
                  <a:pt x="60" y="243"/>
                </a:cubicBezTo>
                <a:cubicBezTo>
                  <a:pt x="55" y="229"/>
                  <a:pt x="60" y="179"/>
                  <a:pt x="66" y="158"/>
                </a:cubicBezTo>
                <a:cubicBezTo>
                  <a:pt x="69" y="150"/>
                  <a:pt x="71" y="144"/>
                  <a:pt x="73" y="141"/>
                </a:cubicBezTo>
                <a:cubicBezTo>
                  <a:pt x="74" y="137"/>
                  <a:pt x="77" y="134"/>
                  <a:pt x="82" y="134"/>
                </a:cubicBezTo>
                <a:cubicBezTo>
                  <a:pt x="86" y="134"/>
                  <a:pt x="89" y="137"/>
                  <a:pt x="90" y="140"/>
                </a:cubicBezTo>
                <a:cubicBezTo>
                  <a:pt x="92" y="143"/>
                  <a:pt x="94" y="149"/>
                  <a:pt x="97" y="158"/>
                </a:cubicBezTo>
                <a:cubicBezTo>
                  <a:pt x="104" y="179"/>
                  <a:pt x="109" y="229"/>
                  <a:pt x="104" y="243"/>
                </a:cubicBezTo>
                <a:cubicBezTo>
                  <a:pt x="100" y="256"/>
                  <a:pt x="120" y="247"/>
                  <a:pt x="127" y="224"/>
                </a:cubicBezTo>
                <a:cubicBezTo>
                  <a:pt x="134" y="202"/>
                  <a:pt x="141" y="190"/>
                  <a:pt x="143" y="163"/>
                </a:cubicBezTo>
                <a:cubicBezTo>
                  <a:pt x="145" y="135"/>
                  <a:pt x="141" y="117"/>
                  <a:pt x="148" y="101"/>
                </a:cubicBezTo>
                <a:cubicBezTo>
                  <a:pt x="154" y="85"/>
                  <a:pt x="164" y="62"/>
                  <a:pt x="159" y="4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35" name="矩形 1">
            <a:extLst>
              <a:ext uri="{FF2B5EF4-FFF2-40B4-BE49-F238E27FC236}">
                <a16:creationId xmlns:a16="http://schemas.microsoft.com/office/drawing/2014/main" id="{31C913DF-7A43-480B-AE21-26520C5A42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2905" y="1342240"/>
            <a:ext cx="5509684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rgbClr val="F83003"/>
                </a:solidFill>
                <a:latin typeface="+mj-ea"/>
                <a:ea typeface="+mj-ea"/>
                <a:sym typeface="微软雅黑" panose="020B0503020204020204" pitchFamily="34" charset="-122"/>
              </a:rPr>
              <a:t>XX</a:t>
            </a:r>
            <a:r>
              <a:rPr lang="zh-CN" altLang="en-US" dirty="0">
                <a:solidFill>
                  <a:srgbClr val="F83003"/>
                </a:solidFill>
                <a:latin typeface="+mj-ea"/>
                <a:ea typeface="+mj-ea"/>
                <a:sym typeface="微软雅黑" panose="020B0503020204020204" pitchFamily="34" charset="-122"/>
              </a:rPr>
              <a:t>         </a:t>
            </a:r>
            <a:r>
              <a:rPr lang="en-US" altLang="zh-CN" dirty="0">
                <a:solidFill>
                  <a:srgbClr val="F83003"/>
                </a:solidFill>
                <a:latin typeface="+mj-ea"/>
                <a:ea typeface="+mj-ea"/>
                <a:sym typeface="微软雅黑" panose="020B0503020204020204" pitchFamily="34" charset="-122"/>
              </a:rPr>
              <a:t>CEO       </a:t>
            </a:r>
            <a:r>
              <a:rPr lang="zh-CN" altLang="en-US" dirty="0">
                <a:solidFill>
                  <a:srgbClr val="F83003"/>
                </a:solidFill>
                <a:latin typeface="+mj-ea"/>
                <a:ea typeface="+mj-ea"/>
                <a:sym typeface="微软雅黑" panose="020B0503020204020204" pitchFamily="34" charset="-122"/>
              </a:rPr>
              <a:t>发起人、创始人</a:t>
            </a:r>
            <a:endParaRPr lang="en-US" altLang="zh-CN" dirty="0">
              <a:solidFill>
                <a:srgbClr val="F83003"/>
              </a:solidFill>
              <a:latin typeface="+mj-ea"/>
              <a:ea typeface="+mj-ea"/>
              <a:sym typeface="微软雅黑" panose="020B0503020204020204" pitchFamily="34" charset="-122"/>
            </a:endParaRPr>
          </a:p>
        </p:txBody>
      </p:sp>
      <p:sp>
        <p:nvSpPr>
          <p:cNvPr id="36" name="TextBox 626">
            <a:extLst>
              <a:ext uri="{FF2B5EF4-FFF2-40B4-BE49-F238E27FC236}">
                <a16:creationId xmlns:a16="http://schemas.microsoft.com/office/drawing/2014/main" id="{FD247416-9BFF-4E1C-9872-BDD40B9A1F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7227" y="2775607"/>
            <a:ext cx="732894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13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视野</a:t>
            </a:r>
            <a:endParaRPr lang="zh-CN" altLang="en-US" sz="2400" dirty="0">
              <a:solidFill>
                <a:srgbClr val="000000"/>
              </a:solidFill>
            </a:endParaRPr>
          </a:p>
        </p:txBody>
      </p:sp>
      <p:sp>
        <p:nvSpPr>
          <p:cNvPr id="37" name="TextBox 627">
            <a:extLst>
              <a:ext uri="{FF2B5EF4-FFF2-40B4-BE49-F238E27FC236}">
                <a16:creationId xmlns:a16="http://schemas.microsoft.com/office/drawing/2014/main" id="{4F1E88B7-4D0C-429E-BC6D-72D1C9CC6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7902" y="4098525"/>
            <a:ext cx="732894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13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收入</a:t>
            </a:r>
            <a:endParaRPr lang="zh-CN" altLang="en-US" sz="2400" dirty="0">
              <a:solidFill>
                <a:srgbClr val="000000"/>
              </a:solidFill>
            </a:endParaRPr>
          </a:p>
        </p:txBody>
      </p:sp>
      <p:sp>
        <p:nvSpPr>
          <p:cNvPr id="38" name="TextBox 628">
            <a:extLst>
              <a:ext uri="{FF2B5EF4-FFF2-40B4-BE49-F238E27FC236}">
                <a16:creationId xmlns:a16="http://schemas.microsoft.com/office/drawing/2014/main" id="{43F2EB3F-E999-459F-8B0B-202EFAD6EF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6153" y="5446841"/>
            <a:ext cx="732894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13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中枢</a:t>
            </a:r>
            <a:endParaRPr lang="zh-CN" altLang="en-US" sz="2400" dirty="0">
              <a:solidFill>
                <a:srgbClr val="000000"/>
              </a:solidFill>
            </a:endParaRPr>
          </a:p>
        </p:txBody>
      </p:sp>
      <p:sp>
        <p:nvSpPr>
          <p:cNvPr id="40" name="矩形 1">
            <a:extLst>
              <a:ext uri="{FF2B5EF4-FFF2-40B4-BE49-F238E27FC236}">
                <a16:creationId xmlns:a16="http://schemas.microsoft.com/office/drawing/2014/main" id="{EB10B30C-DEAD-4653-A1E3-56AFEA8D2F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2905" y="2640506"/>
            <a:ext cx="51689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rgbClr val="EBAC07"/>
                </a:solidFill>
                <a:latin typeface="+mj-ea"/>
                <a:ea typeface="+mj-ea"/>
                <a:sym typeface="微软雅黑" panose="020B0503020204020204" pitchFamily="34" charset="-122"/>
              </a:rPr>
              <a:t>XX</a:t>
            </a:r>
            <a:r>
              <a:rPr lang="zh-CN" altLang="en-US" dirty="0">
                <a:solidFill>
                  <a:srgbClr val="EBAC07"/>
                </a:solidFill>
                <a:latin typeface="+mj-ea"/>
                <a:ea typeface="+mj-ea"/>
                <a:sym typeface="微软雅黑" panose="020B0503020204020204" pitchFamily="34" charset="-122"/>
              </a:rPr>
              <a:t>      </a:t>
            </a:r>
            <a:r>
              <a:rPr lang="en-US" altLang="zh-CN" dirty="0">
                <a:solidFill>
                  <a:srgbClr val="EBAC07"/>
                </a:solidFill>
                <a:latin typeface="+mj-ea"/>
                <a:ea typeface="+mj-ea"/>
                <a:sym typeface="微软雅黑" panose="020B0503020204020204" pitchFamily="34" charset="-122"/>
              </a:rPr>
              <a:t>CIO        </a:t>
            </a:r>
            <a:r>
              <a:rPr lang="zh-CN" altLang="en-US" dirty="0">
                <a:solidFill>
                  <a:srgbClr val="EBAC07"/>
                </a:solidFill>
                <a:latin typeface="+mj-ea"/>
                <a:ea typeface="+mj-ea"/>
                <a:sym typeface="微软雅黑" panose="020B0503020204020204" pitchFamily="34" charset="-122"/>
              </a:rPr>
              <a:t>联合创始人</a:t>
            </a:r>
            <a:endParaRPr lang="en-US" altLang="zh-CN" dirty="0">
              <a:solidFill>
                <a:srgbClr val="EBAC07"/>
              </a:solidFill>
              <a:latin typeface="+mj-ea"/>
              <a:ea typeface="+mj-ea"/>
              <a:sym typeface="微软雅黑" panose="020B0503020204020204" pitchFamily="34" charset="-122"/>
            </a:endParaRPr>
          </a:p>
          <a:p>
            <a:pPr algn="just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rgbClr val="EBAC07"/>
                </a:solidFill>
                <a:latin typeface="+mj-ea"/>
                <a:ea typeface="+mj-ea"/>
                <a:sym typeface="微软雅黑" panose="020B0503020204020204" pitchFamily="34" charset="-122"/>
              </a:rPr>
              <a:t>调研过河北</a:t>
            </a:r>
            <a:r>
              <a:rPr lang="en-US" altLang="zh-CN" dirty="0">
                <a:solidFill>
                  <a:srgbClr val="EBAC07"/>
                </a:solidFill>
                <a:latin typeface="+mj-ea"/>
                <a:ea typeface="+mj-ea"/>
                <a:sym typeface="微软雅黑" panose="020B0503020204020204" pitchFamily="34" charset="-122"/>
              </a:rPr>
              <a:t>1/3</a:t>
            </a:r>
            <a:r>
              <a:rPr lang="zh-CN" altLang="en-US" dirty="0">
                <a:solidFill>
                  <a:srgbClr val="EBAC07"/>
                </a:solidFill>
                <a:latin typeface="+mj-ea"/>
                <a:ea typeface="+mj-ea"/>
                <a:sym typeface="微软雅黑" panose="020B0503020204020204" pitchFamily="34" charset="-122"/>
              </a:rPr>
              <a:t>中小学，曾任河北教育质量调研员</a:t>
            </a:r>
            <a:endParaRPr lang="zh-CN" altLang="en-US" sz="2800" dirty="0">
              <a:solidFill>
                <a:srgbClr val="EBAC07"/>
              </a:solidFill>
              <a:latin typeface="+mj-ea"/>
              <a:ea typeface="+mj-ea"/>
            </a:endParaRPr>
          </a:p>
        </p:txBody>
      </p:sp>
      <p:sp>
        <p:nvSpPr>
          <p:cNvPr id="42" name="矩形 1">
            <a:extLst>
              <a:ext uri="{FF2B5EF4-FFF2-40B4-BE49-F238E27FC236}">
                <a16:creationId xmlns:a16="http://schemas.microsoft.com/office/drawing/2014/main" id="{8FB5DCBE-A8BE-47B6-9DB3-D5CDF3DFDB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2905" y="4009664"/>
            <a:ext cx="543348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rgbClr val="A2B932"/>
                </a:solidFill>
                <a:latin typeface="+mj-ea"/>
                <a:ea typeface="+mj-ea"/>
                <a:sym typeface="微软雅黑" panose="020B0503020204020204" pitchFamily="34" charset="-122"/>
              </a:rPr>
              <a:t>XX</a:t>
            </a:r>
            <a:r>
              <a:rPr lang="zh-CN" altLang="en-US" dirty="0">
                <a:solidFill>
                  <a:srgbClr val="A2B932"/>
                </a:solidFill>
                <a:latin typeface="+mj-ea"/>
                <a:ea typeface="+mj-ea"/>
                <a:sym typeface="微软雅黑" panose="020B0503020204020204" pitchFamily="34" charset="-122"/>
              </a:rPr>
              <a:t>         </a:t>
            </a:r>
            <a:r>
              <a:rPr lang="en-US" altLang="zh-CN" dirty="0">
                <a:solidFill>
                  <a:srgbClr val="A2B932"/>
                </a:solidFill>
                <a:latin typeface="+mj-ea"/>
                <a:ea typeface="+mj-ea"/>
                <a:sym typeface="微软雅黑" panose="020B0503020204020204" pitchFamily="34" charset="-122"/>
              </a:rPr>
              <a:t>COO       </a:t>
            </a:r>
            <a:r>
              <a:rPr lang="zh-CN" altLang="en-US" dirty="0">
                <a:solidFill>
                  <a:srgbClr val="A2B932"/>
                </a:solidFill>
                <a:latin typeface="+mj-ea"/>
                <a:ea typeface="+mj-ea"/>
                <a:sym typeface="微软雅黑" panose="020B0503020204020204" pitchFamily="34" charset="-122"/>
              </a:rPr>
              <a:t>联合创始人</a:t>
            </a:r>
            <a:endParaRPr lang="en-US" altLang="zh-CN" dirty="0">
              <a:solidFill>
                <a:srgbClr val="A2B932"/>
              </a:solidFill>
              <a:latin typeface="+mj-ea"/>
              <a:ea typeface="+mj-ea"/>
              <a:sym typeface="微软雅黑" panose="020B0503020204020204" pitchFamily="34" charset="-122"/>
            </a:endParaRPr>
          </a:p>
          <a:p>
            <a:pPr algn="just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rgbClr val="A2B932"/>
                </a:solidFill>
                <a:latin typeface="+mj-ea"/>
                <a:ea typeface="+mj-ea"/>
                <a:sym typeface="微软雅黑" panose="020B0503020204020204" pitchFamily="34" charset="-122"/>
              </a:rPr>
              <a:t>教育培训连锁运营专家，曾就职北师大教育学院</a:t>
            </a:r>
            <a:endParaRPr lang="zh-CN" altLang="en-US" sz="2800" dirty="0">
              <a:solidFill>
                <a:srgbClr val="A2B932"/>
              </a:solidFill>
              <a:latin typeface="+mj-ea"/>
              <a:ea typeface="+mj-ea"/>
            </a:endParaRPr>
          </a:p>
        </p:txBody>
      </p:sp>
      <p:sp>
        <p:nvSpPr>
          <p:cNvPr id="44" name="矩形 1">
            <a:extLst>
              <a:ext uri="{FF2B5EF4-FFF2-40B4-BE49-F238E27FC236}">
                <a16:creationId xmlns:a16="http://schemas.microsoft.com/office/drawing/2014/main" id="{C3874051-0154-419F-962F-9A0E0B545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2905" y="5302653"/>
            <a:ext cx="643043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XX</a:t>
            </a:r>
            <a:r>
              <a:rPr lang="zh-CN" altLang="en-US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         </a:t>
            </a:r>
            <a:r>
              <a:rPr lang="en-US" altLang="zh-CN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CTO        </a:t>
            </a:r>
            <a:r>
              <a:rPr lang="zh-CN" altLang="en-US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联合创始人</a:t>
            </a:r>
            <a:endParaRPr lang="en-US" altLang="zh-CN" dirty="0">
              <a:solidFill>
                <a:srgbClr val="4C6062"/>
              </a:solidFill>
              <a:latin typeface="+mj-ea"/>
              <a:ea typeface="+mj-ea"/>
              <a:sym typeface="微软雅黑" panose="020B0503020204020204" pitchFamily="34" charset="-122"/>
            </a:endParaRPr>
          </a:p>
          <a:p>
            <a:pPr algn="just" defTabSz="121917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资深软件架构师，</a:t>
            </a:r>
            <a:r>
              <a:rPr lang="en-US" altLang="zh-CN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15</a:t>
            </a:r>
            <a:r>
              <a:rPr lang="zh-CN" altLang="en-US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年开发经验，曾任微软</a:t>
            </a:r>
            <a:r>
              <a:rPr lang="en-US" altLang="zh-CN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MSN</a:t>
            </a:r>
            <a:r>
              <a:rPr lang="zh-CN" altLang="en-US" dirty="0">
                <a:solidFill>
                  <a:srgbClr val="4C6062"/>
                </a:solidFill>
                <a:latin typeface="+mj-ea"/>
                <a:ea typeface="+mj-ea"/>
                <a:sym typeface="微软雅黑" panose="020B0503020204020204" pitchFamily="34" charset="-122"/>
              </a:rPr>
              <a:t>项目经理</a:t>
            </a:r>
            <a:endParaRPr lang="zh-CN" altLang="en-US" sz="2800" dirty="0">
              <a:solidFill>
                <a:srgbClr val="4C6062"/>
              </a:solidFill>
              <a:latin typeface="+mj-ea"/>
              <a:ea typeface="+mj-ea"/>
            </a:endParaRPr>
          </a:p>
        </p:txBody>
      </p: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F8F865DF-CE46-48A7-B0EB-C83FFE8460E0}"/>
              </a:ext>
            </a:extLst>
          </p:cNvPr>
          <p:cNvCxnSpPr>
            <a:cxnSpLocks/>
          </p:cNvCxnSpPr>
          <p:nvPr/>
        </p:nvCxnSpPr>
        <p:spPr>
          <a:xfrm>
            <a:off x="1541585" y="2341692"/>
            <a:ext cx="7969755" cy="0"/>
          </a:xfrm>
          <a:prstGeom prst="line">
            <a:avLst/>
          </a:prstGeom>
          <a:ln w="12700">
            <a:solidFill>
              <a:srgbClr val="F8300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63E5B312-8FDE-424B-B2EA-C3888C8D7A33}"/>
              </a:ext>
            </a:extLst>
          </p:cNvPr>
          <p:cNvCxnSpPr>
            <a:cxnSpLocks/>
          </p:cNvCxnSpPr>
          <p:nvPr/>
        </p:nvCxnSpPr>
        <p:spPr>
          <a:xfrm>
            <a:off x="1541585" y="6280808"/>
            <a:ext cx="7969755" cy="0"/>
          </a:xfrm>
          <a:prstGeom prst="line">
            <a:avLst/>
          </a:prstGeom>
          <a:ln w="12700">
            <a:solidFill>
              <a:srgbClr val="4C606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BE250A36-3C9C-496C-86E7-23F4413F010C}"/>
              </a:ext>
            </a:extLst>
          </p:cNvPr>
          <p:cNvCxnSpPr>
            <a:cxnSpLocks/>
          </p:cNvCxnSpPr>
          <p:nvPr/>
        </p:nvCxnSpPr>
        <p:spPr>
          <a:xfrm>
            <a:off x="1541585" y="4969902"/>
            <a:ext cx="7969755" cy="0"/>
          </a:xfrm>
          <a:prstGeom prst="line">
            <a:avLst/>
          </a:prstGeom>
          <a:ln w="12700">
            <a:solidFill>
              <a:srgbClr val="A2B93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FBAD09DA-A26E-43EE-9C62-9C9A1EDE9C90}"/>
              </a:ext>
            </a:extLst>
          </p:cNvPr>
          <p:cNvCxnSpPr>
            <a:cxnSpLocks/>
          </p:cNvCxnSpPr>
          <p:nvPr/>
        </p:nvCxnSpPr>
        <p:spPr>
          <a:xfrm>
            <a:off x="1541585" y="3654025"/>
            <a:ext cx="7969755" cy="0"/>
          </a:xfrm>
          <a:prstGeom prst="line">
            <a:avLst/>
          </a:prstGeom>
          <a:ln w="12700">
            <a:solidFill>
              <a:srgbClr val="EBAC0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 641">
            <a:extLst>
              <a:ext uri="{FF2B5EF4-FFF2-40B4-BE49-F238E27FC236}">
                <a16:creationId xmlns:a16="http://schemas.microsoft.com/office/drawing/2014/main" id="{670A935F-3188-4513-A454-6F50400984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5896" y="5374813"/>
            <a:ext cx="507442" cy="564619"/>
          </a:xfrm>
          <a:custGeom>
            <a:avLst/>
            <a:gdLst>
              <a:gd name="T0" fmla="*/ 122910391 w 61"/>
              <a:gd name="T1" fmla="*/ 704101752 h 68"/>
              <a:gd name="T2" fmla="*/ 92184179 w 61"/>
              <a:gd name="T3" fmla="*/ 1255135501 h 68"/>
              <a:gd name="T4" fmla="*/ 553093990 w 61"/>
              <a:gd name="T5" fmla="*/ 1806174782 h 68"/>
              <a:gd name="T6" fmla="*/ 983283131 w 61"/>
              <a:gd name="T7" fmla="*/ 1959237253 h 68"/>
              <a:gd name="T8" fmla="*/ 1659287512 w 61"/>
              <a:gd name="T9" fmla="*/ 1898015585 h 68"/>
              <a:gd name="T10" fmla="*/ 1628561300 w 61"/>
              <a:gd name="T11" fmla="*/ 1163300231 h 68"/>
              <a:gd name="T12" fmla="*/ 1505650909 w 61"/>
              <a:gd name="T13" fmla="*/ 857169756 h 68"/>
              <a:gd name="T14" fmla="*/ 1106193522 w 61"/>
              <a:gd name="T15" fmla="*/ 428584878 h 68"/>
              <a:gd name="T16" fmla="*/ 1136919734 w 61"/>
              <a:gd name="T17" fmla="*/ 275516874 h 68"/>
              <a:gd name="T18" fmla="*/ 1014009343 w 61"/>
              <a:gd name="T19" fmla="*/ 153068004 h 68"/>
              <a:gd name="T20" fmla="*/ 1044735555 w 61"/>
              <a:gd name="T21" fmla="*/ 122454403 h 68"/>
              <a:gd name="T22" fmla="*/ 1014009343 w 61"/>
              <a:gd name="T23" fmla="*/ 91840802 h 68"/>
              <a:gd name="T24" fmla="*/ 952556919 w 61"/>
              <a:gd name="T25" fmla="*/ 122454403 h 68"/>
              <a:gd name="T26" fmla="*/ 798914772 w 61"/>
              <a:gd name="T27" fmla="*/ 122454403 h 68"/>
              <a:gd name="T28" fmla="*/ 829646528 w 61"/>
              <a:gd name="T29" fmla="*/ 61227202 h 68"/>
              <a:gd name="T30" fmla="*/ 768188560 w 61"/>
              <a:gd name="T31" fmla="*/ 30613601 h 68"/>
              <a:gd name="T32" fmla="*/ 614551957 w 61"/>
              <a:gd name="T33" fmla="*/ 153068004 h 68"/>
              <a:gd name="T34" fmla="*/ 491641566 w 61"/>
              <a:gd name="T35" fmla="*/ 214289673 h 68"/>
              <a:gd name="T36" fmla="*/ 430183598 w 61"/>
              <a:gd name="T37" fmla="*/ 153068004 h 68"/>
              <a:gd name="T38" fmla="*/ 368731174 w 61"/>
              <a:gd name="T39" fmla="*/ 214289673 h 68"/>
              <a:gd name="T40" fmla="*/ 399457386 w 61"/>
              <a:gd name="T41" fmla="*/ 306130475 h 68"/>
              <a:gd name="T42" fmla="*/ 338004962 w 61"/>
              <a:gd name="T43" fmla="*/ 397971277 h 68"/>
              <a:gd name="T44" fmla="*/ 245820783 w 61"/>
              <a:gd name="T45" fmla="*/ 306130475 h 68"/>
              <a:gd name="T46" fmla="*/ 92184179 w 61"/>
              <a:gd name="T47" fmla="*/ 306130475 h 68"/>
              <a:gd name="T48" fmla="*/ 61452424 w 61"/>
              <a:gd name="T49" fmla="*/ 459198479 h 68"/>
              <a:gd name="T50" fmla="*/ 122910391 w 61"/>
              <a:gd name="T51" fmla="*/ 704101752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1"/>
              <a:gd name="T79" fmla="*/ 0 h 68"/>
              <a:gd name="T80" fmla="*/ 61 w 61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1" h="68">
                <a:moveTo>
                  <a:pt x="4" y="23"/>
                </a:moveTo>
                <a:cubicBezTo>
                  <a:pt x="1" y="28"/>
                  <a:pt x="1" y="35"/>
                  <a:pt x="3" y="41"/>
                </a:cubicBezTo>
                <a:cubicBezTo>
                  <a:pt x="3" y="49"/>
                  <a:pt x="7" y="56"/>
                  <a:pt x="18" y="59"/>
                </a:cubicBezTo>
                <a:cubicBezTo>
                  <a:pt x="23" y="60"/>
                  <a:pt x="27" y="62"/>
                  <a:pt x="32" y="64"/>
                </a:cubicBezTo>
                <a:cubicBezTo>
                  <a:pt x="41" y="67"/>
                  <a:pt x="50" y="68"/>
                  <a:pt x="54" y="62"/>
                </a:cubicBezTo>
                <a:cubicBezTo>
                  <a:pt x="57" y="59"/>
                  <a:pt x="61" y="52"/>
                  <a:pt x="53" y="38"/>
                </a:cubicBezTo>
                <a:cubicBezTo>
                  <a:pt x="52" y="35"/>
                  <a:pt x="50" y="32"/>
                  <a:pt x="49" y="28"/>
                </a:cubicBezTo>
                <a:cubicBezTo>
                  <a:pt x="48" y="23"/>
                  <a:pt x="46" y="17"/>
                  <a:pt x="36" y="14"/>
                </a:cubicBezTo>
                <a:cubicBezTo>
                  <a:pt x="37" y="12"/>
                  <a:pt x="38" y="11"/>
                  <a:pt x="37" y="9"/>
                </a:cubicBezTo>
                <a:cubicBezTo>
                  <a:pt x="37" y="7"/>
                  <a:pt x="36" y="6"/>
                  <a:pt x="33" y="5"/>
                </a:cubicBezTo>
                <a:cubicBezTo>
                  <a:pt x="33" y="5"/>
                  <a:pt x="33" y="5"/>
                  <a:pt x="34" y="4"/>
                </a:cubicBezTo>
                <a:cubicBezTo>
                  <a:pt x="34" y="4"/>
                  <a:pt x="33" y="3"/>
                  <a:pt x="33" y="3"/>
                </a:cubicBezTo>
                <a:cubicBezTo>
                  <a:pt x="32" y="3"/>
                  <a:pt x="31" y="3"/>
                  <a:pt x="31" y="4"/>
                </a:cubicBezTo>
                <a:cubicBezTo>
                  <a:pt x="29" y="3"/>
                  <a:pt x="28" y="3"/>
                  <a:pt x="26" y="4"/>
                </a:cubicBezTo>
                <a:cubicBezTo>
                  <a:pt x="27" y="3"/>
                  <a:pt x="27" y="2"/>
                  <a:pt x="27" y="2"/>
                </a:cubicBezTo>
                <a:cubicBezTo>
                  <a:pt x="27" y="1"/>
                  <a:pt x="26" y="0"/>
                  <a:pt x="25" y="1"/>
                </a:cubicBezTo>
                <a:cubicBezTo>
                  <a:pt x="24" y="3"/>
                  <a:pt x="22" y="5"/>
                  <a:pt x="20" y="5"/>
                </a:cubicBezTo>
                <a:cubicBezTo>
                  <a:pt x="19" y="6"/>
                  <a:pt x="17" y="6"/>
                  <a:pt x="16" y="7"/>
                </a:cubicBezTo>
                <a:cubicBezTo>
                  <a:pt x="15" y="7"/>
                  <a:pt x="15" y="6"/>
                  <a:pt x="14" y="5"/>
                </a:cubicBezTo>
                <a:cubicBezTo>
                  <a:pt x="13" y="5"/>
                  <a:pt x="12" y="5"/>
                  <a:pt x="12" y="7"/>
                </a:cubicBezTo>
                <a:cubicBezTo>
                  <a:pt x="12" y="7"/>
                  <a:pt x="12" y="8"/>
                  <a:pt x="13" y="10"/>
                </a:cubicBezTo>
                <a:cubicBezTo>
                  <a:pt x="12" y="11"/>
                  <a:pt x="11" y="12"/>
                  <a:pt x="11" y="13"/>
                </a:cubicBezTo>
                <a:cubicBezTo>
                  <a:pt x="10" y="12"/>
                  <a:pt x="9" y="11"/>
                  <a:pt x="8" y="10"/>
                </a:cubicBezTo>
                <a:cubicBezTo>
                  <a:pt x="6" y="8"/>
                  <a:pt x="5" y="8"/>
                  <a:pt x="3" y="10"/>
                </a:cubicBezTo>
                <a:cubicBezTo>
                  <a:pt x="1" y="11"/>
                  <a:pt x="0" y="13"/>
                  <a:pt x="2" y="15"/>
                </a:cubicBezTo>
                <a:cubicBezTo>
                  <a:pt x="3" y="17"/>
                  <a:pt x="4" y="20"/>
                  <a:pt x="4" y="23"/>
                </a:cubicBezTo>
                <a:close/>
              </a:path>
            </a:pathLst>
          </a:custGeom>
          <a:solidFill>
            <a:srgbClr val="FFFFFF"/>
          </a:solidFill>
          <a:ln w="57150" cmpd="sng">
            <a:solidFill>
              <a:srgbClr val="EBAC07"/>
            </a:solidFill>
            <a:bevel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471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u1Pg1xh0C640BzGedli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自定义 3">
      <a:dk1>
        <a:srgbClr val="000000"/>
      </a:dk1>
      <a:lt1>
        <a:sysClr val="window" lastClr="FFFFFF"/>
      </a:lt1>
      <a:dk2>
        <a:srgbClr val="3F3F3F"/>
      </a:dk2>
      <a:lt2>
        <a:srgbClr val="FCFCFC"/>
      </a:lt2>
      <a:accent1>
        <a:srgbClr val="F8D35E"/>
      </a:accent1>
      <a:accent2>
        <a:srgbClr val="1B6AA3"/>
      </a:accent2>
      <a:accent3>
        <a:srgbClr val="3FD5BA"/>
      </a:accent3>
      <a:accent4>
        <a:srgbClr val="F47264"/>
      </a:accent4>
      <a:accent5>
        <a:srgbClr val="8F8FBF"/>
      </a:accent5>
      <a:accent6>
        <a:srgbClr val="7CC8EC"/>
      </a:accent6>
      <a:hlink>
        <a:srgbClr val="0000FF"/>
      </a:hlink>
      <a:folHlink>
        <a:srgbClr val="800080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主题">
  <a:themeElements>
    <a:clrScheme name="自定义 2">
      <a:dk1>
        <a:srgbClr val="000000"/>
      </a:dk1>
      <a:lt1>
        <a:sysClr val="window" lastClr="FFFFFF"/>
      </a:lt1>
      <a:dk2>
        <a:srgbClr val="3F3F3F"/>
      </a:dk2>
      <a:lt2>
        <a:srgbClr val="FCFCFC"/>
      </a:lt2>
      <a:accent1>
        <a:srgbClr val="F8D35E"/>
      </a:accent1>
      <a:accent2>
        <a:srgbClr val="F47264"/>
      </a:accent2>
      <a:accent3>
        <a:srgbClr val="3FD5BA"/>
      </a:accent3>
      <a:accent4>
        <a:srgbClr val="F47264"/>
      </a:accent4>
      <a:accent5>
        <a:srgbClr val="8F8FBF"/>
      </a:accent5>
      <a:accent6>
        <a:srgbClr val="7CC8EC"/>
      </a:accent6>
      <a:hlink>
        <a:srgbClr val="0000FF"/>
      </a:hlink>
      <a:folHlink>
        <a:srgbClr val="800080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6</TotalTime>
  <Words>600</Words>
  <Application>Microsoft Office PowerPoint</Application>
  <PresentationFormat>宽屏</PresentationFormat>
  <Paragraphs>163</Paragraphs>
  <Slides>14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4</vt:i4>
      </vt:variant>
    </vt:vector>
  </HeadingPairs>
  <TitlesOfParts>
    <vt:vector size="32" baseType="lpstr">
      <vt:lpstr>站酷快乐体2016修订版</vt:lpstr>
      <vt:lpstr>微软雅黑</vt:lpstr>
      <vt:lpstr>方正中等线简体</vt:lpstr>
      <vt:lpstr>Calibri</vt:lpstr>
      <vt:lpstr>方正水黑简体</vt:lpstr>
      <vt:lpstr>宋体</vt:lpstr>
      <vt:lpstr>等线</vt:lpstr>
      <vt:lpstr>等线 Light</vt:lpstr>
      <vt:lpstr>方正静蕾简体</vt:lpstr>
      <vt:lpstr>Segoe UI</vt:lpstr>
      <vt:lpstr>Arial</vt:lpstr>
      <vt:lpstr>方正兰亭超细黑简体</vt:lpstr>
      <vt:lpstr>Niagara Solid</vt:lpstr>
      <vt:lpstr>郑庆科黄油体Regular </vt:lpstr>
      <vt:lpstr>Office 主题​​</vt:lpstr>
      <vt:lpstr>Office 主题</vt:lpstr>
      <vt:lpstr>2_Office 主题</vt:lpstr>
      <vt:lpstr>自定义设计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dows 用户</dc:creator>
  <cp:lastModifiedBy>崔中华</cp:lastModifiedBy>
  <cp:revision>311</cp:revision>
  <dcterms:created xsi:type="dcterms:W3CDTF">2017-07-03T07:51:02Z</dcterms:created>
  <dcterms:modified xsi:type="dcterms:W3CDTF">2018-03-29T01:27:57Z</dcterms:modified>
</cp:coreProperties>
</file>